
<file path=[Content_Types].xml><?xml version="1.0" encoding="utf-8"?>
<Types xmlns="http://schemas.openxmlformats.org/package/2006/content-types">
  <Override PartName="/ppt/slideMasters/slideMaster3.xml" ContentType="application/vnd.openxmlformats-officedocument.presentationml.slideMaster+xml"/>
  <Override PartName="/ppt/slideLayouts/slideLayout57.xml" ContentType="application/vnd.openxmlformats-officedocument.presentationml.slideLayout+xml"/>
  <Override PartName="/ppt/theme/theme5.xml" ContentType="application/vnd.openxmlformats-officedocument.theme+xml"/>
  <Override PartName="/ppt/notesSlides/notesSlide2.xml" ContentType="application/vnd.openxmlformats-officedocument.presentationml.notesSlide+xml"/>
  <Override PartName="/ppt/tags/tag8.xml" ContentType="application/vnd.openxmlformats-officedocument.presentationml.tags+xml"/>
  <Override PartName="/ppt/slideLayouts/slideLayout46.xml" ContentType="application/vnd.openxmlformats-officedocument.presentationml.slideLayout+xml"/>
  <Override PartName="/ppt/slides/slide25.xml" ContentType="application/vnd.openxmlformats-officedocument.presentationml.slide+xml"/>
  <Override PartName="/ppt/slideLayouts/slideLayout2.xml" ContentType="application/vnd.openxmlformats-officedocument.presentationml.slideLayout+xml"/>
  <Override PartName="/ppt/slideLayouts/slideLayout35.xml" ContentType="application/vnd.openxmlformats-officedocument.presentationml.slideLayout+xml"/>
  <Override PartName="/ppt/slideLayouts/slideLayout82.xml" ContentType="application/vnd.openxmlformats-officedocument.presentationml.slideLayout+xml"/>
  <Default Extension="xml" ContentType="application/xml"/>
  <Override PartName="/ppt/slides/slide14.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24.xml" ContentType="application/vnd.openxmlformats-officedocument.presentationml.slideLayout+xml"/>
  <Override PartName="/ppt/slideLayouts/slideLayout42.xml" ContentType="application/vnd.openxmlformats-officedocument.presentationml.slideLayout+xml"/>
  <Override PartName="/ppt/slideLayouts/slideLayout60.xml" ContentType="application/vnd.openxmlformats-officedocument.presentationml.slideLayout+xml"/>
  <Override PartName="/ppt/slideLayouts/slideLayout71.xml" ContentType="application/vnd.openxmlformats-officedocument.presentationml.slideLayout+xml"/>
  <Override PartName="/ppt/slides/slide10.xml" ContentType="application/vnd.openxmlformats-officedocument.presentationml.slide+xml"/>
  <Override PartName="/ppt/slides/slide21.xml" ContentType="application/vnd.openxmlformats-officedocument.presentationml.slide+xml"/>
  <Override PartName="/ppt/tableStyles.xml" ContentType="application/vnd.openxmlformats-officedocument.presentationml.tableStyles+xml"/>
  <Override PartName="/ppt/slideLayouts/slideLayout20.xml" ContentType="application/vnd.openxmlformats-officedocument.presentationml.slideLayout+xml"/>
  <Override PartName="/ppt/slideLayouts/slideLayout31.xml" ContentType="application/vnd.openxmlformats-officedocument.presentationml.slideLayout+xml"/>
  <Override PartName="/ppt/diagrams/layout5.xml" ContentType="application/vnd.openxmlformats-officedocument.drawingml.diagramLayout+xml"/>
  <Override PartName="/ppt/tags/tag16.xml" ContentType="application/vnd.openxmlformats-officedocument.presentationml.tags+xml"/>
  <Override PartName="/ppt/diagrams/data6.xml" ContentType="application/vnd.openxmlformats-officedocument.drawingml.diagramData+xml"/>
  <Override PartName="/ppt/diagrams/layout1.xml" ContentType="application/vnd.openxmlformats-officedocument.drawingml.diagramLayout+xml"/>
  <Override PartName="/ppt/diagrams/data2.xml" ContentType="application/vnd.openxmlformats-officedocument.drawingml.diagramData+xml"/>
  <Override PartName="/ppt/tags/tag12.xml" ContentType="application/vnd.openxmlformats-officedocument.presentationml.tags+xml"/>
  <Override PartName="/ppt/tags/tag23.xml" ContentType="application/vnd.openxmlformats-officedocument.presentationml.tags+xml"/>
  <Override PartName="/ppt/slideMasters/slideMaster4.xml" ContentType="application/vnd.openxmlformats-officedocument.presentationml.slideMaster+xml"/>
  <Override PartName="/ppt/slides/slide9.xml" ContentType="application/vnd.openxmlformats-officedocument.presentationml.slide+xml"/>
  <Override PartName="/ppt/viewProps.xml" ContentType="application/vnd.openxmlformats-officedocument.presentationml.viewProps+xml"/>
  <Override PartName="/ppt/slideLayouts/slideLayout69.xml" ContentType="application/vnd.openxmlformats-officedocument.presentationml.slideLayout+xml"/>
  <Override PartName="/ppt/slideLayouts/slideLayout87.xml" ContentType="application/vnd.openxmlformats-officedocument.presentationml.slideLayout+xml"/>
  <Override PartName="/ppt/theme/theme6.xml" ContentType="application/vnd.openxmlformats-officedocument.theme+xml"/>
  <Override PartName="/ppt/tags/tag9.xml" ContentType="application/vnd.openxmlformats-officedocument.presentationml.tags+xml"/>
  <Override PartName="/ppt/diagrams/colors4.xml" ContentType="application/vnd.openxmlformats-officedocument.drawingml.diagramColors+xml"/>
  <Override PartName="/ppt/slides/slide5.xml" ContentType="application/vnd.openxmlformats-officedocument.presentationml.slide+xml"/>
  <Override PartName="/ppt/slides/slide19.xml" ContentType="application/vnd.openxmlformats-officedocument.presentationml.slide+xml"/>
  <Override PartName="/ppt/slideLayouts/slideLayout7.xml" ContentType="application/vnd.openxmlformats-officedocument.presentationml.slideLayout+xml"/>
  <Default Extension="png" ContentType="image/png"/>
  <Override PartName="/ppt/slideLayouts/slideLayout29.xml" ContentType="application/vnd.openxmlformats-officedocument.presentationml.slideLayout+xml"/>
  <Override PartName="/ppt/slideLayouts/slideLayout58.xml" ContentType="application/vnd.openxmlformats-officedocument.presentationml.slideLayout+xml"/>
  <Override PartName="/ppt/slideLayouts/slideLayout76.xml" ContentType="application/vnd.openxmlformats-officedocument.presentationml.slideLayout+xml"/>
  <Default Extension="bin" ContentType="application/vnd.openxmlformats-officedocument.oleObject"/>
  <Override PartName="/ppt/notesSlides/notesSlide3.xml" ContentType="application/vnd.openxmlformats-officedocument.presentationml.notesSlide+xml"/>
  <Override PartName="/ppt/diagrams/drawing3.xml" ContentType="application/vnd.ms-office.drawingml.diagramDrawing+xml"/>
  <Override PartName="/ppt/slides/slide26.xml" ContentType="application/vnd.openxmlformats-officedocument.presentationml.slide+xml"/>
  <Override PartName="/ppt/presProps.xml" ContentType="application/vnd.openxmlformats-officedocument.presentationml.presProps+xml"/>
  <Override PartName="/ppt/slideLayouts/slideLayout18.xml" ContentType="application/vnd.openxmlformats-officedocument.presentationml.slideLayout+xml"/>
  <Override PartName="/ppt/theme/theme2.xml" ContentType="application/vnd.openxmlformats-officedocument.theme+xml"/>
  <Override PartName="/ppt/slideLayouts/slideLayout36.xml" ContentType="application/vnd.openxmlformats-officedocument.presentationml.slideLayout+xml"/>
  <Override PartName="/ppt/slideLayouts/slideLayout47.xml" ContentType="application/vnd.openxmlformats-officedocument.presentationml.slideLayout+xml"/>
  <Override PartName="/ppt/slideLayouts/slideLayout65.xml" ContentType="application/vnd.openxmlformats-officedocument.presentationml.slideLayout+xml"/>
  <Override PartName="/ppt/slideLayouts/slideLayout83.xml" ContentType="application/vnd.openxmlformats-officedocument.presentationml.slideLayout+xml"/>
  <Override PartName="/ppt/tags/tag5.xml" ContentType="application/vnd.openxmlformats-officedocument.presentationml.tags+xml"/>
  <Override PartName="/ppt/diagrams/quickStyle3.xml" ContentType="application/vnd.openxmlformats-officedocument.drawingml.diagramStyle+xml"/>
  <Override PartName="/ppt/slides/slide1.xml" ContentType="application/vnd.openxmlformats-officedocument.presentationml.slide+xml"/>
  <Override PartName="/ppt/slides/slide15.xml" ContentType="application/vnd.openxmlformats-officedocument.presentationml.slide+xml"/>
  <Override PartName="/ppt/slideLayouts/slideLayout3.xml" ContentType="application/vnd.openxmlformats-officedocument.presentationml.slideLayout+xml"/>
  <Override PartName="/ppt/slideLayouts/slideLayout25.xml" ContentType="application/vnd.openxmlformats-officedocument.presentationml.slideLayout+xml"/>
  <Override PartName="/ppt/slideLayouts/slideLayout43.xml" ContentType="application/vnd.openxmlformats-officedocument.presentationml.slideLayout+xml"/>
  <Override PartName="/ppt/slideLayouts/slideLayout54.xml" ContentType="application/vnd.openxmlformats-officedocument.presentationml.slideLayout+xml"/>
  <Override PartName="/ppt/slideLayouts/slideLayout72.xml" ContentType="application/vnd.openxmlformats-officedocument.presentationml.slideLayout+xml"/>
  <Override PartName="/ppt/slideLayouts/slideLayout90.xml" ContentType="application/vnd.openxmlformats-officedocument.presentationml.slideLayout+xml"/>
  <Override PartName="/ppt/presentation.xml" ContentType="application/vnd.openxmlformats-officedocument.presentationml.presentation.main+xml"/>
  <Override PartName="/ppt/slides/slide22.xml" ContentType="application/vnd.openxmlformats-officedocument.presentationml.slide+xml"/>
  <Override PartName="/ppt/slideLayouts/slideLayout14.xml" ContentType="application/vnd.openxmlformats-officedocument.presentationml.slideLayout+xml"/>
  <Override PartName="/ppt/slideLayouts/slideLayout32.xml" ContentType="application/vnd.openxmlformats-officedocument.presentationml.slideLayout+xml"/>
  <Override PartName="/ppt/slideLayouts/slideLayout61.xml" ContentType="application/vnd.openxmlformats-officedocument.presentationml.slideLayout+xml"/>
  <Override PartName="/ppt/tags/tag1.xml" ContentType="application/vnd.openxmlformats-officedocument.presentationml.tags+xml"/>
  <Override PartName="/ppt/diagrams/layout6.xml" ContentType="application/vnd.openxmlformats-officedocument.drawingml.diagramLayout+xml"/>
  <Override PartName="/docProps/app.xml" ContentType="application/vnd.openxmlformats-officedocument.extended-properties+xml"/>
  <Override PartName="/ppt/slides/slide11.xml" ContentType="application/vnd.openxmlformats-officedocument.presentationml.slide+xml"/>
  <Override PartName="/ppt/slideLayouts/slideLayout21.xml" ContentType="application/vnd.openxmlformats-officedocument.presentationml.slideLayout+xml"/>
  <Override PartName="/ppt/slideLayouts/slideLayout50.xml" ContentType="application/vnd.openxmlformats-officedocument.presentationml.slideLayout+xml"/>
  <Override PartName="/ppt/tags/tag17.xml" ContentType="application/vnd.openxmlformats-officedocument.presentationml.tags+xml"/>
  <Override PartName="/ppt/slideLayouts/slideLayout10.xml" ContentType="application/vnd.openxmlformats-officedocument.presentationml.slideLayout+xml"/>
  <Default Extension="gif" ContentType="image/gif"/>
  <Override PartName="/ppt/diagrams/layout2.xml" ContentType="application/vnd.openxmlformats-officedocument.drawingml.diagramLayout+xml"/>
  <Default Extension="vml" ContentType="application/vnd.openxmlformats-officedocument.vmlDrawing"/>
  <Override PartName="/ppt/tags/tag24.xml" ContentType="application/vnd.openxmlformats-officedocument.presentationml.tags+xml"/>
  <Override PartName="/ppt/diagrams/data3.xml" ContentType="application/vnd.openxmlformats-officedocument.drawingml.diagramData+xml"/>
  <Override PartName="/ppt/diagrams/colors5.xml" ContentType="application/vnd.openxmlformats-officedocument.drawingml.diagramColors+xml"/>
  <Override PartName="/ppt/tags/tag13.xml" ContentType="application/vnd.openxmlformats-officedocument.presentationml.tags+xml"/>
  <Override PartName="/ppt/slideMasters/slideMaster5.xml" ContentType="application/vnd.openxmlformats-officedocument.presentationml.slideMaster+xml"/>
  <Override PartName="/ppt/slideLayouts/slideLayout59.xml" ContentType="application/vnd.openxmlformats-officedocument.presentationml.slideLayout+xml"/>
  <Override PartName="/ppt/slideLayouts/slideLayout88.xml" ContentType="application/vnd.openxmlformats-officedocument.presentationml.slideLayout+xml"/>
  <Override PartName="/ppt/theme/theme7.xml" ContentType="application/vnd.openxmlformats-officedocument.theme+xml"/>
  <Override PartName="/ppt/diagrams/drawing4.xml" ContentType="application/vnd.ms-office.drawingml.diagramDrawing+xml"/>
  <Override PartName="/ppt/tags/tag20.xml" ContentType="application/vnd.openxmlformats-officedocument.presentationml.tags+xml"/>
  <Override PartName="/docProps/core.xml" ContentType="application/vnd.openxmlformats-package.core-properties+xml"/>
  <Override PartName="/ppt/slides/slide6.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slideLayouts/slideLayout48.xml" ContentType="application/vnd.openxmlformats-officedocument.presentationml.slideLayout+xml"/>
  <Override PartName="/ppt/slideLayouts/slideLayout66.xml" ContentType="application/vnd.openxmlformats-officedocument.presentationml.slideLayout+xml"/>
  <Override PartName="/ppt/slideLayouts/slideLayout77.xml" ContentType="application/vnd.openxmlformats-officedocument.presentationml.slideLayout+xml"/>
  <Override PartName="/ppt/tags/tag6.xml" ContentType="application/vnd.openxmlformats-officedocument.presentationml.tags+xml"/>
  <Override PartName="/ppt/diagrams/colors1.xml" ContentType="application/vnd.openxmlformats-officedocument.drawingml.diagramColors+xml"/>
  <Override PartName="/ppt/diagrams/quickStyle4.xml" ContentType="application/vnd.openxmlformats-officedocument.drawingml.diagramStyle+xml"/>
  <Override PartName="/ppt/slideMasters/slideMaster1.xml" ContentType="application/vnd.openxmlformats-officedocument.presentationml.slideMaster+xml"/>
  <Override PartName="/ppt/slides/slide27.xml" ContentType="application/vnd.openxmlformats-officedocument.presentationml.slide+xml"/>
  <Override PartName="/ppt/slideLayouts/slideLayout4.xml" ContentType="application/vnd.openxmlformats-officedocument.presentationml.slideLayout+xml"/>
  <Override PartName="/ppt/slideLayouts/slideLayout37.xml" ContentType="application/vnd.openxmlformats-officedocument.presentationml.slideLayout+xml"/>
  <Override PartName="/ppt/theme/theme3.xml" ContentType="application/vnd.openxmlformats-officedocument.theme+xml"/>
  <Override PartName="/ppt/slideLayouts/slideLayout55.xml" ContentType="application/vnd.openxmlformats-officedocument.presentationml.slideLayout+xml"/>
  <Override PartName="/ppt/slideLayouts/slideLayout84.xml" ContentType="application/vnd.openxmlformats-officedocument.presentationml.slideLayout+xml"/>
  <Override PartName="/ppt/slides/slide2.xml" ContentType="application/vnd.openxmlformats-officedocument.presentationml.slide+xml"/>
  <Override PartName="/ppt/slides/slide16.xml" ContentType="application/vnd.openxmlformats-officedocument.presentationml.slide+xml"/>
  <Override PartName="/ppt/slideLayouts/slideLayout15.xml" ContentType="application/vnd.openxmlformats-officedocument.presentationml.slideLayout+xml"/>
  <Override PartName="/ppt/slideLayouts/slideLayout26.xml" ContentType="application/vnd.openxmlformats-officedocument.presentationml.slideLayout+xml"/>
  <Override PartName="/ppt/slideLayouts/slideLayout44.xml" ContentType="application/vnd.openxmlformats-officedocument.presentationml.slideLayout+xml"/>
  <Override PartName="/ppt/slideLayouts/slideLayout62.xml" ContentType="application/vnd.openxmlformats-officedocument.presentationml.slideLayout+xml"/>
  <Override PartName="/ppt/slideLayouts/slideLayout73.xml" ContentType="application/vnd.openxmlformats-officedocument.presentationml.slideLayout+xml"/>
  <Override PartName="/ppt/slideLayouts/slideLayout91.xml" ContentType="application/vnd.openxmlformats-officedocument.presentationml.slideLayout+xml"/>
  <Override PartName="/ppt/tags/tag2.xml" ContentType="application/vnd.openxmlformats-officedocument.presentationml.tags+xml"/>
  <Default Extension="rels" ContentType="application/vnd.openxmlformats-package.relationships+xml"/>
  <Override PartName="/ppt/slides/slide23.xml" ContentType="application/vnd.openxmlformats-officedocument.presentationml.slide+xml"/>
  <Override PartName="/ppt/slideLayouts/slideLayout22.xml" ContentType="application/vnd.openxmlformats-officedocument.presentationml.slideLayout+xml"/>
  <Override PartName="/ppt/slideLayouts/slideLayout33.xml" ContentType="application/vnd.openxmlformats-officedocument.presentationml.slideLayout+xml"/>
  <Override PartName="/ppt/slideLayouts/slideLayout51.xml" ContentType="application/vnd.openxmlformats-officedocument.presentationml.slideLayout+xml"/>
  <Override PartName="/ppt/slideLayouts/slideLayout80.xml" ContentType="application/vnd.openxmlformats-officedocument.presentationml.slideLayout+xml"/>
  <Override PartName="/ppt/slides/slide12.xml" ContentType="application/vnd.openxmlformats-officedocument.presentationml.slide+xml"/>
  <Override PartName="/ppt/slideLayouts/slideLayout11.xml" ContentType="application/vnd.openxmlformats-officedocument.presentationml.slideLayout+xml"/>
  <Override PartName="/ppt/slideLayouts/slideLayout40.xml" ContentType="application/vnd.openxmlformats-officedocument.presentationml.slideLayout+xml"/>
  <Override PartName="/ppt/tags/tag18.xml" ContentType="application/vnd.openxmlformats-officedocument.presentationml.tags+xml"/>
  <Override PartName="/ppt/diagrams/layout3.xml" ContentType="application/vnd.openxmlformats-officedocument.drawingml.diagramLayout+xml"/>
  <Override PartName="/ppt/diagrams/data4.xml" ContentType="application/vnd.openxmlformats-officedocument.drawingml.diagramData+xml"/>
  <Override PartName="/ppt/tags/tag14.xml" ContentType="application/vnd.openxmlformats-officedocument.presentationml.tags+xml"/>
  <Override PartName="/ppt/tags/tag25.xml" ContentType="application/vnd.openxmlformats-officedocument.presentationml.tags+xml"/>
  <Override PartName="/ppt/slideMasters/slideMaster6.xml" ContentType="application/vnd.openxmlformats-officedocument.presentationml.slideMaster+xml"/>
  <Override PartName="/ppt/slideLayouts/slideLayout89.xml" ContentType="application/vnd.openxmlformats-officedocument.presentationml.slideLayout+xml"/>
  <Override PartName="/ppt/diagrams/colors6.xml" ContentType="application/vnd.openxmlformats-officedocument.drawingml.diagramColors+xml"/>
  <Override PartName="/ppt/slides/slide7.xml" ContentType="application/vnd.openxmlformats-officedocument.presentationml.slide+xml"/>
  <Override PartName="/ppt/slideLayouts/slideLayout9.xml" ContentType="application/vnd.openxmlformats-officedocument.presentationml.slideLayout+xml"/>
  <Override PartName="/ppt/slideLayouts/slideLayout78.xml" ContentType="application/vnd.openxmlformats-officedocument.presentationml.slideLayout+xml"/>
  <Override PartName="/ppt/tags/tag10.xml" ContentType="application/vnd.openxmlformats-officedocument.presentationml.tags+xml"/>
  <Override PartName="/ppt/diagrams/drawing5.xml" ContentType="application/vnd.ms-office.drawingml.diagramDrawing+xml"/>
  <Override PartName="/ppt/tags/tag21.xml" ContentType="application/vnd.openxmlformats-officedocument.presentationml.tags+xml"/>
  <Override PartName="/ppt/slideMasters/slideMaster2.xml" ContentType="application/vnd.openxmlformats-officedocument.presentationml.slideMaster+xml"/>
  <Override PartName="/ppt/slides/slide28.xml" ContentType="application/vnd.openxmlformats-officedocument.presentationml.slide+xml"/>
  <Override PartName="/ppt/slideLayouts/slideLayout38.xml" ContentType="application/vnd.openxmlformats-officedocument.presentationml.slideLayout+xml"/>
  <Override PartName="/ppt/slideLayouts/slideLayout49.xml" ContentType="application/vnd.openxmlformats-officedocument.presentationml.slideLayout+xml"/>
  <Override PartName="/ppt/theme/theme4.xml" ContentType="application/vnd.openxmlformats-officedocument.theme+xml"/>
  <Override PartName="/ppt/slideLayouts/slideLayout67.xml" ContentType="application/vnd.openxmlformats-officedocument.presentationml.slideLayout+xml"/>
  <Override PartName="/ppt/slideLayouts/slideLayout85.xml" ContentType="application/vnd.openxmlformats-officedocument.presentationml.slideLayout+xml"/>
  <Override PartName="/ppt/notesSlides/notesSlide1.xml" ContentType="application/vnd.openxmlformats-officedocument.presentationml.notesSlide+xml"/>
  <Override PartName="/ppt/diagrams/colors2.xml" ContentType="application/vnd.openxmlformats-officedocument.drawingml.diagramColors+xml"/>
  <Override PartName="/ppt/tags/tag7.xml" ContentType="application/vnd.openxmlformats-officedocument.presentationml.tags+xml"/>
  <Override PartName="/ppt/diagrams/quickStyle5.xml" ContentType="application/vnd.openxmlformats-officedocument.drawingml.diagramStyle+xml"/>
  <Override PartName="/ppt/slides/slide3.xml" ContentType="application/vnd.openxmlformats-officedocument.presentationml.slide+xml"/>
  <Override PartName="/ppt/slides/slide17.xml" ContentType="application/vnd.openxmlformats-officedocument.presentationml.slide+xml"/>
  <Override PartName="/ppt/slideLayouts/slideLayout5.xml" ContentType="application/vnd.openxmlformats-officedocument.presentationml.slideLayout+xml"/>
  <Override PartName="/ppt/slideLayouts/slideLayout27.xml" ContentType="application/vnd.openxmlformats-officedocument.presentationml.slideLayout+xml"/>
  <Override PartName="/ppt/slideLayouts/slideLayout45.xml" ContentType="application/vnd.openxmlformats-officedocument.presentationml.slideLayout+xml"/>
  <Override PartName="/ppt/slideLayouts/slideLayout56.xml" ContentType="application/vnd.openxmlformats-officedocument.presentationml.slideLayout+xml"/>
  <Override PartName="/ppt/slideLayouts/slideLayout74.xml" ContentType="application/vnd.openxmlformats-officedocument.presentationml.slideLayout+xml"/>
  <Override PartName="/ppt/diagrams/drawing1.xml" ContentType="application/vnd.ms-office.drawingml.diagramDrawing+xml"/>
  <Override PartName="/ppt/slides/slide24.xml" ContentType="application/vnd.openxmlformats-officedocument.presentationml.slide+xml"/>
  <Override PartName="/ppt/slideLayouts/slideLayout16.xml" ContentType="application/vnd.openxmlformats-officedocument.presentationml.slideLayout+xml"/>
  <Default Extension="jpeg" ContentType="image/jpeg"/>
  <Override PartName="/ppt/slideLayouts/slideLayout34.xml" ContentType="application/vnd.openxmlformats-officedocument.presentationml.slideLayout+xml"/>
  <Override PartName="/ppt/slideLayouts/slideLayout63.xml" ContentType="application/vnd.openxmlformats-officedocument.presentationml.slideLayout+xml"/>
  <Override PartName="/ppt/slideLayouts/slideLayout81.xml" ContentType="application/vnd.openxmlformats-officedocument.presentationml.slideLayout+xml"/>
  <Override PartName="/ppt/slideLayouts/slideLayout92.xml" ContentType="application/vnd.openxmlformats-officedocument.presentationml.slideLayout+xml"/>
  <Override PartName="/ppt/tags/tag3.xml" ContentType="application/vnd.openxmlformats-officedocument.presentationml.tags+xml"/>
  <Override PartName="/ppt/diagrams/quickStyle1.xml" ContentType="application/vnd.openxmlformats-officedocument.drawingml.diagramStyle+xml"/>
  <Override PartName="/ppt/activeX/activeX1.xml" ContentType="application/vnd.ms-office.activeX+xml"/>
  <Override PartName="/ppt/slides/slide13.xml" ContentType="application/vnd.openxmlformats-officedocument.presentationml.slide+xml"/>
  <Override PartName="/ppt/slideLayouts/slideLayout1.xml" ContentType="application/vnd.openxmlformats-officedocument.presentationml.slideLayout+xml"/>
  <Override PartName="/ppt/slideLayouts/slideLayout23.xml" ContentType="application/vnd.openxmlformats-officedocument.presentationml.slideLayout+xml"/>
  <Override PartName="/ppt/slideLayouts/slideLayout41.xml" ContentType="application/vnd.openxmlformats-officedocument.presentationml.slideLayout+xml"/>
  <Override PartName="/ppt/slideLayouts/slideLayout52.xml" ContentType="application/vnd.openxmlformats-officedocument.presentationml.slideLayout+xml"/>
  <Override PartName="/ppt/slideLayouts/slideLayout70.xml" ContentType="application/vnd.openxmlformats-officedocument.presentationml.slideLayout+xml"/>
  <Override PartName="/ppt/tags/tag19.xml" ContentType="application/vnd.openxmlformats-officedocument.presentationml.tags+xml"/>
  <Override PartName="/ppt/slides/slide20.xml" ContentType="application/vnd.openxmlformats-officedocument.presentationml.slide+xml"/>
  <Override PartName="/ppt/slideLayouts/slideLayout12.xml" ContentType="application/vnd.openxmlformats-officedocument.presentationml.slideLayout+xml"/>
  <Override PartName="/ppt/slideLayouts/slideLayout30.xml" ContentType="application/vnd.openxmlformats-officedocument.presentationml.slideLayout+xml"/>
  <Override PartName="/ppt/diagrams/layout4.xml" ContentType="application/vnd.openxmlformats-officedocument.drawingml.diagramLayout+xml"/>
  <Override PartName="/ppt/tags/tag26.xml" ContentType="application/vnd.openxmlformats-officedocument.presentationml.tags+xml"/>
  <Override PartName="/ppt/diagrams/data5.xml" ContentType="application/vnd.openxmlformats-officedocument.drawingml.diagramData+xml"/>
  <Override PartName="/ppt/tags/tag15.xml" ContentType="application/vnd.openxmlformats-officedocument.presentationml.tags+xml"/>
  <Override PartName="/ppt/tags/tag22.xml" ContentType="application/vnd.openxmlformats-officedocument.presentationml.tags+xml"/>
  <Override PartName="/ppt/diagrams/drawing6.xml" ContentType="application/vnd.ms-office.drawingml.diagramDrawing+xml"/>
  <Override PartName="/ppt/slides/slide8.xml" ContentType="application/vnd.openxmlformats-officedocument.presentationml.slide+xml"/>
  <Override PartName="/ppt/slideLayouts/slideLayout68.xml" ContentType="application/vnd.openxmlformats-officedocument.presentationml.slideLayout+xml"/>
  <Override PartName="/ppt/slideLayouts/slideLayout79.xml" ContentType="application/vnd.openxmlformats-officedocument.presentationml.slideLayout+xml"/>
  <Override PartName="/ppt/diagrams/data1.xml" ContentType="application/vnd.openxmlformats-officedocument.drawingml.diagramData+xml"/>
  <Override PartName="/ppt/diagrams/colors3.xml" ContentType="application/vnd.openxmlformats-officedocument.drawingml.diagramColors+xml"/>
  <Override PartName="/ppt/tags/tag11.xml" ContentType="application/vnd.openxmlformats-officedocument.presentationml.tags+xml"/>
  <Override PartName="/ppt/diagrams/quickStyle6.xml" ContentType="application/vnd.openxmlformats-officedocument.drawingml.diagramStyle+xml"/>
  <Override PartName="/ppt/slides/slide29.xml" ContentType="application/vnd.openxmlformats-officedocument.presentationml.slide+xml"/>
  <Override PartName="/ppt/slideLayouts/slideLayout39.xml" ContentType="application/vnd.openxmlformats-officedocument.presentationml.slideLayout+xml"/>
  <Override PartName="/ppt/slideLayouts/slideLayout86.xml" ContentType="application/vnd.openxmlformats-officedocument.presentationml.slideLayout+xml"/>
  <Override PartName="/ppt/diagrams/drawing2.xml" ContentType="application/vnd.ms-office.drawingml.diagramDrawing+xml"/>
  <Override PartName="/ppt/slides/slide4.xml" ContentType="application/vnd.openxmlformats-officedocument.presentationml.slide+xml"/>
  <Override PartName="/ppt/slides/slide18.xml" ContentType="application/vnd.openxmlformats-officedocument.presentationml.slide+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slideLayouts/slideLayout28.xml" ContentType="application/vnd.openxmlformats-officedocument.presentationml.slideLayout+xml"/>
  <Override PartName="/ppt/slideLayouts/slideLayout64.xml" ContentType="application/vnd.openxmlformats-officedocument.presentationml.slideLayout+xml"/>
  <Override PartName="/ppt/slideLayouts/slideLayout75.xml" ContentType="application/vnd.openxmlformats-officedocument.presentationml.slideLayout+xml"/>
  <Override PartName="/ppt/tags/tag4.xml" ContentType="application/vnd.openxmlformats-officedocument.presentationml.tags+xml"/>
  <Override PartName="/ppt/diagrams/quickStyle2.xml" ContentType="application/vnd.openxmlformats-officedocument.drawingml.diagramStyle+xml"/>
  <Override PartName="/ppt/theme/theme1.xml" ContentType="application/vnd.openxmlformats-officedocument.theme+xml"/>
  <Override PartName="/ppt/slideLayouts/slideLayout53.xml" ContentType="application/vnd.openxmlformats-officedocument.presentationml.slideLayout+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 id="2147483672" r:id="rId3"/>
    <p:sldMasterId id="2147483688" r:id="rId4"/>
    <p:sldMasterId id="2147483707" r:id="rId5"/>
    <p:sldMasterId id="2147483722" r:id="rId6"/>
  </p:sldMasterIdLst>
  <p:notesMasterIdLst>
    <p:notesMasterId r:id="rId36"/>
  </p:notesMasterIdLst>
  <p:sldIdLst>
    <p:sldId id="256" r:id="rId7"/>
    <p:sldId id="257" r:id="rId8"/>
    <p:sldId id="258" r:id="rId9"/>
    <p:sldId id="259" r:id="rId10"/>
    <p:sldId id="260" r:id="rId11"/>
    <p:sldId id="261" r:id="rId12"/>
    <p:sldId id="262" r:id="rId13"/>
    <p:sldId id="263" r:id="rId14"/>
    <p:sldId id="264" r:id="rId15"/>
    <p:sldId id="265" r:id="rId16"/>
    <p:sldId id="266" r:id="rId17"/>
    <p:sldId id="267" r:id="rId18"/>
    <p:sldId id="268" r:id="rId19"/>
    <p:sldId id="269" r:id="rId20"/>
    <p:sldId id="270" r:id="rId21"/>
    <p:sldId id="271" r:id="rId22"/>
    <p:sldId id="272" r:id="rId23"/>
    <p:sldId id="273" r:id="rId24"/>
    <p:sldId id="274" r:id="rId25"/>
    <p:sldId id="275" r:id="rId26"/>
    <p:sldId id="276" r:id="rId27"/>
    <p:sldId id="277" r:id="rId28"/>
    <p:sldId id="278" r:id="rId29"/>
    <p:sldId id="279" r:id="rId30"/>
    <p:sldId id="284" r:id="rId31"/>
    <p:sldId id="280" r:id="rId32"/>
    <p:sldId id="281" r:id="rId33"/>
    <p:sldId id="282" r:id="rId34"/>
    <p:sldId id="283" r:id="rId35"/>
  </p:sldIdLst>
  <p:sldSz cx="9144000" cy="6858000" type="screen4x3"/>
  <p:notesSz cx="6858000" cy="9144000"/>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p:cViewPr varScale="1">
        <p:scale>
          <a:sx n="105" d="100"/>
          <a:sy n="105" d="100"/>
        </p:scale>
        <p:origin x="-1782" y="-84"/>
      </p:cViewPr>
      <p:guideLst>
        <p:guide orient="horz" pos="2160"/>
        <p:guide pos="2880"/>
      </p:guideLst>
    </p:cSldViewPr>
  </p:slideViewPr>
  <p:notesTextViewPr>
    <p:cViewPr>
      <p:scale>
        <a:sx n="100" d="100"/>
        <a:sy n="100" d="100"/>
      </p:scale>
      <p:origin x="0" y="0"/>
    </p:cViewPr>
  </p:notesText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theme" Target="theme/theme1.xml"/><Relationship Id="rId3" Type="http://schemas.openxmlformats.org/officeDocument/2006/relationships/slideMaster" Target="slideMasters/slideMaster3.xml"/><Relationship Id="rId21" Type="http://schemas.openxmlformats.org/officeDocument/2006/relationships/slide" Target="slides/slide15.xml"/><Relationship Id="rId34" Type="http://schemas.openxmlformats.org/officeDocument/2006/relationships/slide" Target="slides/slide28.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Master" Target="slideMasters/slideMaster5.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notesMaster" Target="notesMasters/notesMaster1.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 Type="http://schemas.openxmlformats.org/officeDocument/2006/relationships/slideMaster" Target="slideMasters/slideMaster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s>
</file>

<file path=ppt/activeX/activeX1.xml><?xml version="1.0" encoding="utf-8"?>
<ax:ocx xmlns:ax="http://schemas.microsoft.com/office/2006/activeX" xmlns:r="http://schemas.openxmlformats.org/officeDocument/2006/relationships" ax:classid="{6BF52A52-394A-11D3-B153-00C04F79FAA6}" ax:persistence="persistPropertyBag">
  <ax:ocxPr ax:name="URL" ax:value="F:\FFOutput\社会主义核心价值观公益广告 诚立身_标清.wmv"/>
  <ax:ocxPr ax:name="rate" ax:value="1"/>
  <ax:ocxPr ax:name="balance" ax:value="0"/>
  <ax:ocxPr ax:name="currentPosition" ax:value="0"/>
  <ax:ocxPr ax:name="defaultFrame" ax:value=""/>
  <ax:ocxPr ax:name="playCount" ax:value="1"/>
  <ax:ocxPr ax:name="autoStart" ax:value="-1"/>
  <ax:ocxPr ax:name="currentMarker" ax:value="0"/>
  <ax:ocxPr ax:name="invokeURLs" ax:value="-1"/>
  <ax:ocxPr ax:name="baseURL" ax:value=""/>
  <ax:ocxPr ax:name="volume" ax:value="50"/>
  <ax:ocxPr ax:name="mute" ax:value="0"/>
  <ax:ocxPr ax:name="uiMode" ax:value="full"/>
  <ax:ocxPr ax:name="stretchToFit" ax:value="0"/>
  <ax:ocxPr ax:name="windowlessVideo" ax:value="0"/>
  <ax:ocxPr ax:name="enabled" ax:value="-1"/>
  <ax:ocxPr ax:name="enableContextMenu" ax:value="-1"/>
  <ax:ocxPr ax:name="fullScreen" ax:value="0"/>
  <ax:ocxPr ax:name="SAMIStyle" ax:value=""/>
  <ax:ocxPr ax:name="SAMILang" ax:value=""/>
  <ax:ocxPr ax:name="SAMIFilename" ax:value=""/>
  <ax:ocxPr ax:name="captioningID" ax:value=""/>
  <ax:ocxPr ax:name="enableErrorDialogs" ax:value="0"/>
  <ax:ocxPr ax:name="_cx" ax:value="6606"/>
  <ax:ocxPr ax:name="_cy" ax:value="5503"/>
</ax:ocx>
</file>

<file path=ppt/diagrams/colors1.xml><?xml version="1.0" encoding="utf-8"?>
<dgm:colorsDef xmlns:dgm="http://schemas.openxmlformats.org/drawingml/2006/diagram" xmlns:a="http://schemas.openxmlformats.org/drawingml/2006/main" uniqueId="urn:microsoft.com/office/officeart/2005/8/colors/accent1_1">
  <dgm:title val=""/>
  <dgm:desc val=""/>
  <dgm:catLst>
    <dgm:cat type="accent1" pri="11100"/>
  </dgm:catLst>
  <dgm:styleLbl name="node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1">
        <a:shade val="80000"/>
      </a:schemeClr>
    </dgm:linClrLst>
    <dgm:effectClrLst/>
    <dgm:txLinClrLst/>
    <dgm:txFillClrLst/>
    <dgm:txEffectClrLst/>
  </dgm:styleLbl>
  <dgm:styleLbl name="node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f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align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b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dgm:txEffectClrLst/>
  </dgm:styleLbl>
  <dgm:styleLbl name="parChTrans2D2">
    <dgm:fillClrLst meth="repeat">
      <a:schemeClr val="accent1"/>
    </dgm:fillClrLst>
    <dgm:linClrLst meth="repeat">
      <a:schemeClr val="accent1"/>
    </dgm:linClrLst>
    <dgm:effectClrLst/>
    <dgm:txLinClrLst/>
    <dgm:txFillClrLst/>
    <dgm:txEffectClrLst/>
  </dgm:styleLbl>
  <dgm:styleLbl name="parChTrans2D3">
    <dgm:fillClrLst meth="repeat">
      <a:schemeClr val="accent1"/>
    </dgm:fillClrLst>
    <dgm:linClrLst meth="repeat">
      <a:schemeClr val="accent1"/>
    </dgm:linClrLst>
    <dgm:effectClrLst/>
    <dgm:txLinClrLst/>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con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align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trAlignAcc1">
    <dgm:fillClrLst meth="repeat">
      <a:schemeClr val="accent1">
        <a:alpha val="40000"/>
        <a:tint val="40000"/>
      </a:schemeClr>
    </dgm:fillClrLst>
    <dgm:linClrLst meth="repeat">
      <a:schemeClr val="accent1"/>
    </dgm:linClrLst>
    <dgm:effectClrLst/>
    <dgm:txLinClrLst/>
    <dgm:txFillClrLst meth="repeat">
      <a:schemeClr val="dk1"/>
    </dgm:txFillClrLst>
    <dgm:txEffectClrLst/>
  </dgm:styleLbl>
  <dgm:styleLbl name="b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fgAcc0">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2">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3">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4">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2_1">
  <dgm:title val=""/>
  <dgm:desc val=""/>
  <dgm:catLst>
    <dgm:cat type="accent2" pri="11100"/>
  </dgm:catLst>
  <dgm:styleLbl name="node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2">
        <a:shade val="80000"/>
      </a:schemeClr>
    </dgm:linClrLst>
    <dgm:effectClrLst/>
    <dgm:txLinClrLst/>
    <dgm:txFillClrLst/>
    <dgm:txEffectClrLst/>
  </dgm:styleLbl>
  <dgm:styleLbl name="node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f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align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b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dgm:txEffectClrLst/>
  </dgm:styleLbl>
  <dgm:styleLbl name="parChTrans2D2">
    <dgm:fillClrLst meth="repeat">
      <a:schemeClr val="accent2"/>
    </dgm:fillClrLst>
    <dgm:linClrLst meth="repeat">
      <a:schemeClr val="accent2"/>
    </dgm:linClrLst>
    <dgm:effectClrLst/>
    <dgm:txLinClrLst/>
    <dgm:txFillClrLst/>
    <dgm:txEffectClrLst/>
  </dgm:styleLbl>
  <dgm:styleLbl name="parChTrans2D3">
    <dgm:fillClrLst meth="repeat">
      <a:schemeClr val="accent2"/>
    </dgm:fillClrLst>
    <dgm:linClrLst meth="repeat">
      <a:schemeClr val="accent2"/>
    </dgm:linClrLst>
    <dgm:effectClrLst/>
    <dgm:txLinClrLst/>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con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align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trAlignAcc1">
    <dgm:fillClrLst meth="repeat">
      <a:schemeClr val="accent2">
        <a:alpha val="40000"/>
        <a:tint val="40000"/>
      </a:schemeClr>
    </dgm:fillClrLst>
    <dgm:linClrLst meth="repeat">
      <a:schemeClr val="accent2"/>
    </dgm:linClrLst>
    <dgm:effectClrLst/>
    <dgm:txLinClrLst/>
    <dgm:txFillClrLst meth="repeat">
      <a:schemeClr val="dk1"/>
    </dgm:txFillClrLst>
    <dgm:txEffectClrLst/>
  </dgm:styleLbl>
  <dgm:styleLbl name="b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fgAcc0">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2">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3">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4">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4_2">
  <dgm:title val=""/>
  <dgm:desc val=""/>
  <dgm:catLst>
    <dgm:cat type="accent4" pri="11200"/>
  </dgm:catLst>
  <dgm:styleLbl name="node0">
    <dgm:fillClrLst meth="repeat">
      <a:schemeClr val="accent4"/>
    </dgm:fillClrLst>
    <dgm:linClrLst meth="repeat">
      <a:schemeClr val="lt1"/>
    </dgm:linClrLst>
    <dgm:effectClrLst/>
    <dgm:txLinClrLst/>
    <dgm:txFillClrLst/>
    <dgm:txEffectClrLst/>
  </dgm:styleLbl>
  <dgm:styleLbl name="node1">
    <dgm:fillClrLst meth="repeat">
      <a:schemeClr val="accent4"/>
    </dgm:fillClrLst>
    <dgm:linClrLst meth="repeat">
      <a:schemeClr val="lt1"/>
    </dgm:linClrLst>
    <dgm:effectClrLst/>
    <dgm:txLinClrLst/>
    <dgm:txFillClrLst/>
    <dgm:txEffectClrLst/>
  </dgm:styleLbl>
  <dgm:styleLbl name="alignNode1">
    <dgm:fillClrLst meth="repeat">
      <a:schemeClr val="accent4"/>
    </dgm:fillClrLst>
    <dgm:linClrLst meth="repeat">
      <a:schemeClr val="accent4"/>
    </dgm:linClrLst>
    <dgm:effectClrLst/>
    <dgm:txLinClrLst/>
    <dgm:txFillClrLst/>
    <dgm:txEffectClrLst/>
  </dgm:styleLbl>
  <dgm:styleLbl name="lnNode1">
    <dgm:fillClrLst meth="repeat">
      <a:schemeClr val="accent4"/>
    </dgm:fillClrLst>
    <dgm:linClrLst meth="repeat">
      <a:schemeClr val="lt1"/>
    </dgm:linClrLst>
    <dgm:effectClrLst/>
    <dgm:txLinClrLst/>
    <dgm:txFillClrLst/>
    <dgm:txEffectClrLst/>
  </dgm:styleLbl>
  <dgm:styleLbl name="vennNode1">
    <dgm:fillClrLst meth="repeat">
      <a:schemeClr val="accent4">
        <a:alpha val="50000"/>
      </a:schemeClr>
    </dgm:fillClrLst>
    <dgm:linClrLst meth="repeat">
      <a:schemeClr val="lt1"/>
    </dgm:linClrLst>
    <dgm:effectClrLst/>
    <dgm:txLinClrLst/>
    <dgm:txFillClrLst/>
    <dgm:txEffectClrLst/>
  </dgm:styleLbl>
  <dgm:styleLbl name="node2">
    <dgm:fillClrLst meth="repeat">
      <a:schemeClr val="accent4"/>
    </dgm:fillClrLst>
    <dgm:linClrLst meth="repeat">
      <a:schemeClr val="lt1"/>
    </dgm:linClrLst>
    <dgm:effectClrLst/>
    <dgm:txLinClrLst/>
    <dgm:txFillClrLst/>
    <dgm:txEffectClrLst/>
  </dgm:styleLbl>
  <dgm:styleLbl name="node3">
    <dgm:fillClrLst meth="repeat">
      <a:schemeClr val="accent4"/>
    </dgm:fillClrLst>
    <dgm:linClrLst meth="repeat">
      <a:schemeClr val="lt1"/>
    </dgm:linClrLst>
    <dgm:effectClrLst/>
    <dgm:txLinClrLst/>
    <dgm:txFillClrLst/>
    <dgm:txEffectClrLst/>
  </dgm:styleLbl>
  <dgm:styleLbl name="node4">
    <dgm:fillClrLst meth="repeat">
      <a:schemeClr val="accent4"/>
    </dgm:fillClrLst>
    <dgm:linClrLst meth="repeat">
      <a:schemeClr val="lt1"/>
    </dgm:linClrLst>
    <dgm:effectClrLst/>
    <dgm:txLinClrLst/>
    <dgm:txFillClrLst/>
    <dgm:txEffectClrLst/>
  </dgm:styleLbl>
  <dgm:styleLbl name="fgImgPlace1">
    <dgm:fillClrLst meth="repeat">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4">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4">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4">
        <a:tint val="60000"/>
      </a:schemeClr>
    </dgm:fillClrLst>
    <dgm:linClrLst meth="repeat">
      <a:schemeClr val="accent4">
        <a:tint val="60000"/>
      </a:schemeClr>
    </dgm:linClrLst>
    <dgm:effectClrLst/>
    <dgm:txLinClrLst/>
    <dgm:txFillClrLst/>
    <dgm:txEffectClrLst/>
  </dgm:styleLbl>
  <dgm:styleLbl name="fgSibTrans2D1">
    <dgm:fillClrLst meth="repeat">
      <a:schemeClr val="accent4">
        <a:tint val="60000"/>
      </a:schemeClr>
    </dgm:fillClrLst>
    <dgm:linClrLst meth="repeat">
      <a:schemeClr val="accent4">
        <a:tint val="60000"/>
      </a:schemeClr>
    </dgm:linClrLst>
    <dgm:effectClrLst/>
    <dgm:txLinClrLst/>
    <dgm:txFillClrLst/>
    <dgm:txEffectClrLst/>
  </dgm:styleLbl>
  <dgm:styleLbl name="bgSibTrans2D1">
    <dgm:fillClrLst meth="repeat">
      <a:schemeClr val="accent4">
        <a:tint val="60000"/>
      </a:schemeClr>
    </dgm:fillClrLst>
    <dgm:linClrLst meth="repeat">
      <a:schemeClr val="accent4">
        <a:tint val="60000"/>
      </a:schemeClr>
    </dgm:linClrLst>
    <dgm:effectClrLst/>
    <dgm:txLinClrLst/>
    <dgm:txFillClrLst/>
    <dgm:txEffectClrLst/>
  </dgm:styleLbl>
  <dgm:styleLbl name="sibTrans1D1">
    <dgm:fillClrLst meth="repeat">
      <a:schemeClr val="accent4"/>
    </dgm:fillClrLst>
    <dgm:linClrLst meth="repeat">
      <a:schemeClr val="accent4"/>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dgm:linClrLst>
    <dgm:effectClrLst/>
    <dgm:txLinClrLst/>
    <dgm:txFillClrLst/>
    <dgm:txEffectClrLst/>
  </dgm:styleLbl>
  <dgm:styleLbl name="asst1">
    <dgm:fillClrLst meth="repeat">
      <a:schemeClr val="accent4"/>
    </dgm:fillClrLst>
    <dgm:linClrLst meth="repeat">
      <a:schemeClr val="lt1"/>
    </dgm:linClrLst>
    <dgm:effectClrLst/>
    <dgm:txLinClrLst/>
    <dgm:txFillClrLst/>
    <dgm:txEffectClrLst/>
  </dgm:styleLbl>
  <dgm:styleLbl name="asst2">
    <dgm:fillClrLst meth="repeat">
      <a:schemeClr val="accent4"/>
    </dgm:fillClrLst>
    <dgm:linClrLst meth="repeat">
      <a:schemeClr val="lt1"/>
    </dgm:linClrLst>
    <dgm:effectClrLst/>
    <dgm:txLinClrLst/>
    <dgm:txFillClrLst/>
    <dgm:txEffectClrLst/>
  </dgm:styleLbl>
  <dgm:styleLbl name="asst3">
    <dgm:fillClrLst meth="repeat">
      <a:schemeClr val="accent4"/>
    </dgm:fillClrLst>
    <dgm:linClrLst meth="repeat">
      <a:schemeClr val="lt1"/>
    </dgm:linClrLst>
    <dgm:effectClrLst/>
    <dgm:txLinClrLst/>
    <dgm:txFillClrLst/>
    <dgm:txEffectClrLst/>
  </dgm:styleLbl>
  <dgm:styleLbl name="asst4">
    <dgm:fillClrLst meth="repeat">
      <a:schemeClr val="accent4"/>
    </dgm:fillClrLst>
    <dgm:linClrLst meth="repeat">
      <a:schemeClr val="lt1"/>
    </dgm:linClrLst>
    <dgm:effectClrLst/>
    <dgm:txLinClrLst/>
    <dgm:txFillClrLst/>
    <dgm:txEffectClrLst/>
  </dgm:styleLbl>
  <dgm:styleLbl name="parChTrans2D1">
    <dgm:fillClrLst meth="repeat">
      <a:schemeClr val="accent4">
        <a:tint val="60000"/>
      </a:schemeClr>
    </dgm:fillClrLst>
    <dgm:linClrLst meth="repeat">
      <a:schemeClr val="accent4">
        <a:tint val="60000"/>
      </a:schemeClr>
    </dgm:linClrLst>
    <dgm:effectClrLst/>
    <dgm:txLinClrLst/>
    <dgm:txFillClrLst meth="repeat">
      <a:schemeClr val="lt1"/>
    </dgm:txFillClrLst>
    <dgm:txEffectClrLst/>
  </dgm:styleLbl>
  <dgm:styleLbl name="parChTrans2D2">
    <dgm:fillClrLst meth="repeat">
      <a:schemeClr val="accent4"/>
    </dgm:fillClrLst>
    <dgm:linClrLst meth="repeat">
      <a:schemeClr val="accent4"/>
    </dgm:linClrLst>
    <dgm:effectClrLst/>
    <dgm:txLinClrLst/>
    <dgm:txFillClrLst meth="repeat">
      <a:schemeClr val="lt1"/>
    </dgm:txFillClrLst>
    <dgm:txEffectClrLst/>
  </dgm:styleLbl>
  <dgm:styleLbl name="parChTrans2D3">
    <dgm:fillClrLst meth="repeat">
      <a:schemeClr val="accent4"/>
    </dgm:fillClrLst>
    <dgm:linClrLst meth="repeat">
      <a:schemeClr val="accent4"/>
    </dgm:linClrLst>
    <dgm:effectClrLst/>
    <dgm:txLinClrLst/>
    <dgm:txFillClrLst meth="repeat">
      <a:schemeClr val="lt1"/>
    </dgm:txFillClrLst>
    <dgm:txEffectClrLst/>
  </dgm:styleLbl>
  <dgm:styleLbl name="parChTrans2D4">
    <dgm:fillClrLst meth="repeat">
      <a:schemeClr val="accent4"/>
    </dgm:fillClrLst>
    <dgm:linClrLst meth="repeat">
      <a:schemeClr val="accent4"/>
    </dgm:linClrLst>
    <dgm:effectClrLst/>
    <dgm:txLinClrLst/>
    <dgm:txFillClrLst meth="repeat">
      <a:schemeClr val="lt1"/>
    </dgm:txFillClrLst>
    <dgm:txEffectClrLst/>
  </dgm:styleLbl>
  <dgm:styleLbl name="parChTrans1D1">
    <dgm:fillClrLst meth="repeat">
      <a:schemeClr val="accent4"/>
    </dgm:fillClrLst>
    <dgm:linClrLst meth="repeat">
      <a:schemeClr val="accent4">
        <a:shade val="60000"/>
      </a:schemeClr>
    </dgm:linClrLst>
    <dgm:effectClrLst/>
    <dgm:txLinClrLst/>
    <dgm:txFillClrLst meth="repeat">
      <a:schemeClr val="tx1"/>
    </dgm:txFillClrLst>
    <dgm:txEffectClrLst/>
  </dgm:styleLbl>
  <dgm:styleLbl name="parChTrans1D2">
    <dgm:fillClrLst meth="repeat">
      <a:schemeClr val="accent4"/>
    </dgm:fillClrLst>
    <dgm:linClrLst meth="repeat">
      <a:schemeClr val="accent4">
        <a:shade val="60000"/>
      </a:schemeClr>
    </dgm:linClrLst>
    <dgm:effectClrLst/>
    <dgm:txLinClrLst/>
    <dgm:txFillClrLst meth="repeat">
      <a:schemeClr val="tx1"/>
    </dgm:txFillClrLst>
    <dgm:txEffectClrLst/>
  </dgm:styleLbl>
  <dgm:styleLbl name="parChTrans1D3">
    <dgm:fillClrLst meth="repeat">
      <a:schemeClr val="accent4"/>
    </dgm:fillClrLst>
    <dgm:linClrLst meth="repeat">
      <a:schemeClr val="accent4">
        <a:shade val="80000"/>
      </a:schemeClr>
    </dgm:linClrLst>
    <dgm:effectClrLst/>
    <dgm:txLinClrLst/>
    <dgm:txFillClrLst meth="repeat">
      <a:schemeClr val="tx1"/>
    </dgm:txFillClrLst>
    <dgm:txEffectClrLst/>
  </dgm:styleLbl>
  <dgm:styleLbl name="parChTrans1D4">
    <dgm:fillClrLst meth="repeat">
      <a:schemeClr val="accent4"/>
    </dgm:fillClrLst>
    <dgm:linClrLst meth="repeat">
      <a:schemeClr val="accent4">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solidFgAcc1">
    <dgm:fillClrLst meth="repeat">
      <a:schemeClr val="lt1"/>
    </dgm:fillClrLst>
    <dgm:linClrLst meth="repeat">
      <a:schemeClr val="accent4"/>
    </dgm:linClrLst>
    <dgm:effectClrLst/>
    <dgm:txLinClrLst/>
    <dgm:txFillClrLst meth="repeat">
      <a:schemeClr val="dk1"/>
    </dgm:txFillClrLst>
    <dgm:txEffectClrLst/>
  </dgm:styleLbl>
  <dgm:styleLbl name="solidAlignAcc1">
    <dgm:fillClrLst meth="repeat">
      <a:schemeClr val="lt1"/>
    </dgm:fillClrLst>
    <dgm:linClrLst meth="repeat">
      <a:schemeClr val="accent4"/>
    </dgm:linClrLst>
    <dgm:effectClrLst/>
    <dgm:txLinClrLst/>
    <dgm:txFillClrLst meth="repeat">
      <a:schemeClr val="dk1"/>
    </dgm:txFillClrLst>
    <dgm:txEffectClrLst/>
  </dgm:styleLbl>
  <dgm:styleLbl name="solidBgAcc1">
    <dgm:fillClrLst meth="repeat">
      <a:schemeClr val="lt1"/>
    </dgm:fillClrLst>
    <dgm:linClrLst meth="repeat">
      <a:schemeClr val="accent4"/>
    </dgm:linClrLst>
    <dgm:effectClrLst/>
    <dgm:txLinClrLst/>
    <dgm:txFillClrLst meth="repeat">
      <a:schemeClr val="dk1"/>
    </dgm:txFillClrLst>
    <dgm:txEffectClrLst/>
  </dgm:styleLbl>
  <dgm:styleLbl name="fg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align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bg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accent4"/>
    </dgm:linClrLst>
    <dgm:effectClrLst/>
    <dgm:txLinClrLst/>
    <dgm:txFillClrLst meth="repeat">
      <a:schemeClr val="dk1"/>
    </dgm:txFillClrLst>
    <dgm:txEffectClrLst/>
  </dgm:styleLbl>
  <dgm:styleLbl name="dkBgShp">
    <dgm:fillClrLst meth="repeat">
      <a:schemeClr val="accent4">
        <a:shade val="80000"/>
      </a:schemeClr>
    </dgm:fillClrLst>
    <dgm:linClrLst meth="repeat">
      <a:schemeClr val="accent4"/>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1">
  <dgm:title val=""/>
  <dgm:desc val=""/>
  <dgm:catLst>
    <dgm:cat type="accent1" pri="11100"/>
  </dgm:catLst>
  <dgm:styleLbl name="node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1">
        <a:shade val="80000"/>
      </a:schemeClr>
    </dgm:linClrLst>
    <dgm:effectClrLst/>
    <dgm:txLinClrLst/>
    <dgm:txFillClrLst/>
    <dgm:txEffectClrLst/>
  </dgm:styleLbl>
  <dgm:styleLbl name="node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f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align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b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dgm:txEffectClrLst/>
  </dgm:styleLbl>
  <dgm:styleLbl name="parChTrans2D2">
    <dgm:fillClrLst meth="repeat">
      <a:schemeClr val="accent1"/>
    </dgm:fillClrLst>
    <dgm:linClrLst meth="repeat">
      <a:schemeClr val="accent1"/>
    </dgm:linClrLst>
    <dgm:effectClrLst/>
    <dgm:txLinClrLst/>
    <dgm:txFillClrLst/>
    <dgm:txEffectClrLst/>
  </dgm:styleLbl>
  <dgm:styleLbl name="parChTrans2D3">
    <dgm:fillClrLst meth="repeat">
      <a:schemeClr val="accent1"/>
    </dgm:fillClrLst>
    <dgm:linClrLst meth="repeat">
      <a:schemeClr val="accent1"/>
    </dgm:linClrLst>
    <dgm:effectClrLst/>
    <dgm:txLinClrLst/>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con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align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trAlignAcc1">
    <dgm:fillClrLst meth="repeat">
      <a:schemeClr val="accent1">
        <a:alpha val="40000"/>
        <a:tint val="40000"/>
      </a:schemeClr>
    </dgm:fillClrLst>
    <dgm:linClrLst meth="repeat">
      <a:schemeClr val="accent1"/>
    </dgm:linClrLst>
    <dgm:effectClrLst/>
    <dgm:txLinClrLst/>
    <dgm:txFillClrLst meth="repeat">
      <a:schemeClr val="dk1"/>
    </dgm:txFillClrLst>
    <dgm:txEffectClrLst/>
  </dgm:styleLbl>
  <dgm:styleLbl name="b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fgAcc0">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2">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3">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4">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1">
  <dgm:title val=""/>
  <dgm:desc val=""/>
  <dgm:catLst>
    <dgm:cat type="accent1" pri="11100"/>
  </dgm:catLst>
  <dgm:styleLbl name="node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1">
        <a:shade val="80000"/>
      </a:schemeClr>
    </dgm:linClrLst>
    <dgm:effectClrLst/>
    <dgm:txLinClrLst/>
    <dgm:txFillClrLst/>
    <dgm:txEffectClrLst/>
  </dgm:styleLbl>
  <dgm:styleLbl name="node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f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align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b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dgm:txEffectClrLst/>
  </dgm:styleLbl>
  <dgm:styleLbl name="parChTrans2D2">
    <dgm:fillClrLst meth="repeat">
      <a:schemeClr val="accent1"/>
    </dgm:fillClrLst>
    <dgm:linClrLst meth="repeat">
      <a:schemeClr val="accent1"/>
    </dgm:linClrLst>
    <dgm:effectClrLst/>
    <dgm:txLinClrLst/>
    <dgm:txFillClrLst/>
    <dgm:txEffectClrLst/>
  </dgm:styleLbl>
  <dgm:styleLbl name="parChTrans2D3">
    <dgm:fillClrLst meth="repeat">
      <a:schemeClr val="accent1"/>
    </dgm:fillClrLst>
    <dgm:linClrLst meth="repeat">
      <a:schemeClr val="accent1"/>
    </dgm:linClrLst>
    <dgm:effectClrLst/>
    <dgm:txLinClrLst/>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con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align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trAlignAcc1">
    <dgm:fillClrLst meth="repeat">
      <a:schemeClr val="accent1">
        <a:alpha val="40000"/>
        <a:tint val="40000"/>
      </a:schemeClr>
    </dgm:fillClrLst>
    <dgm:linClrLst meth="repeat">
      <a:schemeClr val="accent1"/>
    </dgm:linClrLst>
    <dgm:effectClrLst/>
    <dgm:txLinClrLst/>
    <dgm:txFillClrLst meth="repeat">
      <a:schemeClr val="dk1"/>
    </dgm:txFillClrLst>
    <dgm:txEffectClrLst/>
  </dgm:styleLbl>
  <dgm:styleLbl name="b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fgAcc0">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2">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3">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4">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1">
  <dgm:title val=""/>
  <dgm:desc val=""/>
  <dgm:catLst>
    <dgm:cat type="accent1" pri="11100"/>
  </dgm:catLst>
  <dgm:styleLbl name="node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1">
        <a:shade val="80000"/>
      </a:schemeClr>
    </dgm:linClrLst>
    <dgm:effectClrLst/>
    <dgm:txLinClrLst/>
    <dgm:txFillClrLst/>
    <dgm:txEffectClrLst/>
  </dgm:styleLbl>
  <dgm:styleLbl name="node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f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align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b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dgm:txEffectClrLst/>
  </dgm:styleLbl>
  <dgm:styleLbl name="parChTrans2D2">
    <dgm:fillClrLst meth="repeat">
      <a:schemeClr val="accent1"/>
    </dgm:fillClrLst>
    <dgm:linClrLst meth="repeat">
      <a:schemeClr val="accent1"/>
    </dgm:linClrLst>
    <dgm:effectClrLst/>
    <dgm:txLinClrLst/>
    <dgm:txFillClrLst/>
    <dgm:txEffectClrLst/>
  </dgm:styleLbl>
  <dgm:styleLbl name="parChTrans2D3">
    <dgm:fillClrLst meth="repeat">
      <a:schemeClr val="accent1"/>
    </dgm:fillClrLst>
    <dgm:linClrLst meth="repeat">
      <a:schemeClr val="accent1"/>
    </dgm:linClrLst>
    <dgm:effectClrLst/>
    <dgm:txLinClrLst/>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con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align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trAlignAcc1">
    <dgm:fillClrLst meth="repeat">
      <a:schemeClr val="accent1">
        <a:alpha val="40000"/>
        <a:tint val="40000"/>
      </a:schemeClr>
    </dgm:fillClrLst>
    <dgm:linClrLst meth="repeat">
      <a:schemeClr val="accent1"/>
    </dgm:linClrLst>
    <dgm:effectClrLst/>
    <dgm:txLinClrLst/>
    <dgm:txFillClrLst meth="repeat">
      <a:schemeClr val="dk1"/>
    </dgm:txFillClrLst>
    <dgm:txEffectClrLst/>
  </dgm:styleLbl>
  <dgm:styleLbl name="b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fgAcc0">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2">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3">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4">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CDB78663-3361-43EE-9992-DE175FD91A94}" type="doc">
      <dgm:prSet loTypeId="urn:microsoft.com/office/officeart/2005/8/layout/chevron2" loCatId="list" qsTypeId="urn:microsoft.com/office/officeart/2005/8/quickstyle/3d4" qsCatId="3D" csTypeId="urn:microsoft.com/office/officeart/2005/8/colors/accent1_1" csCatId="accent1" phldr="1"/>
      <dgm:spPr/>
      <dgm:t>
        <a:bodyPr/>
        <a:lstStyle/>
        <a:p>
          <a:endParaRPr lang="zh-CN" altLang="en-US"/>
        </a:p>
      </dgm:t>
    </dgm:pt>
    <dgm:pt modelId="{95288C3E-CFF2-43DB-A08C-E6EB59868CF7}">
      <dgm:prSet phldrT="[文本]" custT="1"/>
      <dgm:spPr>
        <a:solidFill>
          <a:schemeClr val="accent1">
            <a:lumMod val="60000"/>
            <a:lumOff val="40000"/>
          </a:schemeClr>
        </a:solidFill>
      </dgm:spPr>
      <dgm:t>
        <a:bodyPr/>
        <a:lstStyle/>
        <a:p>
          <a:r>
            <a:rPr lang="en-US" altLang="zh-CN" sz="2400" b="1" dirty="0" smtClean="0"/>
            <a:t> </a:t>
          </a:r>
          <a:endParaRPr lang="zh-CN" altLang="en-US" sz="2400" b="1" dirty="0"/>
        </a:p>
      </dgm:t>
    </dgm:pt>
    <dgm:pt modelId="{EDF7A964-D71B-4352-A003-656538D6BE21}" type="parTrans" cxnId="{309FCEDA-94F3-4257-AB1F-0A6761A0E5E6}">
      <dgm:prSet/>
      <dgm:spPr/>
      <dgm:t>
        <a:bodyPr/>
        <a:lstStyle/>
        <a:p>
          <a:endParaRPr lang="zh-CN" altLang="en-US"/>
        </a:p>
      </dgm:t>
    </dgm:pt>
    <dgm:pt modelId="{B87CED5C-AA7D-4B26-A82F-598F8A7C09A3}" type="sibTrans" cxnId="{309FCEDA-94F3-4257-AB1F-0A6761A0E5E6}">
      <dgm:prSet/>
      <dgm:spPr/>
      <dgm:t>
        <a:bodyPr/>
        <a:lstStyle/>
        <a:p>
          <a:endParaRPr lang="zh-CN" altLang="en-US"/>
        </a:p>
      </dgm:t>
    </dgm:pt>
    <dgm:pt modelId="{729DE3EF-E670-4C0C-B750-3193656B522C}">
      <dgm:prSet phldrT="[文本]" custT="1"/>
      <dgm:spPr/>
      <dgm:t>
        <a:bodyPr/>
        <a:lstStyle/>
        <a:p>
          <a:r>
            <a:rPr lang="zh-CN" altLang="en-US" sz="2000" b="1" i="0" u="none" dirty="0" smtClean="0">
              <a:solidFill>
                <a:srgbClr val="A50021"/>
              </a:solidFill>
              <a:effectLst/>
              <a:latin typeface="黑体" pitchFamily="49" charset="-122"/>
              <a:ea typeface="黑体" pitchFamily="49" charset="-122"/>
            </a:rPr>
            <a:t>协调好个人与他人关系的重要性</a:t>
          </a:r>
          <a:endParaRPr lang="zh-CN" altLang="en-US" sz="2000" i="0" u="none" dirty="0">
            <a:effectLst>
              <a:outerShdw blurRad="38100" dist="38100" dir="2700000" algn="tl">
                <a:srgbClr val="000000">
                  <a:alpha val="43137"/>
                </a:srgbClr>
              </a:outerShdw>
            </a:effectLst>
            <a:latin typeface="黑体" pitchFamily="49" charset="-122"/>
            <a:ea typeface="黑体" pitchFamily="49" charset="-122"/>
          </a:endParaRPr>
        </a:p>
      </dgm:t>
    </dgm:pt>
    <dgm:pt modelId="{17729A39-469B-4DEA-A98E-E76FB97CE5F0}" type="sibTrans" cxnId="{1ACB85EF-2123-4945-9800-ADD8423245CA}">
      <dgm:prSet/>
      <dgm:spPr/>
      <dgm:t>
        <a:bodyPr/>
        <a:lstStyle/>
        <a:p>
          <a:endParaRPr lang="zh-CN" altLang="en-US"/>
        </a:p>
      </dgm:t>
    </dgm:pt>
    <dgm:pt modelId="{90D1CF48-7D90-4710-AA49-AD14ABC82541}" type="parTrans" cxnId="{1ACB85EF-2123-4945-9800-ADD8423245CA}">
      <dgm:prSet/>
      <dgm:spPr/>
      <dgm:t>
        <a:bodyPr/>
        <a:lstStyle/>
        <a:p>
          <a:endParaRPr lang="zh-CN" altLang="en-US"/>
        </a:p>
      </dgm:t>
    </dgm:pt>
    <dgm:pt modelId="{708E06D4-7890-4F4E-BDFD-40755CCFF0BD}" type="pres">
      <dgm:prSet presAssocID="{CDB78663-3361-43EE-9992-DE175FD91A94}" presName="linearFlow" presStyleCnt="0">
        <dgm:presLayoutVars>
          <dgm:dir/>
          <dgm:animLvl val="lvl"/>
          <dgm:resizeHandles val="exact"/>
        </dgm:presLayoutVars>
      </dgm:prSet>
      <dgm:spPr/>
      <dgm:t>
        <a:bodyPr/>
        <a:lstStyle/>
        <a:p>
          <a:endParaRPr lang="zh-CN" altLang="en-US"/>
        </a:p>
      </dgm:t>
    </dgm:pt>
    <dgm:pt modelId="{259EA3E1-13F2-4742-9182-7739682C0F42}" type="pres">
      <dgm:prSet presAssocID="{95288C3E-CFF2-43DB-A08C-E6EB59868CF7}" presName="composite" presStyleCnt="0"/>
      <dgm:spPr/>
      <dgm:t>
        <a:bodyPr/>
        <a:lstStyle/>
        <a:p>
          <a:endParaRPr lang="zh-CN" altLang="en-US"/>
        </a:p>
      </dgm:t>
    </dgm:pt>
    <dgm:pt modelId="{DBD75CA0-1BBB-45D7-A9D0-7A4FDFDD203E}" type="pres">
      <dgm:prSet presAssocID="{95288C3E-CFF2-43DB-A08C-E6EB59868CF7}" presName="parentText" presStyleLbl="alignNode1" presStyleIdx="0" presStyleCnt="1" custScaleX="182685" custScaleY="127441" custLinFactNeighborX="-2070" custLinFactNeighborY="2843">
        <dgm:presLayoutVars>
          <dgm:chMax val="1"/>
          <dgm:bulletEnabled val="1"/>
        </dgm:presLayoutVars>
      </dgm:prSet>
      <dgm:spPr/>
      <dgm:t>
        <a:bodyPr/>
        <a:lstStyle/>
        <a:p>
          <a:endParaRPr lang="zh-CN" altLang="en-US"/>
        </a:p>
      </dgm:t>
    </dgm:pt>
    <dgm:pt modelId="{DD43B587-D25A-4A23-9B2A-BAC6085C7E0C}" type="pres">
      <dgm:prSet presAssocID="{95288C3E-CFF2-43DB-A08C-E6EB59868CF7}" presName="descendantText" presStyleLbl="alignAcc1" presStyleIdx="0" presStyleCnt="1" custScaleX="91121" custScaleY="218013" custLinFactY="-5396" custLinFactNeighborX="218" custLinFactNeighborY="-100000">
        <dgm:presLayoutVars>
          <dgm:bulletEnabled val="1"/>
        </dgm:presLayoutVars>
      </dgm:prSet>
      <dgm:spPr/>
      <dgm:t>
        <a:bodyPr/>
        <a:lstStyle/>
        <a:p>
          <a:endParaRPr lang="zh-CN" altLang="en-US"/>
        </a:p>
      </dgm:t>
    </dgm:pt>
  </dgm:ptLst>
  <dgm:cxnLst>
    <dgm:cxn modelId="{309FCEDA-94F3-4257-AB1F-0A6761A0E5E6}" srcId="{CDB78663-3361-43EE-9992-DE175FD91A94}" destId="{95288C3E-CFF2-43DB-A08C-E6EB59868CF7}" srcOrd="0" destOrd="0" parTransId="{EDF7A964-D71B-4352-A003-656538D6BE21}" sibTransId="{B87CED5C-AA7D-4B26-A82F-598F8A7C09A3}"/>
    <dgm:cxn modelId="{D42D4FD1-B72B-4359-B61A-4ECAE2178294}" type="presOf" srcId="{CDB78663-3361-43EE-9992-DE175FD91A94}" destId="{708E06D4-7890-4F4E-BDFD-40755CCFF0BD}" srcOrd="0" destOrd="0" presId="urn:microsoft.com/office/officeart/2005/8/layout/chevron2"/>
    <dgm:cxn modelId="{A3F4C1B7-C58E-4181-973D-C3417F41959A}" type="presOf" srcId="{95288C3E-CFF2-43DB-A08C-E6EB59868CF7}" destId="{DBD75CA0-1BBB-45D7-A9D0-7A4FDFDD203E}" srcOrd="0" destOrd="0" presId="urn:microsoft.com/office/officeart/2005/8/layout/chevron2"/>
    <dgm:cxn modelId="{F1EC42E1-5452-4BB2-922C-3DEC3C661500}" type="presOf" srcId="{729DE3EF-E670-4C0C-B750-3193656B522C}" destId="{DD43B587-D25A-4A23-9B2A-BAC6085C7E0C}" srcOrd="0" destOrd="0" presId="urn:microsoft.com/office/officeart/2005/8/layout/chevron2"/>
    <dgm:cxn modelId="{1ACB85EF-2123-4945-9800-ADD8423245CA}" srcId="{95288C3E-CFF2-43DB-A08C-E6EB59868CF7}" destId="{729DE3EF-E670-4C0C-B750-3193656B522C}" srcOrd="0" destOrd="0" parTransId="{90D1CF48-7D90-4710-AA49-AD14ABC82541}" sibTransId="{17729A39-469B-4DEA-A98E-E76FB97CE5F0}"/>
    <dgm:cxn modelId="{8A47F2F5-C8B4-46A8-BD59-39985DFC3C82}" type="presParOf" srcId="{708E06D4-7890-4F4E-BDFD-40755CCFF0BD}" destId="{259EA3E1-13F2-4742-9182-7739682C0F42}" srcOrd="0" destOrd="0" presId="urn:microsoft.com/office/officeart/2005/8/layout/chevron2"/>
    <dgm:cxn modelId="{0DDD6ADE-641A-455D-9723-0F455A1E9C26}" type="presParOf" srcId="{259EA3E1-13F2-4742-9182-7739682C0F42}" destId="{DBD75CA0-1BBB-45D7-A9D0-7A4FDFDD203E}" srcOrd="0" destOrd="0" presId="urn:microsoft.com/office/officeart/2005/8/layout/chevron2"/>
    <dgm:cxn modelId="{A2614CA4-BB15-426F-8AE7-24351F7C4BF3}" type="presParOf" srcId="{259EA3E1-13F2-4742-9182-7739682C0F42}" destId="{DD43B587-D25A-4A23-9B2A-BAC6085C7E0C}" srcOrd="1" destOrd="0" presId="urn:microsoft.com/office/officeart/2005/8/layout/chevron2"/>
  </dgm:cxnLst>
  <dgm:bg/>
  <dgm:whole/>
  <dgm:extLst>
    <a:ext uri="http://schemas.microsoft.com/office/drawing/2008/diagram">
      <dsp:dataModelExt xmlns:dsp="http://schemas.microsoft.com/office/drawing/2008/diagram" xmlns="" relId="rId14"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CDB78663-3361-43EE-9992-DE175FD91A94}" type="doc">
      <dgm:prSet loTypeId="urn:microsoft.com/office/officeart/2005/8/layout/chevron2" loCatId="list" qsTypeId="urn:microsoft.com/office/officeart/2005/8/quickstyle/3d4" qsCatId="3D" csTypeId="urn:microsoft.com/office/officeart/2005/8/colors/accent2_1" csCatId="accent2" phldr="1"/>
      <dgm:spPr/>
      <dgm:t>
        <a:bodyPr/>
        <a:lstStyle/>
        <a:p>
          <a:endParaRPr lang="zh-CN" altLang="en-US"/>
        </a:p>
      </dgm:t>
    </dgm:pt>
    <dgm:pt modelId="{95288C3E-CFF2-43DB-A08C-E6EB59868CF7}">
      <dgm:prSet phldrT="[文本]" custT="1"/>
      <dgm:spPr>
        <a:solidFill>
          <a:schemeClr val="accent2">
            <a:lumMod val="60000"/>
            <a:lumOff val="40000"/>
          </a:schemeClr>
        </a:solidFill>
      </dgm:spPr>
      <dgm:t>
        <a:bodyPr/>
        <a:lstStyle/>
        <a:p>
          <a:endParaRPr lang="zh-CN" altLang="en-US" sz="2400" b="1" dirty="0"/>
        </a:p>
      </dgm:t>
    </dgm:pt>
    <dgm:pt modelId="{EDF7A964-D71B-4352-A003-656538D6BE21}" type="parTrans" cxnId="{309FCEDA-94F3-4257-AB1F-0A6761A0E5E6}">
      <dgm:prSet/>
      <dgm:spPr/>
      <dgm:t>
        <a:bodyPr/>
        <a:lstStyle/>
        <a:p>
          <a:endParaRPr lang="zh-CN" altLang="en-US"/>
        </a:p>
      </dgm:t>
    </dgm:pt>
    <dgm:pt modelId="{B87CED5C-AA7D-4B26-A82F-598F8A7C09A3}" type="sibTrans" cxnId="{309FCEDA-94F3-4257-AB1F-0A6761A0E5E6}">
      <dgm:prSet/>
      <dgm:spPr/>
      <dgm:t>
        <a:bodyPr/>
        <a:lstStyle/>
        <a:p>
          <a:endParaRPr lang="zh-CN" altLang="en-US"/>
        </a:p>
      </dgm:t>
    </dgm:pt>
    <dgm:pt modelId="{729DE3EF-E670-4C0C-B750-3193656B522C}">
      <dgm:prSet phldrT="[文本]" custT="1"/>
      <dgm:spPr/>
      <dgm:t>
        <a:bodyPr/>
        <a:lstStyle/>
        <a:p>
          <a:r>
            <a:rPr lang="zh-CN" altLang="en-US" sz="2000" b="1" i="0" u="none" dirty="0" smtClean="0">
              <a:solidFill>
                <a:srgbClr val="A50021"/>
              </a:solidFill>
              <a:effectLst/>
              <a:latin typeface="黑体" pitchFamily="49" charset="-122"/>
              <a:ea typeface="黑体" pitchFamily="49" charset="-122"/>
            </a:rPr>
            <a:t>处理个人与他人关系的关键</a:t>
          </a:r>
          <a:endParaRPr lang="zh-CN" altLang="en-US" sz="2000" i="0" u="none" dirty="0">
            <a:effectLst>
              <a:outerShdw blurRad="38100" dist="38100" dir="2700000" algn="tl">
                <a:srgbClr val="000000">
                  <a:alpha val="43137"/>
                </a:srgbClr>
              </a:outerShdw>
            </a:effectLst>
            <a:latin typeface="黑体" pitchFamily="49" charset="-122"/>
            <a:ea typeface="黑体" pitchFamily="49" charset="-122"/>
          </a:endParaRPr>
        </a:p>
      </dgm:t>
    </dgm:pt>
    <dgm:pt modelId="{17729A39-469B-4DEA-A98E-E76FB97CE5F0}" type="sibTrans" cxnId="{1ACB85EF-2123-4945-9800-ADD8423245CA}">
      <dgm:prSet/>
      <dgm:spPr/>
      <dgm:t>
        <a:bodyPr/>
        <a:lstStyle/>
        <a:p>
          <a:endParaRPr lang="zh-CN" altLang="en-US"/>
        </a:p>
      </dgm:t>
    </dgm:pt>
    <dgm:pt modelId="{90D1CF48-7D90-4710-AA49-AD14ABC82541}" type="parTrans" cxnId="{1ACB85EF-2123-4945-9800-ADD8423245CA}">
      <dgm:prSet/>
      <dgm:spPr/>
      <dgm:t>
        <a:bodyPr/>
        <a:lstStyle/>
        <a:p>
          <a:endParaRPr lang="zh-CN" altLang="en-US"/>
        </a:p>
      </dgm:t>
    </dgm:pt>
    <dgm:pt modelId="{708E06D4-7890-4F4E-BDFD-40755CCFF0BD}" type="pres">
      <dgm:prSet presAssocID="{CDB78663-3361-43EE-9992-DE175FD91A94}" presName="linearFlow" presStyleCnt="0">
        <dgm:presLayoutVars>
          <dgm:dir/>
          <dgm:animLvl val="lvl"/>
          <dgm:resizeHandles val="exact"/>
        </dgm:presLayoutVars>
      </dgm:prSet>
      <dgm:spPr/>
      <dgm:t>
        <a:bodyPr/>
        <a:lstStyle/>
        <a:p>
          <a:endParaRPr lang="zh-CN" altLang="en-US"/>
        </a:p>
      </dgm:t>
    </dgm:pt>
    <dgm:pt modelId="{259EA3E1-13F2-4742-9182-7739682C0F42}" type="pres">
      <dgm:prSet presAssocID="{95288C3E-CFF2-43DB-A08C-E6EB59868CF7}" presName="composite" presStyleCnt="0"/>
      <dgm:spPr/>
      <dgm:t>
        <a:bodyPr/>
        <a:lstStyle/>
        <a:p>
          <a:endParaRPr lang="zh-CN" altLang="en-US"/>
        </a:p>
      </dgm:t>
    </dgm:pt>
    <dgm:pt modelId="{DBD75CA0-1BBB-45D7-A9D0-7A4FDFDD203E}" type="pres">
      <dgm:prSet presAssocID="{95288C3E-CFF2-43DB-A08C-E6EB59868CF7}" presName="parentText" presStyleLbl="alignNode1" presStyleIdx="0" presStyleCnt="1" custLinFactNeighborX="-70817">
        <dgm:presLayoutVars>
          <dgm:chMax val="1"/>
          <dgm:bulletEnabled val="1"/>
        </dgm:presLayoutVars>
      </dgm:prSet>
      <dgm:spPr/>
      <dgm:t>
        <a:bodyPr/>
        <a:lstStyle/>
        <a:p>
          <a:endParaRPr lang="zh-CN" altLang="en-US"/>
        </a:p>
      </dgm:t>
    </dgm:pt>
    <dgm:pt modelId="{DD43B587-D25A-4A23-9B2A-BAC6085C7E0C}" type="pres">
      <dgm:prSet presAssocID="{95288C3E-CFF2-43DB-A08C-E6EB59868CF7}" presName="descendantText" presStyleLbl="alignAcc1" presStyleIdx="0" presStyleCnt="1" custLinFactY="-5396" custLinFactNeighborX="218" custLinFactNeighborY="-100000">
        <dgm:presLayoutVars>
          <dgm:bulletEnabled val="1"/>
        </dgm:presLayoutVars>
      </dgm:prSet>
      <dgm:spPr/>
      <dgm:t>
        <a:bodyPr/>
        <a:lstStyle/>
        <a:p>
          <a:endParaRPr lang="zh-CN" altLang="en-US"/>
        </a:p>
      </dgm:t>
    </dgm:pt>
  </dgm:ptLst>
  <dgm:cxnLst>
    <dgm:cxn modelId="{309FCEDA-94F3-4257-AB1F-0A6761A0E5E6}" srcId="{CDB78663-3361-43EE-9992-DE175FD91A94}" destId="{95288C3E-CFF2-43DB-A08C-E6EB59868CF7}" srcOrd="0" destOrd="0" parTransId="{EDF7A964-D71B-4352-A003-656538D6BE21}" sibTransId="{B87CED5C-AA7D-4B26-A82F-598F8A7C09A3}"/>
    <dgm:cxn modelId="{F5E6C8CD-93A1-422B-B3F6-5EE07D410DBB}" type="presOf" srcId="{CDB78663-3361-43EE-9992-DE175FD91A94}" destId="{708E06D4-7890-4F4E-BDFD-40755CCFF0BD}" srcOrd="0" destOrd="0" presId="urn:microsoft.com/office/officeart/2005/8/layout/chevron2"/>
    <dgm:cxn modelId="{673A6D31-D202-4920-AEDB-1B4D7578719B}" type="presOf" srcId="{95288C3E-CFF2-43DB-A08C-E6EB59868CF7}" destId="{DBD75CA0-1BBB-45D7-A9D0-7A4FDFDD203E}" srcOrd="0" destOrd="0" presId="urn:microsoft.com/office/officeart/2005/8/layout/chevron2"/>
    <dgm:cxn modelId="{079F0D30-8A0E-487A-9272-DCDAC600F6F0}" type="presOf" srcId="{729DE3EF-E670-4C0C-B750-3193656B522C}" destId="{DD43B587-D25A-4A23-9B2A-BAC6085C7E0C}" srcOrd="0" destOrd="0" presId="urn:microsoft.com/office/officeart/2005/8/layout/chevron2"/>
    <dgm:cxn modelId="{1ACB85EF-2123-4945-9800-ADD8423245CA}" srcId="{95288C3E-CFF2-43DB-A08C-E6EB59868CF7}" destId="{729DE3EF-E670-4C0C-B750-3193656B522C}" srcOrd="0" destOrd="0" parTransId="{90D1CF48-7D90-4710-AA49-AD14ABC82541}" sibTransId="{17729A39-469B-4DEA-A98E-E76FB97CE5F0}"/>
    <dgm:cxn modelId="{46C15FAA-9C40-4F57-A9FA-DA985C1FD7FF}" type="presParOf" srcId="{708E06D4-7890-4F4E-BDFD-40755CCFF0BD}" destId="{259EA3E1-13F2-4742-9182-7739682C0F42}" srcOrd="0" destOrd="0" presId="urn:microsoft.com/office/officeart/2005/8/layout/chevron2"/>
    <dgm:cxn modelId="{0E0F2CFB-8A68-4064-B0EC-5E5CCEE8965F}" type="presParOf" srcId="{259EA3E1-13F2-4742-9182-7739682C0F42}" destId="{DBD75CA0-1BBB-45D7-A9D0-7A4FDFDD203E}" srcOrd="0" destOrd="0" presId="urn:microsoft.com/office/officeart/2005/8/layout/chevron2"/>
    <dgm:cxn modelId="{0F47382A-1243-4EB3-AFBD-2C8EF14B73AB}" type="presParOf" srcId="{259EA3E1-13F2-4742-9182-7739682C0F42}" destId="{DD43B587-D25A-4A23-9B2A-BAC6085C7E0C}" srcOrd="1" destOrd="0" presId="urn:microsoft.com/office/officeart/2005/8/layout/chevron2"/>
  </dgm:cxnLst>
  <dgm:bg/>
  <dgm:whole/>
  <dgm:extLst>
    <a:ext uri="http://schemas.microsoft.com/office/drawing/2008/diagram">
      <dsp:dataModelExt xmlns:dsp="http://schemas.microsoft.com/office/drawing/2008/diagram" xmlns="" relId="rId21"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CDB78663-3361-43EE-9992-DE175FD91A94}" type="doc">
      <dgm:prSet loTypeId="urn:microsoft.com/office/officeart/2005/8/layout/chevron2" loCatId="list" qsTypeId="urn:microsoft.com/office/officeart/2005/8/quickstyle/3d4" qsCatId="3D" csTypeId="urn:microsoft.com/office/officeart/2005/8/colors/accent4_2" csCatId="accent4" phldr="1"/>
      <dgm:spPr/>
      <dgm:t>
        <a:bodyPr/>
        <a:lstStyle/>
        <a:p>
          <a:endParaRPr lang="zh-CN" altLang="en-US"/>
        </a:p>
      </dgm:t>
    </dgm:pt>
    <dgm:pt modelId="{95288C3E-CFF2-43DB-A08C-E6EB59868CF7}">
      <dgm:prSet phldrT="[文本]" custT="1"/>
      <dgm:spPr>
        <a:xfrm rot="5400000">
          <a:off x="-118581" y="119354"/>
          <a:ext cx="790541" cy="553379"/>
        </a:xfrm>
        <a:solidFill>
          <a:srgbClr val="8064A2">
            <a:hueOff val="0"/>
            <a:satOff val="0"/>
            <a:lumOff val="0"/>
            <a:alphaOff val="0"/>
          </a:srgbClr>
        </a:solidFill>
        <a:ln w="9525" cap="flat" cmpd="sng" algn="ctr">
          <a:solidFill>
            <a:srgbClr val="8064A2">
              <a:hueOff val="0"/>
              <a:satOff val="0"/>
              <a:lumOff val="0"/>
              <a:alphaOff val="0"/>
            </a:srgbClr>
          </a:solidFill>
          <a:prstDash val="solid"/>
        </a:ln>
        <a:effectLst/>
        <a:scene3d>
          <a:camera prst="orthographicFront"/>
          <a:lightRig rig="chilly" dir="t"/>
        </a:scene3d>
        <a:sp3d prstMaterial="translucentPowder">
          <a:bevelT w="127000" h="25400" prst="softRound"/>
        </a:sp3d>
      </dgm:spPr>
      <dgm:t>
        <a:bodyPr/>
        <a:lstStyle/>
        <a:p>
          <a:r>
            <a:rPr lang="en-US" altLang="zh-CN" sz="2400" b="1" dirty="0" smtClean="0">
              <a:solidFill>
                <a:sysClr val="window" lastClr="FFFFFF"/>
              </a:solidFill>
              <a:latin typeface="Calibri"/>
              <a:ea typeface="宋体"/>
              <a:cs typeface="+mn-cs"/>
            </a:rPr>
            <a:t> </a:t>
          </a:r>
          <a:endParaRPr lang="zh-CN" altLang="en-US" sz="2400" b="1" dirty="0">
            <a:solidFill>
              <a:sysClr val="window" lastClr="FFFFFF"/>
            </a:solidFill>
            <a:latin typeface="Calibri"/>
            <a:ea typeface="宋体"/>
            <a:cs typeface="+mn-cs"/>
          </a:endParaRPr>
        </a:p>
      </dgm:t>
    </dgm:pt>
    <dgm:pt modelId="{EDF7A964-D71B-4352-A003-656538D6BE21}" type="parTrans" cxnId="{309FCEDA-94F3-4257-AB1F-0A6761A0E5E6}">
      <dgm:prSet/>
      <dgm:spPr/>
      <dgm:t>
        <a:bodyPr/>
        <a:lstStyle/>
        <a:p>
          <a:endParaRPr lang="zh-CN" altLang="en-US"/>
        </a:p>
      </dgm:t>
    </dgm:pt>
    <dgm:pt modelId="{B87CED5C-AA7D-4B26-A82F-598F8A7C09A3}" type="sibTrans" cxnId="{309FCEDA-94F3-4257-AB1F-0A6761A0E5E6}">
      <dgm:prSet/>
      <dgm:spPr/>
      <dgm:t>
        <a:bodyPr/>
        <a:lstStyle/>
        <a:p>
          <a:endParaRPr lang="zh-CN" altLang="en-US"/>
        </a:p>
      </dgm:t>
    </dgm:pt>
    <dgm:pt modelId="{729DE3EF-E670-4C0C-B750-3193656B522C}">
      <dgm:prSet phldrT="[文本]" custT="1"/>
      <dgm:spPr>
        <a:xfrm rot="5400000">
          <a:off x="4170713" y="-3617334"/>
          <a:ext cx="514122" cy="7748791"/>
        </a:xfrm>
        <a:solidFill>
          <a:sysClr val="window" lastClr="FFFFFF">
            <a:alpha val="90000"/>
            <a:hueOff val="0"/>
            <a:satOff val="0"/>
            <a:lumOff val="0"/>
            <a:alphaOff val="0"/>
          </a:sysClr>
        </a:solidFill>
        <a:ln w="9525" cap="flat" cmpd="sng" algn="ctr">
          <a:solidFill>
            <a:srgbClr val="8064A2">
              <a:hueOff val="0"/>
              <a:satOff val="0"/>
              <a:lumOff val="0"/>
              <a:alphaOff val="0"/>
            </a:srgbClr>
          </a:solidFill>
          <a:prstDash val="solid"/>
        </a:ln>
        <a:effectLst/>
        <a:scene3d>
          <a:camera prst="orthographicFront"/>
          <a:lightRig rig="chilly" dir="t"/>
        </a:scene3d>
        <a:sp3d prstMaterial="dkEdge">
          <a:bevelT w="25400" h="6350" prst="softRound"/>
          <a:bevelB w="0" h="0" prst="convex"/>
        </a:sp3d>
      </dgm:spPr>
      <dgm:t>
        <a:bodyPr/>
        <a:lstStyle/>
        <a:p>
          <a:r>
            <a:rPr lang="zh-CN" altLang="en-US" sz="2800" b="1" dirty="0" smtClean="0">
              <a:solidFill>
                <a:srgbClr val="002060"/>
              </a:solidFill>
              <a:effectLst/>
              <a:latin typeface="黑体" pitchFamily="49" charset="-122"/>
              <a:ea typeface="黑体" pitchFamily="49" charset="-122"/>
              <a:cs typeface="+mn-cs"/>
            </a:rPr>
            <a:t>诚信是促进个人与他人和谐关系的</a:t>
          </a:r>
          <a:r>
            <a:rPr lang="zh-CN" altLang="en-US" sz="2800" b="1" u="sng" dirty="0" smtClean="0">
              <a:solidFill>
                <a:srgbClr val="FF0000"/>
              </a:solidFill>
              <a:effectLst/>
              <a:latin typeface="黑体" pitchFamily="49" charset="-122"/>
              <a:ea typeface="黑体" pitchFamily="49" charset="-122"/>
              <a:cs typeface="+mn-cs"/>
            </a:rPr>
            <a:t>保证</a:t>
          </a:r>
          <a:r>
            <a:rPr lang="zh-CN" altLang="en-US" sz="2800" b="1" dirty="0" smtClean="0">
              <a:solidFill>
                <a:srgbClr val="993366"/>
              </a:solidFill>
              <a:effectLst/>
              <a:latin typeface="黑体" pitchFamily="49" charset="-122"/>
              <a:ea typeface="黑体" pitchFamily="49" charset="-122"/>
              <a:cs typeface="+mn-cs"/>
            </a:rPr>
            <a:t>。</a:t>
          </a:r>
          <a:endParaRPr lang="zh-CN" altLang="en-US" sz="2800" b="0" dirty="0">
            <a:solidFill>
              <a:sysClr val="windowText" lastClr="000000">
                <a:hueOff val="0"/>
                <a:satOff val="0"/>
                <a:lumOff val="0"/>
                <a:alphaOff val="0"/>
              </a:sysClr>
            </a:solidFill>
            <a:effectLst>
              <a:outerShdw blurRad="38100" dist="38100" dir="2700000" algn="tl">
                <a:srgbClr val="000000">
                  <a:alpha val="43137"/>
                </a:srgbClr>
              </a:outerShdw>
            </a:effectLst>
            <a:latin typeface="黑体" pitchFamily="49" charset="-122"/>
            <a:ea typeface="黑体" pitchFamily="49" charset="-122"/>
            <a:cs typeface="+mn-cs"/>
          </a:endParaRPr>
        </a:p>
      </dgm:t>
    </dgm:pt>
    <dgm:pt modelId="{17729A39-469B-4DEA-A98E-E76FB97CE5F0}" type="sibTrans" cxnId="{1ACB85EF-2123-4945-9800-ADD8423245CA}">
      <dgm:prSet/>
      <dgm:spPr/>
      <dgm:t>
        <a:bodyPr/>
        <a:lstStyle/>
        <a:p>
          <a:endParaRPr lang="zh-CN" altLang="en-US"/>
        </a:p>
      </dgm:t>
    </dgm:pt>
    <dgm:pt modelId="{90D1CF48-7D90-4710-AA49-AD14ABC82541}" type="parTrans" cxnId="{1ACB85EF-2123-4945-9800-ADD8423245CA}">
      <dgm:prSet/>
      <dgm:spPr/>
      <dgm:t>
        <a:bodyPr/>
        <a:lstStyle/>
        <a:p>
          <a:endParaRPr lang="zh-CN" altLang="en-US"/>
        </a:p>
      </dgm:t>
    </dgm:pt>
    <dgm:pt modelId="{708E06D4-7890-4F4E-BDFD-40755CCFF0BD}" type="pres">
      <dgm:prSet presAssocID="{CDB78663-3361-43EE-9992-DE175FD91A94}" presName="linearFlow" presStyleCnt="0">
        <dgm:presLayoutVars>
          <dgm:dir/>
          <dgm:animLvl val="lvl"/>
          <dgm:resizeHandles val="exact"/>
        </dgm:presLayoutVars>
      </dgm:prSet>
      <dgm:spPr/>
      <dgm:t>
        <a:bodyPr/>
        <a:lstStyle/>
        <a:p>
          <a:endParaRPr lang="zh-CN" altLang="en-US"/>
        </a:p>
      </dgm:t>
    </dgm:pt>
    <dgm:pt modelId="{259EA3E1-13F2-4742-9182-7739682C0F42}" type="pres">
      <dgm:prSet presAssocID="{95288C3E-CFF2-43DB-A08C-E6EB59868CF7}" presName="composite" presStyleCnt="0"/>
      <dgm:spPr/>
      <dgm:t>
        <a:bodyPr/>
        <a:lstStyle/>
        <a:p>
          <a:endParaRPr lang="zh-CN" altLang="en-US"/>
        </a:p>
      </dgm:t>
    </dgm:pt>
    <dgm:pt modelId="{DBD75CA0-1BBB-45D7-A9D0-7A4FDFDD203E}" type="pres">
      <dgm:prSet presAssocID="{95288C3E-CFF2-43DB-A08C-E6EB59868CF7}" presName="parentText" presStyleLbl="alignNode1" presStyleIdx="0" presStyleCnt="1" custLinFactNeighborX="-70817">
        <dgm:presLayoutVars>
          <dgm:chMax val="1"/>
          <dgm:bulletEnabled val="1"/>
        </dgm:presLayoutVars>
      </dgm:prSet>
      <dgm:spPr>
        <a:prstGeom prst="chevron">
          <a:avLst/>
        </a:prstGeom>
      </dgm:spPr>
      <dgm:t>
        <a:bodyPr/>
        <a:lstStyle/>
        <a:p>
          <a:endParaRPr lang="zh-CN" altLang="en-US"/>
        </a:p>
      </dgm:t>
    </dgm:pt>
    <dgm:pt modelId="{DD43B587-D25A-4A23-9B2A-BAC6085C7E0C}" type="pres">
      <dgm:prSet presAssocID="{95288C3E-CFF2-43DB-A08C-E6EB59868CF7}" presName="descendantText" presStyleLbl="alignAcc1" presStyleIdx="0" presStyleCnt="1" custLinFactY="-5396" custLinFactNeighborX="218" custLinFactNeighborY="-100000">
        <dgm:presLayoutVars>
          <dgm:bulletEnabled val="1"/>
        </dgm:presLayoutVars>
      </dgm:prSet>
      <dgm:spPr>
        <a:prstGeom prst="round2SameRect">
          <a:avLst/>
        </a:prstGeom>
      </dgm:spPr>
      <dgm:t>
        <a:bodyPr/>
        <a:lstStyle/>
        <a:p>
          <a:endParaRPr lang="zh-CN" altLang="en-US"/>
        </a:p>
      </dgm:t>
    </dgm:pt>
  </dgm:ptLst>
  <dgm:cxnLst>
    <dgm:cxn modelId="{309FCEDA-94F3-4257-AB1F-0A6761A0E5E6}" srcId="{CDB78663-3361-43EE-9992-DE175FD91A94}" destId="{95288C3E-CFF2-43DB-A08C-E6EB59868CF7}" srcOrd="0" destOrd="0" parTransId="{EDF7A964-D71B-4352-A003-656538D6BE21}" sibTransId="{B87CED5C-AA7D-4B26-A82F-598F8A7C09A3}"/>
    <dgm:cxn modelId="{2EA598DE-2538-422F-8155-F7A7C2E37FA3}" type="presOf" srcId="{95288C3E-CFF2-43DB-A08C-E6EB59868CF7}" destId="{DBD75CA0-1BBB-45D7-A9D0-7A4FDFDD203E}" srcOrd="0" destOrd="0" presId="urn:microsoft.com/office/officeart/2005/8/layout/chevron2"/>
    <dgm:cxn modelId="{1B67108D-6815-4923-9B5F-BADA9198BCB1}" type="presOf" srcId="{729DE3EF-E670-4C0C-B750-3193656B522C}" destId="{DD43B587-D25A-4A23-9B2A-BAC6085C7E0C}" srcOrd="0" destOrd="0" presId="urn:microsoft.com/office/officeart/2005/8/layout/chevron2"/>
    <dgm:cxn modelId="{72257291-E899-42E4-8CBF-0E7BF38A789C}" type="presOf" srcId="{CDB78663-3361-43EE-9992-DE175FD91A94}" destId="{708E06D4-7890-4F4E-BDFD-40755CCFF0BD}" srcOrd="0" destOrd="0" presId="urn:microsoft.com/office/officeart/2005/8/layout/chevron2"/>
    <dgm:cxn modelId="{1ACB85EF-2123-4945-9800-ADD8423245CA}" srcId="{95288C3E-CFF2-43DB-A08C-E6EB59868CF7}" destId="{729DE3EF-E670-4C0C-B750-3193656B522C}" srcOrd="0" destOrd="0" parTransId="{90D1CF48-7D90-4710-AA49-AD14ABC82541}" sibTransId="{17729A39-469B-4DEA-A98E-E76FB97CE5F0}"/>
    <dgm:cxn modelId="{5E48937B-8C3E-4D43-888D-ECC1AB3F2E49}" type="presParOf" srcId="{708E06D4-7890-4F4E-BDFD-40755CCFF0BD}" destId="{259EA3E1-13F2-4742-9182-7739682C0F42}" srcOrd="0" destOrd="0" presId="urn:microsoft.com/office/officeart/2005/8/layout/chevron2"/>
    <dgm:cxn modelId="{3F32AE95-8659-4B74-BBE8-10D2F9A0FB7E}" type="presParOf" srcId="{259EA3E1-13F2-4742-9182-7739682C0F42}" destId="{DBD75CA0-1BBB-45D7-A9D0-7A4FDFDD203E}" srcOrd="0" destOrd="0" presId="urn:microsoft.com/office/officeart/2005/8/layout/chevron2"/>
    <dgm:cxn modelId="{6DAD8C51-9271-4A30-B91E-C7594B07F516}" type="presParOf" srcId="{259EA3E1-13F2-4742-9182-7739682C0F42}" destId="{DD43B587-D25A-4A23-9B2A-BAC6085C7E0C}" srcOrd="1" destOrd="0" presId="urn:microsoft.com/office/officeart/2005/8/layout/chevron2"/>
  </dgm:cxnLst>
  <dgm:bg/>
  <dgm:whole/>
  <dgm:extLst>
    <a:ext uri="http://schemas.microsoft.com/office/drawing/2008/diagram">
      <dsp:dataModelExt xmlns:dsp="http://schemas.microsoft.com/office/drawing/2008/diagram" xmlns="" relId="rId9"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CDB78663-3361-43EE-9992-DE175FD91A94}" type="doc">
      <dgm:prSet loTypeId="urn:microsoft.com/office/officeart/2005/8/layout/chevron2" loCatId="list" qsTypeId="urn:microsoft.com/office/officeart/2005/8/quickstyle/3d4" qsCatId="3D" csTypeId="urn:microsoft.com/office/officeart/2005/8/colors/accent1_1" csCatId="accent1" phldr="1"/>
      <dgm:spPr/>
      <dgm:t>
        <a:bodyPr/>
        <a:lstStyle/>
        <a:p>
          <a:endParaRPr lang="zh-CN" altLang="en-US"/>
        </a:p>
      </dgm:t>
    </dgm:pt>
    <dgm:pt modelId="{95288C3E-CFF2-43DB-A08C-E6EB59868CF7}">
      <dgm:prSet phldrT="[文本]" custT="1"/>
      <dgm:spPr/>
      <dgm:t>
        <a:bodyPr/>
        <a:lstStyle/>
        <a:p>
          <a:r>
            <a:rPr lang="en-US" altLang="zh-CN" sz="2400" b="1" dirty="0" smtClean="0"/>
            <a:t> </a:t>
          </a:r>
          <a:endParaRPr lang="zh-CN" altLang="en-US" sz="2400" b="1" dirty="0"/>
        </a:p>
      </dgm:t>
    </dgm:pt>
    <dgm:pt modelId="{EDF7A964-D71B-4352-A003-656538D6BE21}" type="parTrans" cxnId="{309FCEDA-94F3-4257-AB1F-0A6761A0E5E6}">
      <dgm:prSet/>
      <dgm:spPr/>
      <dgm:t>
        <a:bodyPr/>
        <a:lstStyle/>
        <a:p>
          <a:endParaRPr lang="zh-CN" altLang="en-US"/>
        </a:p>
      </dgm:t>
    </dgm:pt>
    <dgm:pt modelId="{B87CED5C-AA7D-4B26-A82F-598F8A7C09A3}" type="sibTrans" cxnId="{309FCEDA-94F3-4257-AB1F-0A6761A0E5E6}">
      <dgm:prSet/>
      <dgm:spPr/>
      <dgm:t>
        <a:bodyPr/>
        <a:lstStyle/>
        <a:p>
          <a:endParaRPr lang="zh-CN" altLang="en-US"/>
        </a:p>
      </dgm:t>
    </dgm:pt>
    <dgm:pt modelId="{729DE3EF-E670-4C0C-B750-3193656B522C}">
      <dgm:prSet phldrT="[文本]" custT="1"/>
      <dgm:spPr/>
      <dgm:t>
        <a:bodyPr/>
        <a:lstStyle/>
        <a:p>
          <a:r>
            <a:rPr lang="zh-CN" altLang="en-US" sz="2400" b="1" dirty="0" smtClean="0">
              <a:solidFill>
                <a:srgbClr val="002060"/>
              </a:solidFill>
              <a:effectLst/>
              <a:latin typeface="黑体" pitchFamily="49" charset="-122"/>
              <a:ea typeface="黑体" pitchFamily="49" charset="-122"/>
            </a:rPr>
            <a:t>宽容是促进个人与他人和谐</a:t>
          </a:r>
          <a:r>
            <a:rPr lang="zh-CN" altLang="en-US" sz="2400" b="1" i="0" u="sng" dirty="0" smtClean="0">
              <a:solidFill>
                <a:srgbClr val="FF0000"/>
              </a:solidFill>
              <a:effectLst/>
              <a:latin typeface="黑体" pitchFamily="49" charset="-122"/>
              <a:ea typeface="黑体" pitchFamily="49" charset="-122"/>
            </a:rPr>
            <a:t>必不可少的条件</a:t>
          </a:r>
          <a:r>
            <a:rPr lang="zh-CN" altLang="en-US" sz="2400" i="0" dirty="0" smtClean="0">
              <a:solidFill>
                <a:srgbClr val="993366"/>
              </a:solidFill>
              <a:effectLst/>
              <a:latin typeface="黑体" pitchFamily="49" charset="-122"/>
              <a:ea typeface="黑体" pitchFamily="49" charset="-122"/>
            </a:rPr>
            <a:t>。</a:t>
          </a:r>
          <a:endParaRPr lang="zh-CN" altLang="en-US" sz="2400" i="0" dirty="0">
            <a:effectLst>
              <a:outerShdw blurRad="38100" dist="38100" dir="2700000" algn="tl">
                <a:srgbClr val="000000">
                  <a:alpha val="43137"/>
                </a:srgbClr>
              </a:outerShdw>
            </a:effectLst>
            <a:latin typeface="黑体" pitchFamily="49" charset="-122"/>
            <a:ea typeface="黑体" pitchFamily="49" charset="-122"/>
          </a:endParaRPr>
        </a:p>
      </dgm:t>
    </dgm:pt>
    <dgm:pt modelId="{17729A39-469B-4DEA-A98E-E76FB97CE5F0}" type="sibTrans" cxnId="{1ACB85EF-2123-4945-9800-ADD8423245CA}">
      <dgm:prSet/>
      <dgm:spPr/>
      <dgm:t>
        <a:bodyPr/>
        <a:lstStyle/>
        <a:p>
          <a:endParaRPr lang="zh-CN" altLang="en-US"/>
        </a:p>
      </dgm:t>
    </dgm:pt>
    <dgm:pt modelId="{90D1CF48-7D90-4710-AA49-AD14ABC82541}" type="parTrans" cxnId="{1ACB85EF-2123-4945-9800-ADD8423245CA}">
      <dgm:prSet/>
      <dgm:spPr/>
      <dgm:t>
        <a:bodyPr/>
        <a:lstStyle/>
        <a:p>
          <a:endParaRPr lang="zh-CN" altLang="en-US"/>
        </a:p>
      </dgm:t>
    </dgm:pt>
    <dgm:pt modelId="{708E06D4-7890-4F4E-BDFD-40755CCFF0BD}" type="pres">
      <dgm:prSet presAssocID="{CDB78663-3361-43EE-9992-DE175FD91A94}" presName="linearFlow" presStyleCnt="0">
        <dgm:presLayoutVars>
          <dgm:dir/>
          <dgm:animLvl val="lvl"/>
          <dgm:resizeHandles val="exact"/>
        </dgm:presLayoutVars>
      </dgm:prSet>
      <dgm:spPr/>
      <dgm:t>
        <a:bodyPr/>
        <a:lstStyle/>
        <a:p>
          <a:endParaRPr lang="zh-CN" altLang="en-US"/>
        </a:p>
      </dgm:t>
    </dgm:pt>
    <dgm:pt modelId="{259EA3E1-13F2-4742-9182-7739682C0F42}" type="pres">
      <dgm:prSet presAssocID="{95288C3E-CFF2-43DB-A08C-E6EB59868CF7}" presName="composite" presStyleCnt="0"/>
      <dgm:spPr/>
      <dgm:t>
        <a:bodyPr/>
        <a:lstStyle/>
        <a:p>
          <a:endParaRPr lang="zh-CN" altLang="en-US"/>
        </a:p>
      </dgm:t>
    </dgm:pt>
    <dgm:pt modelId="{DBD75CA0-1BBB-45D7-A9D0-7A4FDFDD203E}" type="pres">
      <dgm:prSet presAssocID="{95288C3E-CFF2-43DB-A08C-E6EB59868CF7}" presName="parentText" presStyleLbl="alignNode1" presStyleIdx="0" presStyleCnt="1" custScaleX="182685" custScaleY="127441" custLinFactNeighborX="-70817">
        <dgm:presLayoutVars>
          <dgm:chMax val="1"/>
          <dgm:bulletEnabled val="1"/>
        </dgm:presLayoutVars>
      </dgm:prSet>
      <dgm:spPr/>
      <dgm:t>
        <a:bodyPr/>
        <a:lstStyle/>
        <a:p>
          <a:endParaRPr lang="zh-CN" altLang="en-US"/>
        </a:p>
      </dgm:t>
    </dgm:pt>
    <dgm:pt modelId="{DD43B587-D25A-4A23-9B2A-BAC6085C7E0C}" type="pres">
      <dgm:prSet presAssocID="{95288C3E-CFF2-43DB-A08C-E6EB59868CF7}" presName="descendantText" presStyleLbl="alignAcc1" presStyleIdx="0" presStyleCnt="1" custScaleY="218013" custLinFactY="-5396" custLinFactNeighborX="218" custLinFactNeighborY="-100000">
        <dgm:presLayoutVars>
          <dgm:bulletEnabled val="1"/>
        </dgm:presLayoutVars>
      </dgm:prSet>
      <dgm:spPr/>
      <dgm:t>
        <a:bodyPr/>
        <a:lstStyle/>
        <a:p>
          <a:endParaRPr lang="zh-CN" altLang="en-US"/>
        </a:p>
      </dgm:t>
    </dgm:pt>
  </dgm:ptLst>
  <dgm:cxnLst>
    <dgm:cxn modelId="{309FCEDA-94F3-4257-AB1F-0A6761A0E5E6}" srcId="{CDB78663-3361-43EE-9992-DE175FD91A94}" destId="{95288C3E-CFF2-43DB-A08C-E6EB59868CF7}" srcOrd="0" destOrd="0" parTransId="{EDF7A964-D71B-4352-A003-656538D6BE21}" sibTransId="{B87CED5C-AA7D-4B26-A82F-598F8A7C09A3}"/>
    <dgm:cxn modelId="{18E352AF-7A00-4A9F-AF7F-6E2CBB9A870B}" type="presOf" srcId="{CDB78663-3361-43EE-9992-DE175FD91A94}" destId="{708E06D4-7890-4F4E-BDFD-40755CCFF0BD}" srcOrd="0" destOrd="0" presId="urn:microsoft.com/office/officeart/2005/8/layout/chevron2"/>
    <dgm:cxn modelId="{BFC6EA9F-49F3-4318-8A56-CB7F92A9AD1E}" type="presOf" srcId="{729DE3EF-E670-4C0C-B750-3193656B522C}" destId="{DD43B587-D25A-4A23-9B2A-BAC6085C7E0C}" srcOrd="0" destOrd="0" presId="urn:microsoft.com/office/officeart/2005/8/layout/chevron2"/>
    <dgm:cxn modelId="{27137CD1-C1A0-452C-A434-5BCC38A685E1}" type="presOf" srcId="{95288C3E-CFF2-43DB-A08C-E6EB59868CF7}" destId="{DBD75CA0-1BBB-45D7-A9D0-7A4FDFDD203E}" srcOrd="0" destOrd="0" presId="urn:microsoft.com/office/officeart/2005/8/layout/chevron2"/>
    <dgm:cxn modelId="{1ACB85EF-2123-4945-9800-ADD8423245CA}" srcId="{95288C3E-CFF2-43DB-A08C-E6EB59868CF7}" destId="{729DE3EF-E670-4C0C-B750-3193656B522C}" srcOrd="0" destOrd="0" parTransId="{90D1CF48-7D90-4710-AA49-AD14ABC82541}" sibTransId="{17729A39-469B-4DEA-A98E-E76FB97CE5F0}"/>
    <dgm:cxn modelId="{D60559D0-176E-48FA-8135-D3687AA9F1CB}" type="presParOf" srcId="{708E06D4-7890-4F4E-BDFD-40755CCFF0BD}" destId="{259EA3E1-13F2-4742-9182-7739682C0F42}" srcOrd="0" destOrd="0" presId="urn:microsoft.com/office/officeart/2005/8/layout/chevron2"/>
    <dgm:cxn modelId="{EB612988-732C-4A0D-BF2F-72900AD19FB6}" type="presParOf" srcId="{259EA3E1-13F2-4742-9182-7739682C0F42}" destId="{DBD75CA0-1BBB-45D7-A9D0-7A4FDFDD203E}" srcOrd="0" destOrd="0" presId="urn:microsoft.com/office/officeart/2005/8/layout/chevron2"/>
    <dgm:cxn modelId="{685D9EAA-B993-43EF-9506-C44662450000}" type="presParOf" srcId="{259EA3E1-13F2-4742-9182-7739682C0F42}" destId="{DD43B587-D25A-4A23-9B2A-BAC6085C7E0C}" srcOrd="1" destOrd="0" presId="urn:microsoft.com/office/officeart/2005/8/layout/chevron2"/>
  </dgm:cxnLst>
  <dgm:bg/>
  <dgm:whole/>
  <dgm:extLst>
    <a:ext uri="http://schemas.microsoft.com/office/drawing/2008/diagram">
      <dsp:dataModelExt xmlns:dsp="http://schemas.microsoft.com/office/drawing/2008/diagram" xmlns="" relId="rId13"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CDB78663-3361-43EE-9992-DE175FD91A94}" type="doc">
      <dgm:prSet loTypeId="urn:microsoft.com/office/officeart/2005/8/layout/chevron2" loCatId="list" qsTypeId="urn:microsoft.com/office/officeart/2005/8/quickstyle/3d4" qsCatId="3D" csTypeId="urn:microsoft.com/office/officeart/2005/8/colors/accent1_1" csCatId="accent1" phldr="1"/>
      <dgm:spPr/>
      <dgm:t>
        <a:bodyPr/>
        <a:lstStyle/>
        <a:p>
          <a:endParaRPr lang="zh-CN" altLang="en-US"/>
        </a:p>
      </dgm:t>
    </dgm:pt>
    <dgm:pt modelId="{95288C3E-CFF2-43DB-A08C-E6EB59868CF7}">
      <dgm:prSet phldrT="[文本]" custT="1"/>
      <dgm:spPr>
        <a:solidFill>
          <a:schemeClr val="accent1">
            <a:lumMod val="40000"/>
            <a:lumOff val="60000"/>
          </a:schemeClr>
        </a:solidFill>
      </dgm:spPr>
      <dgm:t>
        <a:bodyPr/>
        <a:lstStyle/>
        <a:p>
          <a:r>
            <a:rPr lang="en-US" altLang="zh-CN" sz="2400" b="1" dirty="0" smtClean="0"/>
            <a:t> </a:t>
          </a:r>
          <a:endParaRPr lang="zh-CN" altLang="en-US" sz="2400" b="1" dirty="0"/>
        </a:p>
      </dgm:t>
    </dgm:pt>
    <dgm:pt modelId="{EDF7A964-D71B-4352-A003-656538D6BE21}" type="parTrans" cxnId="{309FCEDA-94F3-4257-AB1F-0A6761A0E5E6}">
      <dgm:prSet/>
      <dgm:spPr/>
      <dgm:t>
        <a:bodyPr/>
        <a:lstStyle/>
        <a:p>
          <a:endParaRPr lang="zh-CN" altLang="en-US"/>
        </a:p>
      </dgm:t>
    </dgm:pt>
    <dgm:pt modelId="{B87CED5C-AA7D-4B26-A82F-598F8A7C09A3}" type="sibTrans" cxnId="{309FCEDA-94F3-4257-AB1F-0A6761A0E5E6}">
      <dgm:prSet/>
      <dgm:spPr/>
      <dgm:t>
        <a:bodyPr/>
        <a:lstStyle/>
        <a:p>
          <a:endParaRPr lang="zh-CN" altLang="en-US"/>
        </a:p>
      </dgm:t>
    </dgm:pt>
    <dgm:pt modelId="{729DE3EF-E670-4C0C-B750-3193656B522C}">
      <dgm:prSet phldrT="[文本]" custT="1"/>
      <dgm:spPr/>
      <dgm:t>
        <a:bodyPr/>
        <a:lstStyle/>
        <a:p>
          <a:r>
            <a:rPr lang="zh-CN" altLang="en-US" sz="2400" b="1" dirty="0" smtClean="0">
              <a:solidFill>
                <a:srgbClr val="002060"/>
              </a:solidFill>
              <a:effectLst/>
              <a:latin typeface="黑体" pitchFamily="49" charset="-122"/>
              <a:ea typeface="黑体" pitchFamily="49" charset="-122"/>
            </a:rPr>
            <a:t>互助是促进个人与他人和谐的</a:t>
          </a:r>
          <a:r>
            <a:rPr lang="zh-CN" altLang="en-US" sz="2400" b="1" u="sng" dirty="0" smtClean="0">
              <a:solidFill>
                <a:srgbClr val="FF0000"/>
              </a:solidFill>
              <a:effectLst/>
              <a:latin typeface="黑体" pitchFamily="49" charset="-122"/>
              <a:ea typeface="黑体" pitchFamily="49" charset="-122"/>
            </a:rPr>
            <a:t>必然要求</a:t>
          </a:r>
          <a:r>
            <a:rPr lang="zh-CN" altLang="en-US" sz="2400" dirty="0" smtClean="0">
              <a:solidFill>
                <a:srgbClr val="FF0000"/>
              </a:solidFill>
              <a:effectLst>
                <a:outerShdw blurRad="38100" dist="38100" dir="2700000" algn="tl">
                  <a:srgbClr val="000000"/>
                </a:outerShdw>
              </a:effectLst>
              <a:latin typeface="黑体" pitchFamily="49" charset="-122"/>
              <a:ea typeface="黑体" pitchFamily="49" charset="-122"/>
            </a:rPr>
            <a:t>。</a:t>
          </a:r>
          <a:endParaRPr lang="zh-CN" altLang="en-US" sz="2400" dirty="0">
            <a:solidFill>
              <a:srgbClr val="FF0000"/>
            </a:solidFill>
            <a:effectLst>
              <a:outerShdw blurRad="38100" dist="38100" dir="2700000" algn="tl">
                <a:srgbClr val="000000">
                  <a:alpha val="43137"/>
                </a:srgbClr>
              </a:outerShdw>
            </a:effectLst>
            <a:latin typeface="黑体" pitchFamily="49" charset="-122"/>
            <a:ea typeface="黑体" pitchFamily="49" charset="-122"/>
          </a:endParaRPr>
        </a:p>
      </dgm:t>
    </dgm:pt>
    <dgm:pt modelId="{17729A39-469B-4DEA-A98E-E76FB97CE5F0}" type="sibTrans" cxnId="{1ACB85EF-2123-4945-9800-ADD8423245CA}">
      <dgm:prSet/>
      <dgm:spPr/>
      <dgm:t>
        <a:bodyPr/>
        <a:lstStyle/>
        <a:p>
          <a:endParaRPr lang="zh-CN" altLang="en-US"/>
        </a:p>
      </dgm:t>
    </dgm:pt>
    <dgm:pt modelId="{90D1CF48-7D90-4710-AA49-AD14ABC82541}" type="parTrans" cxnId="{1ACB85EF-2123-4945-9800-ADD8423245CA}">
      <dgm:prSet/>
      <dgm:spPr/>
      <dgm:t>
        <a:bodyPr/>
        <a:lstStyle/>
        <a:p>
          <a:endParaRPr lang="zh-CN" altLang="en-US"/>
        </a:p>
      </dgm:t>
    </dgm:pt>
    <dgm:pt modelId="{708E06D4-7890-4F4E-BDFD-40755CCFF0BD}" type="pres">
      <dgm:prSet presAssocID="{CDB78663-3361-43EE-9992-DE175FD91A94}" presName="linearFlow" presStyleCnt="0">
        <dgm:presLayoutVars>
          <dgm:dir/>
          <dgm:animLvl val="lvl"/>
          <dgm:resizeHandles val="exact"/>
        </dgm:presLayoutVars>
      </dgm:prSet>
      <dgm:spPr/>
      <dgm:t>
        <a:bodyPr/>
        <a:lstStyle/>
        <a:p>
          <a:endParaRPr lang="zh-CN" altLang="en-US"/>
        </a:p>
      </dgm:t>
    </dgm:pt>
    <dgm:pt modelId="{259EA3E1-13F2-4742-9182-7739682C0F42}" type="pres">
      <dgm:prSet presAssocID="{95288C3E-CFF2-43DB-A08C-E6EB59868CF7}" presName="composite" presStyleCnt="0"/>
      <dgm:spPr/>
      <dgm:t>
        <a:bodyPr/>
        <a:lstStyle/>
        <a:p>
          <a:endParaRPr lang="zh-CN" altLang="en-US"/>
        </a:p>
      </dgm:t>
    </dgm:pt>
    <dgm:pt modelId="{DBD75CA0-1BBB-45D7-A9D0-7A4FDFDD203E}" type="pres">
      <dgm:prSet presAssocID="{95288C3E-CFF2-43DB-A08C-E6EB59868CF7}" presName="parentText" presStyleLbl="alignNode1" presStyleIdx="0" presStyleCnt="1" custScaleX="182685" custScaleY="127441" custLinFactNeighborX="-29329" custLinFactNeighborY="-20010">
        <dgm:presLayoutVars>
          <dgm:chMax val="1"/>
          <dgm:bulletEnabled val="1"/>
        </dgm:presLayoutVars>
      </dgm:prSet>
      <dgm:spPr/>
      <dgm:t>
        <a:bodyPr/>
        <a:lstStyle/>
        <a:p>
          <a:endParaRPr lang="zh-CN" altLang="en-US"/>
        </a:p>
      </dgm:t>
    </dgm:pt>
    <dgm:pt modelId="{DD43B587-D25A-4A23-9B2A-BAC6085C7E0C}" type="pres">
      <dgm:prSet presAssocID="{95288C3E-CFF2-43DB-A08C-E6EB59868CF7}" presName="descendantText" presStyleLbl="alignAcc1" presStyleIdx="0" presStyleCnt="1" custScaleY="218013" custLinFactNeighborX="640" custLinFactNeighborY="79541">
        <dgm:presLayoutVars>
          <dgm:bulletEnabled val="1"/>
        </dgm:presLayoutVars>
      </dgm:prSet>
      <dgm:spPr/>
      <dgm:t>
        <a:bodyPr/>
        <a:lstStyle/>
        <a:p>
          <a:endParaRPr lang="zh-CN" altLang="en-US"/>
        </a:p>
      </dgm:t>
    </dgm:pt>
  </dgm:ptLst>
  <dgm:cxnLst>
    <dgm:cxn modelId="{EC558327-88ED-46A5-BBEE-4E7B8D3E8303}" type="presOf" srcId="{95288C3E-CFF2-43DB-A08C-E6EB59868CF7}" destId="{DBD75CA0-1BBB-45D7-A9D0-7A4FDFDD203E}" srcOrd="0" destOrd="0" presId="urn:microsoft.com/office/officeart/2005/8/layout/chevron2"/>
    <dgm:cxn modelId="{36F8CA54-6379-4051-A840-F3F4D2389975}" type="presOf" srcId="{CDB78663-3361-43EE-9992-DE175FD91A94}" destId="{708E06D4-7890-4F4E-BDFD-40755CCFF0BD}" srcOrd="0" destOrd="0" presId="urn:microsoft.com/office/officeart/2005/8/layout/chevron2"/>
    <dgm:cxn modelId="{1ACB85EF-2123-4945-9800-ADD8423245CA}" srcId="{95288C3E-CFF2-43DB-A08C-E6EB59868CF7}" destId="{729DE3EF-E670-4C0C-B750-3193656B522C}" srcOrd="0" destOrd="0" parTransId="{90D1CF48-7D90-4710-AA49-AD14ABC82541}" sibTransId="{17729A39-469B-4DEA-A98E-E76FB97CE5F0}"/>
    <dgm:cxn modelId="{6ED18D0A-8645-4817-B2A9-87727D66536C}" type="presOf" srcId="{729DE3EF-E670-4C0C-B750-3193656B522C}" destId="{DD43B587-D25A-4A23-9B2A-BAC6085C7E0C}" srcOrd="0" destOrd="0" presId="urn:microsoft.com/office/officeart/2005/8/layout/chevron2"/>
    <dgm:cxn modelId="{309FCEDA-94F3-4257-AB1F-0A6761A0E5E6}" srcId="{CDB78663-3361-43EE-9992-DE175FD91A94}" destId="{95288C3E-CFF2-43DB-A08C-E6EB59868CF7}" srcOrd="0" destOrd="0" parTransId="{EDF7A964-D71B-4352-A003-656538D6BE21}" sibTransId="{B87CED5C-AA7D-4B26-A82F-598F8A7C09A3}"/>
    <dgm:cxn modelId="{C66C9461-7597-4212-8095-C1F93BC3E949}" type="presParOf" srcId="{708E06D4-7890-4F4E-BDFD-40755CCFF0BD}" destId="{259EA3E1-13F2-4742-9182-7739682C0F42}" srcOrd="0" destOrd="0" presId="urn:microsoft.com/office/officeart/2005/8/layout/chevron2"/>
    <dgm:cxn modelId="{1846330D-08F6-4123-B7CC-842DAD86E6A1}" type="presParOf" srcId="{259EA3E1-13F2-4742-9182-7739682C0F42}" destId="{DBD75CA0-1BBB-45D7-A9D0-7A4FDFDD203E}" srcOrd="0" destOrd="0" presId="urn:microsoft.com/office/officeart/2005/8/layout/chevron2"/>
    <dgm:cxn modelId="{432507A3-BE0B-4A64-88C8-1CC99E3DA8DC}" type="presParOf" srcId="{259EA3E1-13F2-4742-9182-7739682C0F42}" destId="{DD43B587-D25A-4A23-9B2A-BAC6085C7E0C}" srcOrd="1" destOrd="0" presId="urn:microsoft.com/office/officeart/2005/8/layout/chevron2"/>
  </dgm:cxnLst>
  <dgm:bg/>
  <dgm:whole/>
  <dgm:extLst>
    <a:ext uri="http://schemas.microsoft.com/office/drawing/2008/diagram">
      <dsp:dataModelExt xmlns:dsp="http://schemas.microsoft.com/office/drawing/2008/diagram" xmlns=""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CDB78663-3361-43EE-9992-DE175FD91A94}" type="doc">
      <dgm:prSet loTypeId="urn:microsoft.com/office/officeart/2005/8/layout/chevron2" loCatId="list" qsTypeId="urn:microsoft.com/office/officeart/2005/8/quickstyle/3d4" qsCatId="3D" csTypeId="urn:microsoft.com/office/officeart/2005/8/colors/accent1_1" csCatId="accent1" phldr="1"/>
      <dgm:spPr/>
      <dgm:t>
        <a:bodyPr/>
        <a:lstStyle/>
        <a:p>
          <a:endParaRPr lang="zh-CN" altLang="en-US"/>
        </a:p>
      </dgm:t>
    </dgm:pt>
    <dgm:pt modelId="{95288C3E-CFF2-43DB-A08C-E6EB59868CF7}">
      <dgm:prSet phldrT="[文本]" custT="1"/>
      <dgm:spPr>
        <a:solidFill>
          <a:schemeClr val="tx2">
            <a:lumMod val="60000"/>
            <a:lumOff val="40000"/>
          </a:schemeClr>
        </a:solidFill>
      </dgm:spPr>
      <dgm:t>
        <a:bodyPr/>
        <a:lstStyle/>
        <a:p>
          <a:r>
            <a:rPr lang="en-US" altLang="zh-CN" sz="2400" b="1" dirty="0" smtClean="0"/>
            <a:t> </a:t>
          </a:r>
          <a:endParaRPr lang="zh-CN" altLang="en-US" sz="2400" b="1" dirty="0"/>
        </a:p>
      </dgm:t>
    </dgm:pt>
    <dgm:pt modelId="{EDF7A964-D71B-4352-A003-656538D6BE21}" type="parTrans" cxnId="{309FCEDA-94F3-4257-AB1F-0A6761A0E5E6}">
      <dgm:prSet/>
      <dgm:spPr/>
      <dgm:t>
        <a:bodyPr/>
        <a:lstStyle/>
        <a:p>
          <a:endParaRPr lang="zh-CN" altLang="en-US"/>
        </a:p>
      </dgm:t>
    </dgm:pt>
    <dgm:pt modelId="{B87CED5C-AA7D-4B26-A82F-598F8A7C09A3}" type="sibTrans" cxnId="{309FCEDA-94F3-4257-AB1F-0A6761A0E5E6}">
      <dgm:prSet/>
      <dgm:spPr/>
      <dgm:t>
        <a:bodyPr/>
        <a:lstStyle/>
        <a:p>
          <a:endParaRPr lang="zh-CN" altLang="en-US"/>
        </a:p>
      </dgm:t>
    </dgm:pt>
    <dgm:pt modelId="{729DE3EF-E670-4C0C-B750-3193656B522C}">
      <dgm:prSet phldrT="[文本]" custT="1"/>
      <dgm:spPr/>
      <dgm:t>
        <a:bodyPr/>
        <a:lstStyle/>
        <a:p>
          <a:r>
            <a:rPr lang="zh-CN" altLang="en-US" sz="2000" b="1" dirty="0" smtClean="0">
              <a:solidFill>
                <a:prstClr val="black"/>
              </a:solidFill>
              <a:latin typeface="黑体" pitchFamily="49" charset="-122"/>
              <a:ea typeface="黑体" pitchFamily="49" charset="-122"/>
            </a:rPr>
            <a:t>合作是指两个或两个以上的个人或群体为达到共同的目的而联合，为相互利益而协调一致的活动。</a:t>
          </a:r>
          <a:endParaRPr lang="zh-CN" altLang="en-US" sz="2000" dirty="0">
            <a:solidFill>
              <a:srgbClr val="002060"/>
            </a:solidFill>
            <a:latin typeface="黑体" pitchFamily="49" charset="-122"/>
            <a:ea typeface="黑体" pitchFamily="49" charset="-122"/>
          </a:endParaRPr>
        </a:p>
      </dgm:t>
    </dgm:pt>
    <dgm:pt modelId="{17729A39-469B-4DEA-A98E-E76FB97CE5F0}" type="sibTrans" cxnId="{1ACB85EF-2123-4945-9800-ADD8423245CA}">
      <dgm:prSet/>
      <dgm:spPr/>
      <dgm:t>
        <a:bodyPr/>
        <a:lstStyle/>
        <a:p>
          <a:endParaRPr lang="zh-CN" altLang="en-US"/>
        </a:p>
      </dgm:t>
    </dgm:pt>
    <dgm:pt modelId="{90D1CF48-7D90-4710-AA49-AD14ABC82541}" type="parTrans" cxnId="{1ACB85EF-2123-4945-9800-ADD8423245CA}">
      <dgm:prSet/>
      <dgm:spPr/>
      <dgm:t>
        <a:bodyPr/>
        <a:lstStyle/>
        <a:p>
          <a:endParaRPr lang="zh-CN" altLang="en-US"/>
        </a:p>
      </dgm:t>
    </dgm:pt>
    <dgm:pt modelId="{708E06D4-7890-4F4E-BDFD-40755CCFF0BD}" type="pres">
      <dgm:prSet presAssocID="{CDB78663-3361-43EE-9992-DE175FD91A94}" presName="linearFlow" presStyleCnt="0">
        <dgm:presLayoutVars>
          <dgm:dir/>
          <dgm:animLvl val="lvl"/>
          <dgm:resizeHandles val="exact"/>
        </dgm:presLayoutVars>
      </dgm:prSet>
      <dgm:spPr/>
      <dgm:t>
        <a:bodyPr/>
        <a:lstStyle/>
        <a:p>
          <a:endParaRPr lang="zh-CN" altLang="en-US"/>
        </a:p>
      </dgm:t>
    </dgm:pt>
    <dgm:pt modelId="{259EA3E1-13F2-4742-9182-7739682C0F42}" type="pres">
      <dgm:prSet presAssocID="{95288C3E-CFF2-43DB-A08C-E6EB59868CF7}" presName="composite" presStyleCnt="0"/>
      <dgm:spPr/>
      <dgm:t>
        <a:bodyPr/>
        <a:lstStyle/>
        <a:p>
          <a:endParaRPr lang="zh-CN" altLang="en-US"/>
        </a:p>
      </dgm:t>
    </dgm:pt>
    <dgm:pt modelId="{DBD75CA0-1BBB-45D7-A9D0-7A4FDFDD203E}" type="pres">
      <dgm:prSet presAssocID="{95288C3E-CFF2-43DB-A08C-E6EB59868CF7}" presName="parentText" presStyleLbl="alignNode1" presStyleIdx="0" presStyleCnt="1" custScaleX="182685" custScaleY="127441" custLinFactNeighborX="-70817">
        <dgm:presLayoutVars>
          <dgm:chMax val="1"/>
          <dgm:bulletEnabled val="1"/>
        </dgm:presLayoutVars>
      </dgm:prSet>
      <dgm:spPr/>
      <dgm:t>
        <a:bodyPr/>
        <a:lstStyle/>
        <a:p>
          <a:endParaRPr lang="zh-CN" altLang="en-US"/>
        </a:p>
      </dgm:t>
    </dgm:pt>
    <dgm:pt modelId="{DD43B587-D25A-4A23-9B2A-BAC6085C7E0C}" type="pres">
      <dgm:prSet presAssocID="{95288C3E-CFF2-43DB-A08C-E6EB59868CF7}" presName="descendantText" presStyleLbl="alignAcc1" presStyleIdx="0" presStyleCnt="1" custScaleY="218013" custLinFactY="-5396" custLinFactNeighborX="218" custLinFactNeighborY="-100000">
        <dgm:presLayoutVars>
          <dgm:bulletEnabled val="1"/>
        </dgm:presLayoutVars>
      </dgm:prSet>
      <dgm:spPr/>
      <dgm:t>
        <a:bodyPr/>
        <a:lstStyle/>
        <a:p>
          <a:endParaRPr lang="zh-CN" altLang="en-US"/>
        </a:p>
      </dgm:t>
    </dgm:pt>
  </dgm:ptLst>
  <dgm:cxnLst>
    <dgm:cxn modelId="{309FCEDA-94F3-4257-AB1F-0A6761A0E5E6}" srcId="{CDB78663-3361-43EE-9992-DE175FD91A94}" destId="{95288C3E-CFF2-43DB-A08C-E6EB59868CF7}" srcOrd="0" destOrd="0" parTransId="{EDF7A964-D71B-4352-A003-656538D6BE21}" sibTransId="{B87CED5C-AA7D-4B26-A82F-598F8A7C09A3}"/>
    <dgm:cxn modelId="{39E93EC5-79EC-4A14-9AEE-84314009976B}" type="presOf" srcId="{95288C3E-CFF2-43DB-A08C-E6EB59868CF7}" destId="{DBD75CA0-1BBB-45D7-A9D0-7A4FDFDD203E}" srcOrd="0" destOrd="0" presId="urn:microsoft.com/office/officeart/2005/8/layout/chevron2"/>
    <dgm:cxn modelId="{52EE9D01-52CE-4C84-BA6A-C49CB9952B2F}" type="presOf" srcId="{CDB78663-3361-43EE-9992-DE175FD91A94}" destId="{708E06D4-7890-4F4E-BDFD-40755CCFF0BD}" srcOrd="0" destOrd="0" presId="urn:microsoft.com/office/officeart/2005/8/layout/chevron2"/>
    <dgm:cxn modelId="{1ACB85EF-2123-4945-9800-ADD8423245CA}" srcId="{95288C3E-CFF2-43DB-A08C-E6EB59868CF7}" destId="{729DE3EF-E670-4C0C-B750-3193656B522C}" srcOrd="0" destOrd="0" parTransId="{90D1CF48-7D90-4710-AA49-AD14ABC82541}" sibTransId="{17729A39-469B-4DEA-A98E-E76FB97CE5F0}"/>
    <dgm:cxn modelId="{4BE057F1-E8EA-4479-8881-9E435716CFB8}" type="presOf" srcId="{729DE3EF-E670-4C0C-B750-3193656B522C}" destId="{DD43B587-D25A-4A23-9B2A-BAC6085C7E0C}" srcOrd="0" destOrd="0" presId="urn:microsoft.com/office/officeart/2005/8/layout/chevron2"/>
    <dgm:cxn modelId="{3D9B1BF4-68AD-4A1F-BBFD-5F2C0E7E0356}" type="presParOf" srcId="{708E06D4-7890-4F4E-BDFD-40755CCFF0BD}" destId="{259EA3E1-13F2-4742-9182-7739682C0F42}" srcOrd="0" destOrd="0" presId="urn:microsoft.com/office/officeart/2005/8/layout/chevron2"/>
    <dgm:cxn modelId="{A77D488E-CF50-4D53-88E9-356FADE8C936}" type="presParOf" srcId="{259EA3E1-13F2-4742-9182-7739682C0F42}" destId="{DBD75CA0-1BBB-45D7-A9D0-7A4FDFDD203E}" srcOrd="0" destOrd="0" presId="urn:microsoft.com/office/officeart/2005/8/layout/chevron2"/>
    <dgm:cxn modelId="{9E6D9638-1C09-4461-B97C-F46966F247B2}" type="presParOf" srcId="{259EA3E1-13F2-4742-9182-7739682C0F42}" destId="{DD43B587-D25A-4A23-9B2A-BAC6085C7E0C}" srcOrd="1" destOrd="0" presId="urn:microsoft.com/office/officeart/2005/8/layout/chevron2"/>
  </dgm:cxnLst>
  <dgm:bg/>
  <dgm:whole/>
  <dgm:extLst>
    <a:ext uri="http://schemas.microsoft.com/office/drawing/2008/diagram">
      <dsp:dataModelExt xmlns:dsp="http://schemas.microsoft.com/office/drawing/2008/diagram" xmlns="" relId="rId11" minVer="http://schemas.openxmlformats.org/drawingml/2006/diagram"/>
    </a:ext>
  </dgm:extLst>
</dgm:dataModel>
</file>

<file path=ppt/diagrams/drawing1.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DBD75CA0-1BBB-45D7-A9D0-7A4FDFDD203E}">
      <dsp:nvSpPr>
        <dsp:cNvPr id="0" name=""/>
        <dsp:cNvSpPr/>
      </dsp:nvSpPr>
      <dsp:spPr>
        <a:xfrm rot="5400000">
          <a:off x="291906" y="148084"/>
          <a:ext cx="771281" cy="593096"/>
        </a:xfrm>
        <a:prstGeom prst="chevron">
          <a:avLst/>
        </a:prstGeom>
        <a:solidFill>
          <a:schemeClr val="accent1">
            <a:lumMod val="60000"/>
            <a:lumOff val="40000"/>
          </a:schemeClr>
        </a:solidFill>
        <a:ln w="9525" cap="flat" cmpd="sng" algn="ctr">
          <a:solidFill>
            <a:schemeClr val="accent1">
              <a:shade val="80000"/>
              <a:hueOff val="0"/>
              <a:satOff val="0"/>
              <a:lumOff val="0"/>
              <a:alphaOff val="0"/>
            </a:schemeClr>
          </a:solidFill>
          <a:prstDash val="solid"/>
        </a:ln>
        <a:effectLst/>
        <a:scene3d>
          <a:camera prst="orthographicFront"/>
          <a:lightRig rig="chilly" dir="t"/>
        </a:scene3d>
        <a:sp3d prstMaterial="translucentPowder">
          <a:bevelT w="127000" h="25400" prst="softRound"/>
        </a:sp3d>
      </dsp:spPr>
      <dsp:style>
        <a:lnRef idx="1">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lvl="0" algn="ctr" defTabSz="1066800">
            <a:lnSpc>
              <a:spcPct val="90000"/>
            </a:lnSpc>
            <a:spcBef>
              <a:spcPct val="0"/>
            </a:spcBef>
            <a:spcAft>
              <a:spcPct val="35000"/>
            </a:spcAft>
          </a:pPr>
          <a:r>
            <a:rPr lang="en-US" altLang="zh-CN" sz="2400" b="1" kern="1200" dirty="0" smtClean="0"/>
            <a:t> </a:t>
          </a:r>
          <a:endParaRPr lang="zh-CN" altLang="en-US" sz="2400" b="1" kern="1200" dirty="0"/>
        </a:p>
      </dsp:txBody>
      <dsp:txXfrm rot="5400000">
        <a:off x="291906" y="148084"/>
        <a:ext cx="771281" cy="593096"/>
      </dsp:txXfrm>
    </dsp:sp>
    <dsp:sp modelId="{DD43B587-D25A-4A23-9B2A-BAC6085C7E0C}">
      <dsp:nvSpPr>
        <dsp:cNvPr id="0" name=""/>
        <dsp:cNvSpPr/>
      </dsp:nvSpPr>
      <dsp:spPr>
        <a:xfrm rot="5400000">
          <a:off x="2206642" y="-1241216"/>
          <a:ext cx="665842" cy="3071907"/>
        </a:xfrm>
        <a:prstGeom prst="round2SameRect">
          <a:avLst/>
        </a:prstGeom>
        <a:solidFill>
          <a:schemeClr val="accent1">
            <a:alpha val="90000"/>
            <a:tint val="40000"/>
            <a:hueOff val="0"/>
            <a:satOff val="0"/>
            <a:lumOff val="0"/>
            <a:alphaOff val="0"/>
          </a:schemeClr>
        </a:solidFill>
        <a:ln w="9525" cap="flat" cmpd="sng" algn="ctr">
          <a:solidFill>
            <a:schemeClr val="accent1">
              <a:hueOff val="0"/>
              <a:satOff val="0"/>
              <a:lumOff val="0"/>
              <a:alphaOff val="0"/>
            </a:schemeClr>
          </a:solidFill>
          <a:prstDash val="solid"/>
        </a:ln>
        <a:effectLst/>
        <a:scene3d>
          <a:camera prst="orthographicFront"/>
          <a:lightRig rig="chilly" dir="t"/>
        </a:scene3d>
        <a:sp3d prstMaterial="dkEdge">
          <a:bevelT w="25400" h="6350" prst="softRound"/>
          <a:bevelB w="0" h="0" prst="convex"/>
        </a:sp3d>
      </dsp:spPr>
      <dsp:style>
        <a:lnRef idx="1">
          <a:scrgbClr r="0" g="0" b="0"/>
        </a:lnRef>
        <a:fillRef idx="1">
          <a:scrgbClr r="0" g="0" b="0"/>
        </a:fillRef>
        <a:effectRef idx="0">
          <a:scrgbClr r="0" g="0" b="0"/>
        </a:effectRef>
        <a:fontRef idx="minor"/>
      </dsp:style>
      <dsp:txBody>
        <a:bodyPr spcFirstLastPara="0" vert="horz" wrap="square" lIns="142240" tIns="12700" rIns="12700" bIns="12700" numCol="1" spcCol="1270" anchor="ctr" anchorCtr="0">
          <a:noAutofit/>
        </a:bodyPr>
        <a:lstStyle/>
        <a:p>
          <a:pPr marL="228600" lvl="1" indent="-228600" algn="l" defTabSz="889000">
            <a:lnSpc>
              <a:spcPct val="90000"/>
            </a:lnSpc>
            <a:spcBef>
              <a:spcPct val="0"/>
            </a:spcBef>
            <a:spcAft>
              <a:spcPct val="15000"/>
            </a:spcAft>
            <a:buChar char="••"/>
          </a:pPr>
          <a:r>
            <a:rPr lang="zh-CN" altLang="en-US" sz="2000" b="1" i="0" u="none" kern="1200" dirty="0" smtClean="0">
              <a:solidFill>
                <a:srgbClr val="A50021"/>
              </a:solidFill>
              <a:effectLst/>
              <a:latin typeface="黑体" pitchFamily="49" charset="-122"/>
              <a:ea typeface="黑体" pitchFamily="49" charset="-122"/>
            </a:rPr>
            <a:t>协调好个人与他人关系的重要性</a:t>
          </a:r>
          <a:endParaRPr lang="zh-CN" altLang="en-US" sz="2000" i="0" u="none" kern="1200" dirty="0">
            <a:effectLst>
              <a:outerShdw blurRad="38100" dist="38100" dir="2700000" algn="tl">
                <a:srgbClr val="000000">
                  <a:alpha val="43137"/>
                </a:srgbClr>
              </a:outerShdw>
            </a:effectLst>
            <a:latin typeface="黑体" pitchFamily="49" charset="-122"/>
            <a:ea typeface="黑体" pitchFamily="49" charset="-122"/>
          </a:endParaRPr>
        </a:p>
      </dsp:txBody>
      <dsp:txXfrm rot="5400000">
        <a:off x="2206642" y="-1241216"/>
        <a:ext cx="665842" cy="3071907"/>
      </dsp:txXfrm>
    </dsp:sp>
  </dsp:spTree>
</dsp:drawing>
</file>

<file path=ppt/diagrams/drawing2.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DBD75CA0-1BBB-45D7-A9D0-7A4FDFDD203E}">
      <dsp:nvSpPr>
        <dsp:cNvPr id="0" name=""/>
        <dsp:cNvSpPr/>
      </dsp:nvSpPr>
      <dsp:spPr>
        <a:xfrm rot="5400000">
          <a:off x="-118813" y="118813"/>
          <a:ext cx="792089" cy="554462"/>
        </a:xfrm>
        <a:prstGeom prst="chevron">
          <a:avLst/>
        </a:prstGeom>
        <a:solidFill>
          <a:schemeClr val="accent2">
            <a:lumMod val="60000"/>
            <a:lumOff val="40000"/>
          </a:schemeClr>
        </a:solidFill>
        <a:ln w="9525" cap="flat" cmpd="sng" algn="ctr">
          <a:solidFill>
            <a:schemeClr val="accent2">
              <a:shade val="80000"/>
              <a:hueOff val="0"/>
              <a:satOff val="0"/>
              <a:lumOff val="0"/>
              <a:alphaOff val="0"/>
            </a:schemeClr>
          </a:solidFill>
          <a:prstDash val="solid"/>
        </a:ln>
        <a:effectLst/>
        <a:scene3d>
          <a:camera prst="orthographicFront"/>
          <a:lightRig rig="chilly" dir="t"/>
        </a:scene3d>
        <a:sp3d prstMaterial="translucentPowder">
          <a:bevelT w="127000" h="25400" prst="softRound"/>
        </a:sp3d>
      </dsp:spPr>
      <dsp:style>
        <a:lnRef idx="1">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lvl="0" algn="ctr" defTabSz="1066800">
            <a:lnSpc>
              <a:spcPct val="90000"/>
            </a:lnSpc>
            <a:spcBef>
              <a:spcPct val="0"/>
            </a:spcBef>
            <a:spcAft>
              <a:spcPct val="35000"/>
            </a:spcAft>
          </a:pPr>
          <a:endParaRPr lang="zh-CN" altLang="en-US" sz="2400" b="1" kern="1200" dirty="0"/>
        </a:p>
      </dsp:txBody>
      <dsp:txXfrm rot="5400000">
        <a:off x="-118813" y="118813"/>
        <a:ext cx="792089" cy="554462"/>
      </dsp:txXfrm>
    </dsp:sp>
    <dsp:sp modelId="{DD43B587-D25A-4A23-9B2A-BAC6085C7E0C}">
      <dsp:nvSpPr>
        <dsp:cNvPr id="0" name=""/>
        <dsp:cNvSpPr/>
      </dsp:nvSpPr>
      <dsp:spPr>
        <a:xfrm rot="5400000">
          <a:off x="2225410" y="-1670947"/>
          <a:ext cx="514857" cy="3856753"/>
        </a:xfrm>
        <a:prstGeom prst="round2SameRect">
          <a:avLst/>
        </a:prstGeom>
        <a:solidFill>
          <a:schemeClr val="accent2">
            <a:alpha val="90000"/>
            <a:tint val="40000"/>
            <a:hueOff val="0"/>
            <a:satOff val="0"/>
            <a:lumOff val="0"/>
            <a:alphaOff val="0"/>
          </a:schemeClr>
        </a:solidFill>
        <a:ln w="9525" cap="flat" cmpd="sng" algn="ctr">
          <a:solidFill>
            <a:schemeClr val="accent2">
              <a:hueOff val="0"/>
              <a:satOff val="0"/>
              <a:lumOff val="0"/>
              <a:alphaOff val="0"/>
            </a:schemeClr>
          </a:solidFill>
          <a:prstDash val="solid"/>
        </a:ln>
        <a:effectLst/>
        <a:scene3d>
          <a:camera prst="orthographicFront"/>
          <a:lightRig rig="chilly" dir="t"/>
        </a:scene3d>
        <a:sp3d prstMaterial="dkEdge">
          <a:bevelT w="25400" h="6350" prst="softRound"/>
          <a:bevelB w="0" h="0" prst="convex"/>
        </a:sp3d>
      </dsp:spPr>
      <dsp:style>
        <a:lnRef idx="1">
          <a:scrgbClr r="0" g="0" b="0"/>
        </a:lnRef>
        <a:fillRef idx="1">
          <a:scrgbClr r="0" g="0" b="0"/>
        </a:fillRef>
        <a:effectRef idx="0">
          <a:scrgbClr r="0" g="0" b="0"/>
        </a:effectRef>
        <a:fontRef idx="minor"/>
      </dsp:style>
      <dsp:txBody>
        <a:bodyPr spcFirstLastPara="0" vert="horz" wrap="square" lIns="142240" tIns="12700" rIns="12700" bIns="12700" numCol="1" spcCol="1270" anchor="ctr" anchorCtr="0">
          <a:noAutofit/>
        </a:bodyPr>
        <a:lstStyle/>
        <a:p>
          <a:pPr marL="228600" lvl="1" indent="-228600" algn="l" defTabSz="889000">
            <a:lnSpc>
              <a:spcPct val="90000"/>
            </a:lnSpc>
            <a:spcBef>
              <a:spcPct val="0"/>
            </a:spcBef>
            <a:spcAft>
              <a:spcPct val="15000"/>
            </a:spcAft>
            <a:buChar char="••"/>
          </a:pPr>
          <a:r>
            <a:rPr lang="zh-CN" altLang="en-US" sz="2000" b="1" i="0" u="none" kern="1200" dirty="0" smtClean="0">
              <a:solidFill>
                <a:srgbClr val="A50021"/>
              </a:solidFill>
              <a:effectLst/>
              <a:latin typeface="黑体" pitchFamily="49" charset="-122"/>
              <a:ea typeface="黑体" pitchFamily="49" charset="-122"/>
            </a:rPr>
            <a:t>处理个人与他人关系的关键</a:t>
          </a:r>
          <a:endParaRPr lang="zh-CN" altLang="en-US" sz="2000" i="0" u="none" kern="1200" dirty="0">
            <a:effectLst>
              <a:outerShdw blurRad="38100" dist="38100" dir="2700000" algn="tl">
                <a:srgbClr val="000000">
                  <a:alpha val="43137"/>
                </a:srgbClr>
              </a:outerShdw>
            </a:effectLst>
            <a:latin typeface="黑体" pitchFamily="49" charset="-122"/>
            <a:ea typeface="黑体" pitchFamily="49" charset="-122"/>
          </a:endParaRPr>
        </a:p>
      </dsp:txBody>
      <dsp:txXfrm rot="5400000">
        <a:off x="2225410" y="-1670947"/>
        <a:ext cx="514857" cy="3856753"/>
      </dsp:txXfrm>
    </dsp:sp>
  </dsp:spTree>
</dsp:drawing>
</file>

<file path=ppt/diagrams/drawing3.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DBD75CA0-1BBB-45D7-A9D0-7A4FDFDD203E}">
      <dsp:nvSpPr>
        <dsp:cNvPr id="0" name=""/>
        <dsp:cNvSpPr/>
      </dsp:nvSpPr>
      <dsp:spPr>
        <a:xfrm rot="5400000">
          <a:off x="-118581" y="119354"/>
          <a:ext cx="790542" cy="553379"/>
        </a:xfrm>
        <a:prstGeom prst="chevron">
          <a:avLst/>
        </a:prstGeom>
        <a:solidFill>
          <a:srgbClr val="8064A2">
            <a:hueOff val="0"/>
            <a:satOff val="0"/>
            <a:lumOff val="0"/>
            <a:alphaOff val="0"/>
          </a:srgbClr>
        </a:solidFill>
        <a:ln w="9525" cap="flat" cmpd="sng" algn="ctr">
          <a:solidFill>
            <a:srgbClr val="8064A2">
              <a:hueOff val="0"/>
              <a:satOff val="0"/>
              <a:lumOff val="0"/>
              <a:alphaOff val="0"/>
            </a:srgbClr>
          </a:solidFill>
          <a:prstDash val="solid"/>
        </a:ln>
        <a:effectLst/>
        <a:scene3d>
          <a:camera prst="orthographicFront"/>
          <a:lightRig rig="chilly" dir="t"/>
        </a:scene3d>
        <a:sp3d prstMaterial="translucentPowder">
          <a:bevelT w="127000" h="25400" prst="softRound"/>
        </a:sp3d>
      </dsp:spPr>
      <dsp:style>
        <a:lnRef idx="1">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lvl="0" algn="ctr" defTabSz="1066800">
            <a:lnSpc>
              <a:spcPct val="90000"/>
            </a:lnSpc>
            <a:spcBef>
              <a:spcPct val="0"/>
            </a:spcBef>
            <a:spcAft>
              <a:spcPct val="35000"/>
            </a:spcAft>
          </a:pPr>
          <a:r>
            <a:rPr lang="en-US" altLang="zh-CN" sz="2400" b="1" kern="1200" dirty="0" smtClean="0">
              <a:solidFill>
                <a:sysClr val="window" lastClr="FFFFFF"/>
              </a:solidFill>
              <a:latin typeface="Calibri"/>
              <a:ea typeface="宋体"/>
              <a:cs typeface="+mn-cs"/>
            </a:rPr>
            <a:t> </a:t>
          </a:r>
          <a:endParaRPr lang="zh-CN" altLang="en-US" sz="2400" b="1" kern="1200" dirty="0">
            <a:solidFill>
              <a:sysClr val="window" lastClr="FFFFFF"/>
            </a:solidFill>
            <a:latin typeface="Calibri"/>
            <a:ea typeface="宋体"/>
            <a:cs typeface="+mn-cs"/>
          </a:endParaRPr>
        </a:p>
      </dsp:txBody>
      <dsp:txXfrm rot="5400000">
        <a:off x="-118581" y="119354"/>
        <a:ext cx="790542" cy="553379"/>
      </dsp:txXfrm>
    </dsp:sp>
    <dsp:sp modelId="{DD43B587-D25A-4A23-9B2A-BAC6085C7E0C}">
      <dsp:nvSpPr>
        <dsp:cNvPr id="0" name=""/>
        <dsp:cNvSpPr/>
      </dsp:nvSpPr>
      <dsp:spPr>
        <a:xfrm rot="5400000">
          <a:off x="4170713" y="-3617334"/>
          <a:ext cx="514122" cy="7748791"/>
        </a:xfrm>
        <a:prstGeom prst="round2SameRect">
          <a:avLst/>
        </a:prstGeom>
        <a:solidFill>
          <a:sysClr val="window" lastClr="FFFFFF">
            <a:alpha val="90000"/>
            <a:hueOff val="0"/>
            <a:satOff val="0"/>
            <a:lumOff val="0"/>
            <a:alphaOff val="0"/>
          </a:sysClr>
        </a:solidFill>
        <a:ln w="9525" cap="flat" cmpd="sng" algn="ctr">
          <a:solidFill>
            <a:srgbClr val="8064A2">
              <a:hueOff val="0"/>
              <a:satOff val="0"/>
              <a:lumOff val="0"/>
              <a:alphaOff val="0"/>
            </a:srgbClr>
          </a:solidFill>
          <a:prstDash val="solid"/>
        </a:ln>
        <a:effectLst/>
        <a:scene3d>
          <a:camera prst="orthographicFront"/>
          <a:lightRig rig="chilly" dir="t"/>
        </a:scene3d>
        <a:sp3d prstMaterial="dkEdge">
          <a:bevelT w="25400" h="6350" prst="softRound"/>
          <a:bevelB w="0" h="0" prst="convex"/>
        </a:sp3d>
      </dsp:spPr>
      <dsp:style>
        <a:lnRef idx="1">
          <a:scrgbClr r="0" g="0" b="0"/>
        </a:lnRef>
        <a:fillRef idx="1">
          <a:scrgbClr r="0" g="0" b="0"/>
        </a:fillRef>
        <a:effectRef idx="0">
          <a:scrgbClr r="0" g="0" b="0"/>
        </a:effectRef>
        <a:fontRef idx="minor"/>
      </dsp:style>
      <dsp:txBody>
        <a:bodyPr spcFirstLastPara="0" vert="horz" wrap="square" lIns="199136" tIns="17780" rIns="17780" bIns="17780" numCol="1" spcCol="1270" anchor="ctr" anchorCtr="0">
          <a:noAutofit/>
        </a:bodyPr>
        <a:lstStyle/>
        <a:p>
          <a:pPr marL="285750" lvl="1" indent="-285750" algn="l" defTabSz="1244600">
            <a:lnSpc>
              <a:spcPct val="90000"/>
            </a:lnSpc>
            <a:spcBef>
              <a:spcPct val="0"/>
            </a:spcBef>
            <a:spcAft>
              <a:spcPct val="15000"/>
            </a:spcAft>
            <a:buChar char="••"/>
          </a:pPr>
          <a:r>
            <a:rPr lang="zh-CN" altLang="en-US" sz="2800" b="1" kern="1200" dirty="0" smtClean="0">
              <a:solidFill>
                <a:srgbClr val="002060"/>
              </a:solidFill>
              <a:effectLst/>
              <a:latin typeface="黑体" pitchFamily="49" charset="-122"/>
              <a:ea typeface="黑体" pitchFamily="49" charset="-122"/>
              <a:cs typeface="+mn-cs"/>
            </a:rPr>
            <a:t>诚信是促进个人与他人和谐关系的</a:t>
          </a:r>
          <a:r>
            <a:rPr lang="zh-CN" altLang="en-US" sz="2800" b="1" u="sng" kern="1200" dirty="0" smtClean="0">
              <a:solidFill>
                <a:srgbClr val="FF0000"/>
              </a:solidFill>
              <a:effectLst/>
              <a:latin typeface="黑体" pitchFamily="49" charset="-122"/>
              <a:ea typeface="黑体" pitchFamily="49" charset="-122"/>
              <a:cs typeface="+mn-cs"/>
            </a:rPr>
            <a:t>保证</a:t>
          </a:r>
          <a:r>
            <a:rPr lang="zh-CN" altLang="en-US" sz="2800" b="1" kern="1200" dirty="0" smtClean="0">
              <a:solidFill>
                <a:srgbClr val="993366"/>
              </a:solidFill>
              <a:effectLst/>
              <a:latin typeface="黑体" pitchFamily="49" charset="-122"/>
              <a:ea typeface="黑体" pitchFamily="49" charset="-122"/>
              <a:cs typeface="+mn-cs"/>
            </a:rPr>
            <a:t>。</a:t>
          </a:r>
          <a:endParaRPr lang="zh-CN" altLang="en-US" sz="2800" b="0" kern="1200" dirty="0">
            <a:solidFill>
              <a:sysClr val="windowText" lastClr="000000">
                <a:hueOff val="0"/>
                <a:satOff val="0"/>
                <a:lumOff val="0"/>
                <a:alphaOff val="0"/>
              </a:sysClr>
            </a:solidFill>
            <a:effectLst>
              <a:outerShdw blurRad="38100" dist="38100" dir="2700000" algn="tl">
                <a:srgbClr val="000000">
                  <a:alpha val="43137"/>
                </a:srgbClr>
              </a:outerShdw>
            </a:effectLst>
            <a:latin typeface="黑体" pitchFamily="49" charset="-122"/>
            <a:ea typeface="黑体" pitchFamily="49" charset="-122"/>
            <a:cs typeface="+mn-cs"/>
          </a:endParaRPr>
        </a:p>
      </dsp:txBody>
      <dsp:txXfrm rot="5400000">
        <a:off x="4170713" y="-3617334"/>
        <a:ext cx="514122" cy="7748791"/>
      </dsp:txXfrm>
    </dsp:sp>
  </dsp:spTree>
</dsp:drawing>
</file>

<file path=ppt/diagrams/drawing4.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DBD75CA0-1BBB-45D7-A9D0-7A4FDFDD203E}">
      <dsp:nvSpPr>
        <dsp:cNvPr id="0" name=""/>
        <dsp:cNvSpPr/>
      </dsp:nvSpPr>
      <dsp:spPr>
        <a:xfrm rot="5400000">
          <a:off x="-89092" y="148084"/>
          <a:ext cx="771281" cy="593096"/>
        </a:xfrm>
        <a:prstGeom prst="chevron">
          <a:avLst/>
        </a:prstGeom>
        <a:solidFill>
          <a:schemeClr val="lt1">
            <a:hueOff val="0"/>
            <a:satOff val="0"/>
            <a:lumOff val="0"/>
            <a:alphaOff val="0"/>
          </a:schemeClr>
        </a:solidFill>
        <a:ln w="9525" cap="flat" cmpd="sng" algn="ctr">
          <a:solidFill>
            <a:schemeClr val="accent1">
              <a:shade val="80000"/>
              <a:hueOff val="0"/>
              <a:satOff val="0"/>
              <a:lumOff val="0"/>
              <a:alphaOff val="0"/>
            </a:schemeClr>
          </a:solidFill>
          <a:prstDash val="solid"/>
        </a:ln>
        <a:effectLst/>
        <a:scene3d>
          <a:camera prst="orthographicFront"/>
          <a:lightRig rig="chilly" dir="t"/>
        </a:scene3d>
        <a:sp3d prstMaterial="translucentPowder">
          <a:bevelT w="127000" h="25400" prst="softRound"/>
        </a:sp3d>
      </dsp:spPr>
      <dsp:style>
        <a:lnRef idx="1">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lvl="0" algn="ctr" defTabSz="1066800">
            <a:lnSpc>
              <a:spcPct val="90000"/>
            </a:lnSpc>
            <a:spcBef>
              <a:spcPct val="0"/>
            </a:spcBef>
            <a:spcAft>
              <a:spcPct val="35000"/>
            </a:spcAft>
          </a:pPr>
          <a:r>
            <a:rPr lang="en-US" altLang="zh-CN" sz="2400" b="1" kern="1200" dirty="0" smtClean="0"/>
            <a:t> </a:t>
          </a:r>
          <a:endParaRPr lang="zh-CN" altLang="en-US" sz="2400" b="1" kern="1200" dirty="0"/>
        </a:p>
      </dsp:txBody>
      <dsp:txXfrm rot="5400000">
        <a:off x="-89092" y="148084"/>
        <a:ext cx="771281" cy="593096"/>
      </dsp:txXfrm>
    </dsp:sp>
    <dsp:sp modelId="{DD43B587-D25A-4A23-9B2A-BAC6085C7E0C}">
      <dsp:nvSpPr>
        <dsp:cNvPr id="0" name=""/>
        <dsp:cNvSpPr/>
      </dsp:nvSpPr>
      <dsp:spPr>
        <a:xfrm rot="5400000">
          <a:off x="3590514" y="-3059979"/>
          <a:ext cx="665842" cy="6709432"/>
        </a:xfrm>
        <a:prstGeom prst="round2SameRect">
          <a:avLst/>
        </a:prstGeom>
        <a:solidFill>
          <a:schemeClr val="accent1">
            <a:alpha val="90000"/>
            <a:tint val="40000"/>
            <a:hueOff val="0"/>
            <a:satOff val="0"/>
            <a:lumOff val="0"/>
            <a:alphaOff val="0"/>
          </a:schemeClr>
        </a:solidFill>
        <a:ln w="9525" cap="flat" cmpd="sng" algn="ctr">
          <a:solidFill>
            <a:schemeClr val="accent1">
              <a:hueOff val="0"/>
              <a:satOff val="0"/>
              <a:lumOff val="0"/>
              <a:alphaOff val="0"/>
            </a:schemeClr>
          </a:solidFill>
          <a:prstDash val="solid"/>
        </a:ln>
        <a:effectLst/>
        <a:scene3d>
          <a:camera prst="orthographicFront"/>
          <a:lightRig rig="chilly" dir="t"/>
        </a:scene3d>
        <a:sp3d prstMaterial="dkEdge">
          <a:bevelT w="25400" h="6350" prst="softRound"/>
          <a:bevelB w="0" h="0" prst="convex"/>
        </a:sp3d>
      </dsp:spPr>
      <dsp:style>
        <a:lnRef idx="1">
          <a:scrgbClr r="0" g="0" b="0"/>
        </a:lnRef>
        <a:fillRef idx="1">
          <a:scrgbClr r="0" g="0" b="0"/>
        </a:fillRef>
        <a:effectRef idx="0">
          <a:scrgbClr r="0" g="0" b="0"/>
        </a:effectRef>
        <a:fontRef idx="minor"/>
      </dsp:style>
      <dsp:txBody>
        <a:bodyPr spcFirstLastPara="0" vert="horz" wrap="square" lIns="170688" tIns="15240" rIns="15240" bIns="15240" numCol="1" spcCol="1270" anchor="ctr" anchorCtr="0">
          <a:noAutofit/>
        </a:bodyPr>
        <a:lstStyle/>
        <a:p>
          <a:pPr marL="228600" lvl="1" indent="-228600" algn="l" defTabSz="1066800">
            <a:lnSpc>
              <a:spcPct val="90000"/>
            </a:lnSpc>
            <a:spcBef>
              <a:spcPct val="0"/>
            </a:spcBef>
            <a:spcAft>
              <a:spcPct val="15000"/>
            </a:spcAft>
            <a:buChar char="••"/>
          </a:pPr>
          <a:r>
            <a:rPr lang="zh-CN" altLang="en-US" sz="2400" b="1" kern="1200" dirty="0" smtClean="0">
              <a:solidFill>
                <a:srgbClr val="002060"/>
              </a:solidFill>
              <a:effectLst/>
              <a:latin typeface="黑体" pitchFamily="49" charset="-122"/>
              <a:ea typeface="黑体" pitchFamily="49" charset="-122"/>
            </a:rPr>
            <a:t>宽容是促进个人与他人和谐</a:t>
          </a:r>
          <a:r>
            <a:rPr lang="zh-CN" altLang="en-US" sz="2400" b="1" i="0" u="sng" kern="1200" dirty="0" smtClean="0">
              <a:solidFill>
                <a:srgbClr val="FF0000"/>
              </a:solidFill>
              <a:effectLst/>
              <a:latin typeface="黑体" pitchFamily="49" charset="-122"/>
              <a:ea typeface="黑体" pitchFamily="49" charset="-122"/>
            </a:rPr>
            <a:t>必不可少的条件</a:t>
          </a:r>
          <a:r>
            <a:rPr lang="zh-CN" altLang="en-US" sz="2400" i="0" kern="1200" dirty="0" smtClean="0">
              <a:solidFill>
                <a:srgbClr val="993366"/>
              </a:solidFill>
              <a:effectLst/>
              <a:latin typeface="黑体" pitchFamily="49" charset="-122"/>
              <a:ea typeface="黑体" pitchFamily="49" charset="-122"/>
            </a:rPr>
            <a:t>。</a:t>
          </a:r>
          <a:endParaRPr lang="zh-CN" altLang="en-US" sz="2400" i="0" kern="1200" dirty="0">
            <a:effectLst>
              <a:outerShdw blurRad="38100" dist="38100" dir="2700000" algn="tl">
                <a:srgbClr val="000000">
                  <a:alpha val="43137"/>
                </a:srgbClr>
              </a:outerShdw>
            </a:effectLst>
            <a:latin typeface="黑体" pitchFamily="49" charset="-122"/>
            <a:ea typeface="黑体" pitchFamily="49" charset="-122"/>
          </a:endParaRPr>
        </a:p>
      </dsp:txBody>
      <dsp:txXfrm rot="5400000">
        <a:off x="3590514" y="-3059979"/>
        <a:ext cx="665842" cy="6709432"/>
      </dsp:txXfrm>
    </dsp:sp>
  </dsp:spTree>
</dsp:drawing>
</file>

<file path=ppt/diagrams/drawing5.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DBD75CA0-1BBB-45D7-A9D0-7A4FDFDD203E}">
      <dsp:nvSpPr>
        <dsp:cNvPr id="0" name=""/>
        <dsp:cNvSpPr/>
      </dsp:nvSpPr>
      <dsp:spPr>
        <a:xfrm rot="5400000">
          <a:off x="-78709" y="78709"/>
          <a:ext cx="605289" cy="447869"/>
        </a:xfrm>
        <a:prstGeom prst="chevron">
          <a:avLst/>
        </a:prstGeom>
        <a:solidFill>
          <a:schemeClr val="accent1">
            <a:lumMod val="40000"/>
            <a:lumOff val="60000"/>
          </a:schemeClr>
        </a:solidFill>
        <a:ln w="9525" cap="flat" cmpd="sng" algn="ctr">
          <a:solidFill>
            <a:schemeClr val="accent1">
              <a:shade val="80000"/>
              <a:hueOff val="0"/>
              <a:satOff val="0"/>
              <a:lumOff val="0"/>
              <a:alphaOff val="0"/>
            </a:schemeClr>
          </a:solidFill>
          <a:prstDash val="solid"/>
        </a:ln>
        <a:effectLst/>
        <a:scene3d>
          <a:camera prst="orthographicFront"/>
          <a:lightRig rig="chilly" dir="t"/>
        </a:scene3d>
        <a:sp3d prstMaterial="translucentPowder">
          <a:bevelT w="127000" h="25400" prst="softRound"/>
        </a:sp3d>
      </dsp:spPr>
      <dsp:style>
        <a:lnRef idx="1">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lvl="0" algn="ctr" defTabSz="1066800">
            <a:lnSpc>
              <a:spcPct val="90000"/>
            </a:lnSpc>
            <a:spcBef>
              <a:spcPct val="0"/>
            </a:spcBef>
            <a:spcAft>
              <a:spcPct val="35000"/>
            </a:spcAft>
          </a:pPr>
          <a:r>
            <a:rPr lang="en-US" altLang="zh-CN" sz="2400" b="1" kern="1200" dirty="0" smtClean="0"/>
            <a:t> </a:t>
          </a:r>
          <a:endParaRPr lang="zh-CN" altLang="en-US" sz="2400" b="1" kern="1200" dirty="0"/>
        </a:p>
      </dsp:txBody>
      <dsp:txXfrm rot="5400000">
        <a:off x="-78709" y="78709"/>
        <a:ext cx="605289" cy="447869"/>
      </dsp:txXfrm>
    </dsp:sp>
    <dsp:sp modelId="{DD43B587-D25A-4A23-9B2A-BAC6085C7E0C}">
      <dsp:nvSpPr>
        <dsp:cNvPr id="0" name=""/>
        <dsp:cNvSpPr/>
      </dsp:nvSpPr>
      <dsp:spPr>
        <a:xfrm rot="5400000">
          <a:off x="3232332" y="-2678167"/>
          <a:ext cx="512652" cy="6062880"/>
        </a:xfrm>
        <a:prstGeom prst="round2SameRect">
          <a:avLst/>
        </a:prstGeom>
        <a:solidFill>
          <a:schemeClr val="accent1">
            <a:alpha val="90000"/>
            <a:tint val="40000"/>
            <a:hueOff val="0"/>
            <a:satOff val="0"/>
            <a:lumOff val="0"/>
            <a:alphaOff val="0"/>
          </a:schemeClr>
        </a:solidFill>
        <a:ln w="9525" cap="flat" cmpd="sng" algn="ctr">
          <a:solidFill>
            <a:schemeClr val="accent1">
              <a:hueOff val="0"/>
              <a:satOff val="0"/>
              <a:lumOff val="0"/>
              <a:alphaOff val="0"/>
            </a:schemeClr>
          </a:solidFill>
          <a:prstDash val="solid"/>
        </a:ln>
        <a:effectLst/>
        <a:scene3d>
          <a:camera prst="orthographicFront"/>
          <a:lightRig rig="chilly" dir="t"/>
        </a:scene3d>
        <a:sp3d prstMaterial="dkEdge">
          <a:bevelT w="25400" h="6350" prst="softRound"/>
          <a:bevelB w="0" h="0" prst="convex"/>
        </a:sp3d>
      </dsp:spPr>
      <dsp:style>
        <a:lnRef idx="1">
          <a:scrgbClr r="0" g="0" b="0"/>
        </a:lnRef>
        <a:fillRef idx="1">
          <a:scrgbClr r="0" g="0" b="0"/>
        </a:fillRef>
        <a:effectRef idx="0">
          <a:scrgbClr r="0" g="0" b="0"/>
        </a:effectRef>
        <a:fontRef idx="minor"/>
      </dsp:style>
      <dsp:txBody>
        <a:bodyPr spcFirstLastPara="0" vert="horz" wrap="square" lIns="170688" tIns="15240" rIns="15240" bIns="15240" numCol="1" spcCol="1270" anchor="ctr" anchorCtr="0">
          <a:noAutofit/>
        </a:bodyPr>
        <a:lstStyle/>
        <a:p>
          <a:pPr marL="228600" lvl="1" indent="-228600" algn="l" defTabSz="1066800">
            <a:lnSpc>
              <a:spcPct val="90000"/>
            </a:lnSpc>
            <a:spcBef>
              <a:spcPct val="0"/>
            </a:spcBef>
            <a:spcAft>
              <a:spcPct val="15000"/>
            </a:spcAft>
            <a:buChar char="••"/>
          </a:pPr>
          <a:r>
            <a:rPr lang="zh-CN" altLang="en-US" sz="2400" b="1" kern="1200" dirty="0" smtClean="0">
              <a:solidFill>
                <a:srgbClr val="002060"/>
              </a:solidFill>
              <a:effectLst/>
              <a:latin typeface="黑体" pitchFamily="49" charset="-122"/>
              <a:ea typeface="黑体" pitchFamily="49" charset="-122"/>
            </a:rPr>
            <a:t>互助是促进个人与他人和谐的</a:t>
          </a:r>
          <a:r>
            <a:rPr lang="zh-CN" altLang="en-US" sz="2400" b="1" u="sng" kern="1200" dirty="0" smtClean="0">
              <a:solidFill>
                <a:srgbClr val="FF0000"/>
              </a:solidFill>
              <a:effectLst/>
              <a:latin typeface="黑体" pitchFamily="49" charset="-122"/>
              <a:ea typeface="黑体" pitchFamily="49" charset="-122"/>
            </a:rPr>
            <a:t>必然要求</a:t>
          </a:r>
          <a:r>
            <a:rPr lang="zh-CN" altLang="en-US" sz="2400" kern="1200" dirty="0" smtClean="0">
              <a:solidFill>
                <a:srgbClr val="FF0000"/>
              </a:solidFill>
              <a:effectLst>
                <a:outerShdw blurRad="38100" dist="38100" dir="2700000" algn="tl">
                  <a:srgbClr val="000000"/>
                </a:outerShdw>
              </a:effectLst>
              <a:latin typeface="黑体" pitchFamily="49" charset="-122"/>
              <a:ea typeface="黑体" pitchFamily="49" charset="-122"/>
            </a:rPr>
            <a:t>。</a:t>
          </a:r>
          <a:endParaRPr lang="zh-CN" altLang="en-US" sz="2400" kern="1200" dirty="0">
            <a:solidFill>
              <a:srgbClr val="FF0000"/>
            </a:solidFill>
            <a:effectLst>
              <a:outerShdw blurRad="38100" dist="38100" dir="2700000" algn="tl">
                <a:srgbClr val="000000">
                  <a:alpha val="43137"/>
                </a:srgbClr>
              </a:outerShdw>
            </a:effectLst>
            <a:latin typeface="黑体" pitchFamily="49" charset="-122"/>
            <a:ea typeface="黑体" pitchFamily="49" charset="-122"/>
          </a:endParaRPr>
        </a:p>
      </dsp:txBody>
      <dsp:txXfrm rot="5400000">
        <a:off x="3232332" y="-2678167"/>
        <a:ext cx="512652" cy="6062880"/>
      </dsp:txXfrm>
    </dsp:sp>
  </dsp:spTree>
</dsp:drawing>
</file>

<file path=ppt/diagrams/drawing6.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DBD75CA0-1BBB-45D7-A9D0-7A4FDFDD203E}">
      <dsp:nvSpPr>
        <dsp:cNvPr id="0" name=""/>
        <dsp:cNvSpPr/>
      </dsp:nvSpPr>
      <dsp:spPr>
        <a:xfrm rot="5400000">
          <a:off x="-103513" y="169706"/>
          <a:ext cx="896122" cy="689096"/>
        </a:xfrm>
        <a:prstGeom prst="chevron">
          <a:avLst/>
        </a:prstGeom>
        <a:solidFill>
          <a:schemeClr val="tx2">
            <a:lumMod val="60000"/>
            <a:lumOff val="40000"/>
          </a:schemeClr>
        </a:solidFill>
        <a:ln w="6350" cap="flat" cmpd="sng" algn="ctr">
          <a:solidFill>
            <a:schemeClr val="accent1">
              <a:shade val="80000"/>
              <a:hueOff val="0"/>
              <a:satOff val="0"/>
              <a:lumOff val="0"/>
              <a:alphaOff val="0"/>
            </a:schemeClr>
          </a:solidFill>
          <a:prstDash val="solid"/>
          <a:miter lim="800000"/>
        </a:ln>
        <a:effectLst/>
        <a:scene3d>
          <a:camera prst="orthographicFront"/>
          <a:lightRig rig="chilly" dir="t"/>
        </a:scene3d>
        <a:sp3d prstMaterial="translucentPowder">
          <a:bevelT w="127000" h="25400" prst="softRound"/>
        </a:sp3d>
      </dsp:spPr>
      <dsp:style>
        <a:lnRef idx="1">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lvl="0" algn="ctr" defTabSz="1066800">
            <a:lnSpc>
              <a:spcPct val="90000"/>
            </a:lnSpc>
            <a:spcBef>
              <a:spcPct val="0"/>
            </a:spcBef>
            <a:spcAft>
              <a:spcPct val="35000"/>
            </a:spcAft>
          </a:pPr>
          <a:r>
            <a:rPr lang="en-US" altLang="zh-CN" sz="2400" b="1" kern="1200" dirty="0" smtClean="0"/>
            <a:t> </a:t>
          </a:r>
          <a:endParaRPr lang="zh-CN" altLang="en-US" sz="2400" b="1" kern="1200" dirty="0"/>
        </a:p>
      </dsp:txBody>
      <dsp:txXfrm rot="5400000">
        <a:off x="-103513" y="169706"/>
        <a:ext cx="896122" cy="689096"/>
      </dsp:txXfrm>
    </dsp:sp>
    <dsp:sp modelId="{DD43B587-D25A-4A23-9B2A-BAC6085C7E0C}">
      <dsp:nvSpPr>
        <dsp:cNvPr id="0" name=""/>
        <dsp:cNvSpPr/>
      </dsp:nvSpPr>
      <dsp:spPr>
        <a:xfrm rot="5400000">
          <a:off x="3603363" y="-2991769"/>
          <a:ext cx="773616" cy="6663730"/>
        </a:xfrm>
        <a:prstGeom prst="round2SameRect">
          <a:avLst/>
        </a:prstGeom>
        <a:solidFill>
          <a:schemeClr val="accent1">
            <a:alpha val="90000"/>
            <a:tint val="40000"/>
            <a:hueOff val="0"/>
            <a:satOff val="0"/>
            <a:lumOff val="0"/>
            <a:alphaOff val="0"/>
          </a:schemeClr>
        </a:solidFill>
        <a:ln w="6350" cap="flat" cmpd="sng" algn="ctr">
          <a:solidFill>
            <a:schemeClr val="accent1">
              <a:hueOff val="0"/>
              <a:satOff val="0"/>
              <a:lumOff val="0"/>
              <a:alphaOff val="0"/>
            </a:schemeClr>
          </a:solidFill>
          <a:prstDash val="solid"/>
          <a:miter lim="800000"/>
        </a:ln>
        <a:effectLst/>
        <a:scene3d>
          <a:camera prst="orthographicFront"/>
          <a:lightRig rig="chilly" dir="t"/>
        </a:scene3d>
        <a:sp3d prstMaterial="dkEdge">
          <a:bevelT w="25400" h="6350" prst="softRound"/>
          <a:bevelB w="0" h="0" prst="convex"/>
        </a:sp3d>
      </dsp:spPr>
      <dsp:style>
        <a:lnRef idx="1">
          <a:scrgbClr r="0" g="0" b="0"/>
        </a:lnRef>
        <a:fillRef idx="1">
          <a:scrgbClr r="0" g="0" b="0"/>
        </a:fillRef>
        <a:effectRef idx="0">
          <a:scrgbClr r="0" g="0" b="0"/>
        </a:effectRef>
        <a:fontRef idx="minor"/>
      </dsp:style>
      <dsp:txBody>
        <a:bodyPr spcFirstLastPara="0" vert="horz" wrap="square" lIns="142240" tIns="12700" rIns="12700" bIns="12700" numCol="1" spcCol="1270" anchor="ctr" anchorCtr="0">
          <a:noAutofit/>
        </a:bodyPr>
        <a:lstStyle/>
        <a:p>
          <a:pPr marL="228600" lvl="1" indent="-228600" algn="l" defTabSz="889000">
            <a:lnSpc>
              <a:spcPct val="90000"/>
            </a:lnSpc>
            <a:spcBef>
              <a:spcPct val="0"/>
            </a:spcBef>
            <a:spcAft>
              <a:spcPct val="15000"/>
            </a:spcAft>
            <a:buChar char="••"/>
          </a:pPr>
          <a:r>
            <a:rPr lang="zh-CN" altLang="en-US" sz="2000" b="1" kern="1200" dirty="0" smtClean="0">
              <a:solidFill>
                <a:prstClr val="black"/>
              </a:solidFill>
              <a:latin typeface="黑体" pitchFamily="49" charset="-122"/>
              <a:ea typeface="黑体" pitchFamily="49" charset="-122"/>
            </a:rPr>
            <a:t>合作是指两个或两个以上的个人或群体为达到共同的目的而联合，为相互利益而协调一致的活动。</a:t>
          </a:r>
          <a:endParaRPr lang="zh-CN" altLang="en-US" sz="2000" kern="1200" dirty="0">
            <a:solidFill>
              <a:srgbClr val="002060"/>
            </a:solidFill>
            <a:latin typeface="黑体" pitchFamily="49" charset="-122"/>
            <a:ea typeface="黑体" pitchFamily="49" charset="-122"/>
          </a:endParaRPr>
        </a:p>
      </dsp:txBody>
      <dsp:txXfrm rot="5400000">
        <a:off x="3603363" y="-2991769"/>
        <a:ext cx="773616" cy="6663730"/>
      </dsp:txXfrm>
    </dsp:sp>
  </dsp:spTree>
</dsp:drawing>
</file>

<file path=ppt/diagrams/layout1.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35.png"/></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5.png"/></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8.png"/></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9BB058DD-F5D5-402C-B782-D0E1A52BB650}" type="datetimeFigureOut">
              <a:rPr lang="zh-CN" altLang="en-US" smtClean="0"/>
              <a:t>2017/12/7</a:t>
            </a:fld>
            <a:endParaRPr lang="zh-CN" altLang="en-US"/>
          </a:p>
        </p:txBody>
      </p:sp>
      <p:sp>
        <p:nvSpPr>
          <p:cNvPr id="4" name="幻灯片图像占位符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6" name="页脚占位符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95B3628C-B19E-4084-933C-457D5C03125E}" type="slidenum">
              <a:rPr lang="zh-CN" altLang="en-US" smtClean="0"/>
              <a:t>‹#›</a:t>
            </a:fld>
            <a:endParaRPr lang="zh-CN" alt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1890" name="幻灯片图像占位符 1"/>
          <p:cNvSpPr>
            <a:spLocks noGrp="1" noRot="1" noChangeAspect="1" noTextEdit="1"/>
          </p:cNvSpPr>
          <p:nvPr>
            <p:ph type="sldImg"/>
          </p:nvPr>
        </p:nvSpPr>
        <p:spPr>
          <a:ln/>
        </p:spPr>
      </p:sp>
      <p:sp>
        <p:nvSpPr>
          <p:cNvPr id="421891" name="备注占位符 2"/>
          <p:cNvSpPr>
            <a:spLocks noGrp="1"/>
          </p:cNvSpPr>
          <p:nvPr>
            <p:ph type="body" idx="1"/>
          </p:nvPr>
        </p:nvSpPr>
        <p:spPr>
          <a:noFill/>
          <a:ln/>
        </p:spPr>
        <p:txBody>
          <a:bodyPr/>
          <a:lstStyle/>
          <a:p>
            <a:pPr eaLnBrk="1" hangingPunct="1">
              <a:spcBef>
                <a:spcPct val="0"/>
              </a:spcBef>
            </a:pPr>
            <a:endParaRPr lang="zh-CN" altLang="en-US" smtClean="0"/>
          </a:p>
        </p:txBody>
      </p:sp>
      <p:sp>
        <p:nvSpPr>
          <p:cNvPr id="421892" name="灯片编号占位符 3"/>
          <p:cNvSpPr>
            <a:spLocks noGrp="1"/>
          </p:cNvSpPr>
          <p:nvPr>
            <p:ph type="sldNum" sz="quarter" idx="5"/>
          </p:nvPr>
        </p:nvSpPr>
        <p:spPr>
          <a:noFill/>
        </p:spPr>
        <p:txBody>
          <a:bodyPr/>
          <a:lstStyle/>
          <a:p>
            <a:fld id="{2155EF44-8E0C-4311-BAD9-D0DB20CB8FDD}" type="slidenum">
              <a:rPr lang="zh-CN" altLang="en-US">
                <a:solidFill>
                  <a:prstClr val="black"/>
                </a:solidFill>
              </a:rPr>
              <a:pPr/>
              <a:t>2</a:t>
            </a:fld>
            <a:endParaRPr lang="zh-CN" altLang="en-US">
              <a:solidFill>
                <a:prstClr val="black"/>
              </a:solidFill>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2914" name="幻灯片图像占位符 1"/>
          <p:cNvSpPr>
            <a:spLocks noGrp="1" noRot="1" noChangeAspect="1" noTextEdit="1"/>
          </p:cNvSpPr>
          <p:nvPr>
            <p:ph type="sldImg"/>
          </p:nvPr>
        </p:nvSpPr>
        <p:spPr>
          <a:ln/>
        </p:spPr>
      </p:sp>
      <p:sp>
        <p:nvSpPr>
          <p:cNvPr id="422915" name="备注占位符 2"/>
          <p:cNvSpPr>
            <a:spLocks noGrp="1"/>
          </p:cNvSpPr>
          <p:nvPr>
            <p:ph type="body" idx="1"/>
          </p:nvPr>
        </p:nvSpPr>
        <p:spPr>
          <a:noFill/>
          <a:ln/>
        </p:spPr>
        <p:txBody>
          <a:bodyPr/>
          <a:lstStyle/>
          <a:p>
            <a:pPr eaLnBrk="1" hangingPunct="1"/>
            <a:endParaRPr lang="zh-CN" altLang="en-US" smtClean="0"/>
          </a:p>
        </p:txBody>
      </p:sp>
      <p:sp>
        <p:nvSpPr>
          <p:cNvPr id="422916" name="灯片编号占位符 3"/>
          <p:cNvSpPr>
            <a:spLocks noGrp="1"/>
          </p:cNvSpPr>
          <p:nvPr>
            <p:ph type="sldNum" sz="quarter" idx="5"/>
          </p:nvPr>
        </p:nvSpPr>
        <p:spPr>
          <a:noFill/>
        </p:spPr>
        <p:txBody>
          <a:bodyPr/>
          <a:lstStyle/>
          <a:p>
            <a:fld id="{70E36FA9-2F61-450C-A8E9-5B5D1130BBBE}" type="slidenum">
              <a:rPr lang="zh-CN" altLang="en-US">
                <a:solidFill>
                  <a:prstClr val="black"/>
                </a:solidFill>
              </a:rPr>
              <a:pPr/>
              <a:t>4</a:t>
            </a:fld>
            <a:endParaRPr lang="en-US" altLang="zh-CN">
              <a:solidFill>
                <a:prstClr val="black"/>
              </a:solidFill>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3938" name="幻灯片图像占位符 1"/>
          <p:cNvSpPr>
            <a:spLocks noGrp="1" noRot="1" noChangeAspect="1" noTextEdit="1"/>
          </p:cNvSpPr>
          <p:nvPr>
            <p:ph type="sldImg"/>
          </p:nvPr>
        </p:nvSpPr>
        <p:spPr>
          <a:ln/>
        </p:spPr>
      </p:sp>
      <p:sp>
        <p:nvSpPr>
          <p:cNvPr id="423939" name="备注占位符 2"/>
          <p:cNvSpPr>
            <a:spLocks noGrp="1"/>
          </p:cNvSpPr>
          <p:nvPr>
            <p:ph type="body" idx="1"/>
          </p:nvPr>
        </p:nvSpPr>
        <p:spPr>
          <a:noFill/>
          <a:ln/>
        </p:spPr>
        <p:txBody>
          <a:bodyPr/>
          <a:lstStyle/>
          <a:p>
            <a:pPr eaLnBrk="1" hangingPunct="1">
              <a:spcBef>
                <a:spcPct val="0"/>
              </a:spcBef>
            </a:pPr>
            <a:endParaRPr lang="zh-CN" altLang="en-US" smtClean="0"/>
          </a:p>
        </p:txBody>
      </p:sp>
      <p:sp>
        <p:nvSpPr>
          <p:cNvPr id="423940" name="灯片编号占位符 3"/>
          <p:cNvSpPr>
            <a:spLocks noGrp="1"/>
          </p:cNvSpPr>
          <p:nvPr>
            <p:ph type="sldNum" sz="quarter" idx="5"/>
          </p:nvPr>
        </p:nvSpPr>
        <p:spPr>
          <a:noFill/>
        </p:spPr>
        <p:txBody>
          <a:bodyPr/>
          <a:lstStyle/>
          <a:p>
            <a:fld id="{01006604-E634-41C9-820D-E4EFD0CBF6F7}" type="slidenum">
              <a:rPr lang="zh-CN" altLang="en-US">
                <a:solidFill>
                  <a:prstClr val="black"/>
                </a:solidFill>
              </a:rPr>
              <a:pPr/>
              <a:t>7</a:t>
            </a:fld>
            <a:endParaRPr lang="zh-CN" altLang="en-US">
              <a:solidFill>
                <a:prstClr val="black"/>
              </a:solidFill>
            </a:endParaRPr>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6.jpeg"/><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7.jpeg"/><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4.xml"/><Relationship Id="rId6" Type="http://schemas.openxmlformats.org/officeDocument/2006/relationships/image" Target="../media/image12.jpeg"/><Relationship Id="rId5" Type="http://schemas.openxmlformats.org/officeDocument/2006/relationships/image" Target="../media/image11.png"/><Relationship Id="rId4" Type="http://schemas.openxmlformats.org/officeDocument/2006/relationships/image" Target="../media/image10.pn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4.xml"/><Relationship Id="rId5" Type="http://schemas.openxmlformats.org/officeDocument/2006/relationships/image" Target="../media/image12.jpeg"/><Relationship Id="rId4" Type="http://schemas.openxmlformats.org/officeDocument/2006/relationships/image" Target="../media/image11.png"/></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4.xml"/><Relationship Id="rId6" Type="http://schemas.openxmlformats.org/officeDocument/2006/relationships/image" Target="../media/image12.jpeg"/><Relationship Id="rId5" Type="http://schemas.openxmlformats.org/officeDocument/2006/relationships/image" Target="../media/image11.png"/><Relationship Id="rId4" Type="http://schemas.openxmlformats.org/officeDocument/2006/relationships/image" Target="../media/image13.png"/></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4.xml"/><Relationship Id="rId6" Type="http://schemas.openxmlformats.org/officeDocument/2006/relationships/image" Target="../media/image14.png"/><Relationship Id="rId5" Type="http://schemas.openxmlformats.org/officeDocument/2006/relationships/image" Target="../media/image12.jpeg"/><Relationship Id="rId4" Type="http://schemas.openxmlformats.org/officeDocument/2006/relationships/image" Target="../media/image11.png"/></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4.xml"/><Relationship Id="rId5" Type="http://schemas.openxmlformats.org/officeDocument/2006/relationships/image" Target="../media/image12.jpeg"/><Relationship Id="rId4" Type="http://schemas.openxmlformats.org/officeDocument/2006/relationships/image" Target="../media/image11.png"/></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4.xml"/><Relationship Id="rId5" Type="http://schemas.openxmlformats.org/officeDocument/2006/relationships/image" Target="../media/image15.png"/><Relationship Id="rId4" Type="http://schemas.openxmlformats.org/officeDocument/2006/relationships/image" Target="../media/image11.png"/></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Master" Target="../slideMasters/slideMaster5.xml"/><Relationship Id="rId4" Type="http://schemas.openxmlformats.org/officeDocument/2006/relationships/image" Target="../media/image20.png"/></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5.xml"/><Relationship Id="rId4" Type="http://schemas.openxmlformats.org/officeDocument/2006/relationships/image" Target="../media/image11.png"/></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6.xml"/><Relationship Id="rId6" Type="http://schemas.openxmlformats.org/officeDocument/2006/relationships/image" Target="../media/image12.jpeg"/><Relationship Id="rId5" Type="http://schemas.openxmlformats.org/officeDocument/2006/relationships/image" Target="../media/image11.png"/><Relationship Id="rId4" Type="http://schemas.openxmlformats.org/officeDocument/2006/relationships/image" Target="../media/image10.png"/></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6.xml"/><Relationship Id="rId5" Type="http://schemas.openxmlformats.org/officeDocument/2006/relationships/image" Target="../media/image12.jpeg"/><Relationship Id="rId4" Type="http://schemas.openxmlformats.org/officeDocument/2006/relationships/image" Target="../media/image11.png"/></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6.xml"/><Relationship Id="rId6" Type="http://schemas.openxmlformats.org/officeDocument/2006/relationships/image" Target="../media/image12.jpeg"/><Relationship Id="rId5" Type="http://schemas.openxmlformats.org/officeDocument/2006/relationships/image" Target="../media/image11.png"/><Relationship Id="rId4" Type="http://schemas.openxmlformats.org/officeDocument/2006/relationships/image" Target="../media/image13.png"/></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6.xml"/><Relationship Id="rId6" Type="http://schemas.openxmlformats.org/officeDocument/2006/relationships/image" Target="../media/image14.png"/><Relationship Id="rId5" Type="http://schemas.openxmlformats.org/officeDocument/2006/relationships/image" Target="../media/image12.jpeg"/><Relationship Id="rId4" Type="http://schemas.openxmlformats.org/officeDocument/2006/relationships/image" Target="../media/image11.png"/></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6.xml"/><Relationship Id="rId5" Type="http://schemas.openxmlformats.org/officeDocument/2006/relationships/image" Target="../media/image12.jpeg"/><Relationship Id="rId4" Type="http://schemas.openxmlformats.org/officeDocument/2006/relationships/image" Target="../media/image11.png"/></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6.xml"/><Relationship Id="rId5" Type="http://schemas.openxmlformats.org/officeDocument/2006/relationships/image" Target="../media/image15.png"/><Relationship Id="rId4" Type="http://schemas.openxmlformats.org/officeDocument/2006/relationships/image" Target="../media/image11.png"/></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22.gif"/><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685800" y="2130425"/>
            <a:ext cx="7772400" cy="1470025"/>
          </a:xfrm>
        </p:spPr>
        <p:txBody>
          <a:bodyPr/>
          <a:lstStyle/>
          <a:p>
            <a:r>
              <a:rPr lang="zh-CN" altLang="en-US" smtClean="0"/>
              <a:t>单击此处编辑母版标题样式</a:t>
            </a:r>
            <a:endParaRPr lang="zh-CN" altLang="en-US"/>
          </a:p>
        </p:txBody>
      </p:sp>
      <p:sp>
        <p:nvSpPr>
          <p:cNvPr id="3" name="副标题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zh-CN" altLang="en-US" smtClean="0"/>
              <a:t>单击此处编辑母版副标题样式</a:t>
            </a:r>
            <a:endParaRPr lang="zh-CN" altLang="en-US"/>
          </a:p>
        </p:txBody>
      </p:sp>
      <p:sp>
        <p:nvSpPr>
          <p:cNvPr id="4" name="日期占位符 3"/>
          <p:cNvSpPr>
            <a:spLocks noGrp="1"/>
          </p:cNvSpPr>
          <p:nvPr>
            <p:ph type="dt" sz="half" idx="10"/>
          </p:nvPr>
        </p:nvSpPr>
        <p:spPr/>
        <p:txBody>
          <a:bodyPr/>
          <a:lstStyle/>
          <a:p>
            <a:fld id="{530820CF-B880-4189-942D-D702A7CBA730}" type="datetimeFigureOut">
              <a:rPr lang="zh-CN" altLang="en-US" smtClean="0"/>
              <a:pPr/>
              <a:t>2017/12/7</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0C913308-F349-4B6D-A68A-DD1791B4A57B}" type="slidenum">
              <a:rPr lang="zh-CN" altLang="en-US" smtClean="0"/>
              <a:pPr/>
              <a:t>‹#›</a:t>
            </a:fld>
            <a:endParaRPr lang="zh-CN" alt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p:txBody>
          <a:bodyPr/>
          <a:lstStyle/>
          <a:p>
            <a:fld id="{530820CF-B880-4189-942D-D702A7CBA730}" type="datetimeFigureOut">
              <a:rPr lang="zh-CN" altLang="en-US" smtClean="0"/>
              <a:pPr/>
              <a:t>2017/12/7</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0C913308-F349-4B6D-A68A-DD1791B4A57B}" type="slidenum">
              <a:rPr lang="zh-CN" altLang="en-US" smtClean="0"/>
              <a:pPr/>
              <a:t>‹#›</a:t>
            </a:fld>
            <a:endParaRPr lang="zh-CN" alt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垂直排列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6629400" y="274638"/>
            <a:ext cx="2057400" cy="5851525"/>
          </a:xfrm>
        </p:spPr>
        <p:txBody>
          <a:bodyPr vert="eaVert"/>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a:xfrm>
            <a:off x="457200" y="274638"/>
            <a:ext cx="6019800" cy="5851525"/>
          </a:xfrm>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p:txBody>
          <a:bodyPr/>
          <a:lstStyle/>
          <a:p>
            <a:fld id="{530820CF-B880-4189-942D-D702A7CBA730}" type="datetimeFigureOut">
              <a:rPr lang="zh-CN" altLang="en-US" smtClean="0"/>
              <a:pPr/>
              <a:t>2017/12/7</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0C913308-F349-4B6D-A68A-DD1791B4A57B}" type="slidenum">
              <a:rPr lang="zh-CN" altLang="en-US" smtClean="0"/>
              <a:pPr/>
              <a:t>‹#›</a:t>
            </a:fld>
            <a:endParaRPr lang="zh-CN" altLang="en-US"/>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pic>
        <p:nvPicPr>
          <p:cNvPr id="4" name="Picture 2" descr="http://down1.sucaitianxia.com/psd01/psd109/psds15334.jpg"/>
          <p:cNvPicPr>
            <a:picLocks noChangeAspect="1" noChangeArrowheads="1"/>
          </p:cNvPicPr>
          <p:nvPr userDrawn="1"/>
        </p:nvPicPr>
        <p:blipFill>
          <a:blip r:embed="rId2" cstate="print"/>
          <a:srcRect/>
          <a:stretch>
            <a:fillRect/>
          </a:stretch>
        </p:blipFill>
        <p:spPr bwMode="auto">
          <a:xfrm>
            <a:off x="0" y="0"/>
            <a:ext cx="9144000" cy="6858000"/>
          </a:xfrm>
          <a:prstGeom prst="rect">
            <a:avLst/>
          </a:prstGeom>
          <a:noFill/>
          <a:ln w="9525">
            <a:noFill/>
            <a:miter lim="800000"/>
            <a:headEnd/>
            <a:tailEnd/>
          </a:ln>
        </p:spPr>
      </p:pic>
      <p:sp>
        <p:nvSpPr>
          <p:cNvPr id="2" name="标题 1"/>
          <p:cNvSpPr>
            <a:spLocks noGrp="1"/>
          </p:cNvSpPr>
          <p:nvPr>
            <p:ph type="ctrTitle"/>
          </p:nvPr>
        </p:nvSpPr>
        <p:spPr>
          <a:xfrm>
            <a:off x="1143008" y="1122363"/>
            <a:ext cx="6858001" cy="2387600"/>
          </a:xfrm>
          <a:prstGeom prst="rect">
            <a:avLst/>
          </a:prstGeom>
        </p:spPr>
        <p:txBody>
          <a:bodyPr lIns="91389" tIns="45694" rIns="91389" bIns="45694" anchor="b"/>
          <a:lstStyle>
            <a:lvl1pPr algn="ctr">
              <a:defRPr sz="6000"/>
            </a:lvl1pPr>
          </a:lstStyle>
          <a:p>
            <a:r>
              <a:rPr lang="zh-CN" altLang="en-US" smtClean="0"/>
              <a:t>单击此处编辑母版标题样式</a:t>
            </a:r>
            <a:endParaRPr lang="zh-CN" altLang="en-US"/>
          </a:p>
        </p:txBody>
      </p:sp>
      <p:sp>
        <p:nvSpPr>
          <p:cNvPr id="3" name="副标题 2"/>
          <p:cNvSpPr>
            <a:spLocks noGrp="1"/>
          </p:cNvSpPr>
          <p:nvPr>
            <p:ph type="subTitle" idx="1"/>
          </p:nvPr>
        </p:nvSpPr>
        <p:spPr>
          <a:xfrm>
            <a:off x="1143008" y="3602041"/>
            <a:ext cx="6858001" cy="1655763"/>
          </a:xfrm>
          <a:prstGeom prst="rect">
            <a:avLst/>
          </a:prstGeom>
        </p:spPr>
        <p:txBody>
          <a:bodyPr lIns="91389" tIns="45694" rIns="91389" bIns="45694"/>
          <a:lstStyle>
            <a:lvl1pPr marL="0" indent="0" algn="ctr">
              <a:buNone/>
              <a:defRPr sz="2500"/>
            </a:lvl1pPr>
            <a:lvl2pPr marL="456945" indent="0" algn="ctr">
              <a:buNone/>
              <a:defRPr sz="2000"/>
            </a:lvl2pPr>
            <a:lvl3pPr marL="913890" indent="0" algn="ctr">
              <a:buNone/>
              <a:defRPr sz="1800"/>
            </a:lvl3pPr>
            <a:lvl4pPr marL="1370836" indent="0" algn="ctr">
              <a:buNone/>
              <a:defRPr sz="1600"/>
            </a:lvl4pPr>
            <a:lvl5pPr marL="1827781" indent="0" algn="ctr">
              <a:buNone/>
              <a:defRPr sz="1600"/>
            </a:lvl5pPr>
            <a:lvl6pPr marL="2284726" indent="0" algn="ctr">
              <a:buNone/>
              <a:defRPr sz="1600"/>
            </a:lvl6pPr>
            <a:lvl7pPr marL="2741672" indent="0" algn="ctr">
              <a:buNone/>
              <a:defRPr sz="1600"/>
            </a:lvl7pPr>
            <a:lvl8pPr marL="3198616" indent="0" algn="ctr">
              <a:buNone/>
              <a:defRPr sz="1600"/>
            </a:lvl8pPr>
            <a:lvl9pPr marL="3655563" indent="0" algn="ctr">
              <a:buNone/>
              <a:defRPr sz="1600"/>
            </a:lvl9pPr>
          </a:lstStyle>
          <a:p>
            <a:r>
              <a:rPr lang="zh-CN" altLang="en-US" smtClean="0"/>
              <a:t>单击此处编辑母版副标题样式</a:t>
            </a:r>
            <a:endParaRPr lang="zh-CN" altLang="en-US"/>
          </a:p>
        </p:txBody>
      </p:sp>
      <p:sp>
        <p:nvSpPr>
          <p:cNvPr id="5" name="日期占位符 3"/>
          <p:cNvSpPr>
            <a:spLocks noGrp="1"/>
          </p:cNvSpPr>
          <p:nvPr>
            <p:ph type="dt" sz="half" idx="10"/>
          </p:nvPr>
        </p:nvSpPr>
        <p:spPr>
          <a:xfrm>
            <a:off x="628650" y="6356350"/>
            <a:ext cx="2057400" cy="365125"/>
          </a:xfrm>
          <a:prstGeom prst="rect">
            <a:avLst/>
          </a:prstGeom>
        </p:spPr>
        <p:txBody>
          <a:bodyPr lIns="91389" tIns="45694" rIns="91389" bIns="45694"/>
          <a:lstStyle>
            <a:lvl1pPr>
              <a:defRPr>
                <a:latin typeface="Arial" charset="0"/>
              </a:defRPr>
            </a:lvl1pPr>
          </a:lstStyle>
          <a:p>
            <a:pPr fontAlgn="base">
              <a:spcBef>
                <a:spcPct val="0"/>
              </a:spcBef>
              <a:spcAft>
                <a:spcPct val="0"/>
              </a:spcAft>
              <a:defRPr/>
            </a:pPr>
            <a:fld id="{FBF260BA-A769-4A4E-8807-467933830749}" type="datetimeFigureOut">
              <a:rPr lang="zh-CN" altLang="en-US">
                <a:solidFill>
                  <a:prstClr val="black"/>
                </a:solidFill>
                <a:effectLst>
                  <a:outerShdw blurRad="38100" dist="38100" dir="2700000" algn="tl">
                    <a:srgbClr val="000000">
                      <a:alpha val="43137"/>
                    </a:srgbClr>
                  </a:outerShdw>
                </a:effectLst>
              </a:rPr>
              <a:pPr fontAlgn="base">
                <a:spcBef>
                  <a:spcPct val="0"/>
                </a:spcBef>
                <a:spcAft>
                  <a:spcPct val="0"/>
                </a:spcAft>
                <a:defRPr/>
              </a:pPr>
              <a:t>2017/12/7</a:t>
            </a:fld>
            <a:endParaRPr lang="zh-CN" altLang="en-US">
              <a:solidFill>
                <a:prstClr val="black"/>
              </a:solidFill>
              <a:effectLst>
                <a:outerShdw blurRad="38100" dist="38100" dir="2700000" algn="tl">
                  <a:srgbClr val="000000">
                    <a:alpha val="43137"/>
                  </a:srgbClr>
                </a:outerShdw>
              </a:effectLst>
            </a:endParaRPr>
          </a:p>
        </p:txBody>
      </p:sp>
      <p:sp>
        <p:nvSpPr>
          <p:cNvPr id="6" name="页脚占位符 4"/>
          <p:cNvSpPr>
            <a:spLocks noGrp="1"/>
          </p:cNvSpPr>
          <p:nvPr>
            <p:ph type="ftr" sz="quarter" idx="11"/>
          </p:nvPr>
        </p:nvSpPr>
        <p:spPr>
          <a:xfrm>
            <a:off x="3028950" y="6356350"/>
            <a:ext cx="3086100" cy="365125"/>
          </a:xfrm>
          <a:prstGeom prst="rect">
            <a:avLst/>
          </a:prstGeom>
        </p:spPr>
        <p:txBody>
          <a:bodyPr lIns="91389" tIns="45694" rIns="91389" bIns="45694"/>
          <a:lstStyle>
            <a:lvl1pPr>
              <a:defRPr>
                <a:latin typeface="Arial" charset="0"/>
              </a:defRPr>
            </a:lvl1pPr>
          </a:lstStyle>
          <a:p>
            <a:pPr fontAlgn="base">
              <a:spcBef>
                <a:spcPct val="0"/>
              </a:spcBef>
              <a:spcAft>
                <a:spcPct val="0"/>
              </a:spcAft>
              <a:defRPr/>
            </a:pPr>
            <a:endParaRPr lang="zh-CN" altLang="en-US">
              <a:solidFill>
                <a:prstClr val="black"/>
              </a:solidFill>
              <a:effectLst>
                <a:outerShdw blurRad="38100" dist="38100" dir="2700000" algn="tl">
                  <a:srgbClr val="000000">
                    <a:alpha val="43137"/>
                  </a:srgbClr>
                </a:outerShdw>
              </a:effectLst>
            </a:endParaRPr>
          </a:p>
        </p:txBody>
      </p:sp>
      <p:sp>
        <p:nvSpPr>
          <p:cNvPr id="7" name="灯片编号占位符 5"/>
          <p:cNvSpPr>
            <a:spLocks noGrp="1"/>
          </p:cNvSpPr>
          <p:nvPr>
            <p:ph type="sldNum" sz="quarter" idx="12"/>
          </p:nvPr>
        </p:nvSpPr>
        <p:spPr>
          <a:xfrm>
            <a:off x="6457950" y="6356350"/>
            <a:ext cx="2057400" cy="365125"/>
          </a:xfrm>
          <a:prstGeom prst="rect">
            <a:avLst/>
          </a:prstGeom>
        </p:spPr>
        <p:txBody>
          <a:bodyPr lIns="91389" tIns="45694" rIns="91389" bIns="45694"/>
          <a:lstStyle>
            <a:lvl1pPr>
              <a:defRPr>
                <a:latin typeface="Arial" charset="0"/>
              </a:defRPr>
            </a:lvl1pPr>
          </a:lstStyle>
          <a:p>
            <a:pPr fontAlgn="base">
              <a:spcBef>
                <a:spcPct val="0"/>
              </a:spcBef>
              <a:spcAft>
                <a:spcPct val="0"/>
              </a:spcAft>
              <a:defRPr/>
            </a:pPr>
            <a:fld id="{CE0C8751-C0C8-4B4C-B538-ABB34896E793}" type="slidenum">
              <a:rPr lang="zh-CN" altLang="en-US">
                <a:solidFill>
                  <a:prstClr val="black"/>
                </a:solidFill>
                <a:effectLst>
                  <a:outerShdw blurRad="38100" dist="38100" dir="2700000" algn="tl">
                    <a:srgbClr val="000000">
                      <a:alpha val="43137"/>
                    </a:srgbClr>
                  </a:outerShdw>
                </a:effectLst>
              </a:rPr>
              <a:pPr fontAlgn="base">
                <a:spcBef>
                  <a:spcPct val="0"/>
                </a:spcBef>
                <a:spcAft>
                  <a:spcPct val="0"/>
                </a:spcAft>
                <a:defRPr/>
              </a:pPr>
              <a:t>‹#›</a:t>
            </a:fld>
            <a:endParaRPr lang="zh-CN" altLang="en-US">
              <a:solidFill>
                <a:prstClr val="black"/>
              </a:solidFill>
              <a:effectLst>
                <a:outerShdw blurRad="38100" dist="38100" dir="2700000" algn="tl">
                  <a:srgbClr val="000000">
                    <a:alpha val="43137"/>
                  </a:srgbClr>
                </a:outerShdw>
              </a:effectLst>
            </a:endParaRP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pic>
        <p:nvPicPr>
          <p:cNvPr id="4" name="Picture 2" descr="http://down1.sucaitianxia.com/psd01/psd109/psds15334.jpg"/>
          <p:cNvPicPr>
            <a:picLocks noChangeAspect="1" noChangeArrowheads="1"/>
          </p:cNvPicPr>
          <p:nvPr userDrawn="1"/>
        </p:nvPicPr>
        <p:blipFill>
          <a:blip r:embed="rId2" cstate="print"/>
          <a:srcRect/>
          <a:stretch>
            <a:fillRect/>
          </a:stretch>
        </p:blipFill>
        <p:spPr bwMode="auto">
          <a:xfrm>
            <a:off x="0" y="0"/>
            <a:ext cx="9144000" cy="6858000"/>
          </a:xfrm>
          <a:prstGeom prst="rect">
            <a:avLst/>
          </a:prstGeom>
          <a:noFill/>
          <a:ln w="9525">
            <a:noFill/>
            <a:miter lim="800000"/>
            <a:headEnd/>
            <a:tailEnd/>
          </a:ln>
        </p:spPr>
      </p:pic>
      <p:sp>
        <p:nvSpPr>
          <p:cNvPr id="2" name="标题 1"/>
          <p:cNvSpPr>
            <a:spLocks noGrp="1"/>
          </p:cNvSpPr>
          <p:nvPr>
            <p:ph type="title"/>
          </p:nvPr>
        </p:nvSpPr>
        <p:spPr>
          <a:xfrm>
            <a:off x="623888" y="1709771"/>
            <a:ext cx="7886700" cy="2852737"/>
          </a:xfrm>
          <a:prstGeom prst="rect">
            <a:avLst/>
          </a:prstGeom>
        </p:spPr>
        <p:txBody>
          <a:bodyPr lIns="91389" tIns="45694" rIns="91389" bIns="45694" anchor="b"/>
          <a:lstStyle>
            <a:lvl1pPr>
              <a:defRPr sz="6000"/>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623888" y="4589475"/>
            <a:ext cx="7886700" cy="1500187"/>
          </a:xfrm>
          <a:prstGeom prst="rect">
            <a:avLst/>
          </a:prstGeom>
        </p:spPr>
        <p:txBody>
          <a:bodyPr lIns="91389" tIns="45694" rIns="91389" bIns="45694"/>
          <a:lstStyle>
            <a:lvl1pPr marL="0" indent="0">
              <a:buNone/>
              <a:defRPr sz="2500">
                <a:solidFill>
                  <a:schemeClr val="tx1">
                    <a:tint val="75000"/>
                  </a:schemeClr>
                </a:solidFill>
              </a:defRPr>
            </a:lvl1pPr>
            <a:lvl2pPr marL="456945" indent="0">
              <a:buNone/>
              <a:defRPr sz="2000">
                <a:solidFill>
                  <a:schemeClr val="tx1">
                    <a:tint val="75000"/>
                  </a:schemeClr>
                </a:solidFill>
              </a:defRPr>
            </a:lvl2pPr>
            <a:lvl3pPr marL="913890" indent="0">
              <a:buNone/>
              <a:defRPr sz="1800">
                <a:solidFill>
                  <a:schemeClr val="tx1">
                    <a:tint val="75000"/>
                  </a:schemeClr>
                </a:solidFill>
              </a:defRPr>
            </a:lvl3pPr>
            <a:lvl4pPr marL="1370836" indent="0">
              <a:buNone/>
              <a:defRPr sz="1600">
                <a:solidFill>
                  <a:schemeClr val="tx1">
                    <a:tint val="75000"/>
                  </a:schemeClr>
                </a:solidFill>
              </a:defRPr>
            </a:lvl4pPr>
            <a:lvl5pPr marL="1827781" indent="0">
              <a:buNone/>
              <a:defRPr sz="1600">
                <a:solidFill>
                  <a:schemeClr val="tx1">
                    <a:tint val="75000"/>
                  </a:schemeClr>
                </a:solidFill>
              </a:defRPr>
            </a:lvl5pPr>
            <a:lvl6pPr marL="2284726" indent="0">
              <a:buNone/>
              <a:defRPr sz="1600">
                <a:solidFill>
                  <a:schemeClr val="tx1">
                    <a:tint val="75000"/>
                  </a:schemeClr>
                </a:solidFill>
              </a:defRPr>
            </a:lvl6pPr>
            <a:lvl7pPr marL="2741672" indent="0">
              <a:buNone/>
              <a:defRPr sz="1600">
                <a:solidFill>
                  <a:schemeClr val="tx1">
                    <a:tint val="75000"/>
                  </a:schemeClr>
                </a:solidFill>
              </a:defRPr>
            </a:lvl7pPr>
            <a:lvl8pPr marL="3198616" indent="0">
              <a:buNone/>
              <a:defRPr sz="1600">
                <a:solidFill>
                  <a:schemeClr val="tx1">
                    <a:tint val="75000"/>
                  </a:schemeClr>
                </a:solidFill>
              </a:defRPr>
            </a:lvl8pPr>
            <a:lvl9pPr marL="3655563" indent="0">
              <a:buNone/>
              <a:defRPr sz="1600">
                <a:solidFill>
                  <a:schemeClr val="tx1">
                    <a:tint val="75000"/>
                  </a:schemeClr>
                </a:solidFill>
              </a:defRPr>
            </a:lvl9pPr>
          </a:lstStyle>
          <a:p>
            <a:pPr lvl="0"/>
            <a:r>
              <a:rPr lang="zh-CN" altLang="en-US" smtClean="0"/>
              <a:t>单击此处编辑母版文本样式</a:t>
            </a:r>
          </a:p>
        </p:txBody>
      </p:sp>
      <p:sp>
        <p:nvSpPr>
          <p:cNvPr id="5" name="日期占位符 3"/>
          <p:cNvSpPr>
            <a:spLocks noGrp="1"/>
          </p:cNvSpPr>
          <p:nvPr>
            <p:ph type="dt" sz="half" idx="10"/>
          </p:nvPr>
        </p:nvSpPr>
        <p:spPr>
          <a:xfrm>
            <a:off x="628650" y="6356350"/>
            <a:ext cx="2057400" cy="365125"/>
          </a:xfrm>
          <a:prstGeom prst="rect">
            <a:avLst/>
          </a:prstGeom>
        </p:spPr>
        <p:txBody>
          <a:bodyPr lIns="91389" tIns="45694" rIns="91389" bIns="45694"/>
          <a:lstStyle>
            <a:lvl1pPr>
              <a:defRPr>
                <a:latin typeface="Arial" charset="0"/>
              </a:defRPr>
            </a:lvl1pPr>
          </a:lstStyle>
          <a:p>
            <a:pPr fontAlgn="base">
              <a:spcBef>
                <a:spcPct val="0"/>
              </a:spcBef>
              <a:spcAft>
                <a:spcPct val="0"/>
              </a:spcAft>
              <a:defRPr/>
            </a:pPr>
            <a:fld id="{9214A4E3-E7D1-42C8-9056-2C0A47F1DD1A}" type="datetimeFigureOut">
              <a:rPr lang="zh-CN" altLang="en-US">
                <a:solidFill>
                  <a:prstClr val="black"/>
                </a:solidFill>
                <a:effectLst>
                  <a:outerShdw blurRad="38100" dist="38100" dir="2700000" algn="tl">
                    <a:srgbClr val="000000">
                      <a:alpha val="43137"/>
                    </a:srgbClr>
                  </a:outerShdw>
                </a:effectLst>
              </a:rPr>
              <a:pPr fontAlgn="base">
                <a:spcBef>
                  <a:spcPct val="0"/>
                </a:spcBef>
                <a:spcAft>
                  <a:spcPct val="0"/>
                </a:spcAft>
                <a:defRPr/>
              </a:pPr>
              <a:t>2017/12/7</a:t>
            </a:fld>
            <a:endParaRPr lang="zh-CN" altLang="en-US">
              <a:solidFill>
                <a:prstClr val="black"/>
              </a:solidFill>
              <a:effectLst>
                <a:outerShdw blurRad="38100" dist="38100" dir="2700000" algn="tl">
                  <a:srgbClr val="000000">
                    <a:alpha val="43137"/>
                  </a:srgbClr>
                </a:outerShdw>
              </a:effectLst>
            </a:endParaRPr>
          </a:p>
        </p:txBody>
      </p:sp>
      <p:sp>
        <p:nvSpPr>
          <p:cNvPr id="6" name="页脚占位符 4"/>
          <p:cNvSpPr>
            <a:spLocks noGrp="1"/>
          </p:cNvSpPr>
          <p:nvPr>
            <p:ph type="ftr" sz="quarter" idx="11"/>
          </p:nvPr>
        </p:nvSpPr>
        <p:spPr>
          <a:xfrm>
            <a:off x="3028950" y="6356350"/>
            <a:ext cx="3086100" cy="365125"/>
          </a:xfrm>
          <a:prstGeom prst="rect">
            <a:avLst/>
          </a:prstGeom>
        </p:spPr>
        <p:txBody>
          <a:bodyPr lIns="91389" tIns="45694" rIns="91389" bIns="45694"/>
          <a:lstStyle>
            <a:lvl1pPr>
              <a:defRPr>
                <a:latin typeface="Arial" charset="0"/>
              </a:defRPr>
            </a:lvl1pPr>
          </a:lstStyle>
          <a:p>
            <a:pPr fontAlgn="base">
              <a:spcBef>
                <a:spcPct val="0"/>
              </a:spcBef>
              <a:spcAft>
                <a:spcPct val="0"/>
              </a:spcAft>
              <a:defRPr/>
            </a:pPr>
            <a:endParaRPr lang="zh-CN" altLang="en-US">
              <a:solidFill>
                <a:prstClr val="black"/>
              </a:solidFill>
              <a:effectLst>
                <a:outerShdw blurRad="38100" dist="38100" dir="2700000" algn="tl">
                  <a:srgbClr val="000000">
                    <a:alpha val="43137"/>
                  </a:srgbClr>
                </a:outerShdw>
              </a:effectLst>
            </a:endParaRPr>
          </a:p>
        </p:txBody>
      </p:sp>
      <p:sp>
        <p:nvSpPr>
          <p:cNvPr id="7" name="灯片编号占位符 5"/>
          <p:cNvSpPr>
            <a:spLocks noGrp="1"/>
          </p:cNvSpPr>
          <p:nvPr>
            <p:ph type="sldNum" sz="quarter" idx="12"/>
          </p:nvPr>
        </p:nvSpPr>
        <p:spPr>
          <a:xfrm>
            <a:off x="6457950" y="6356350"/>
            <a:ext cx="2057400" cy="365125"/>
          </a:xfrm>
          <a:prstGeom prst="rect">
            <a:avLst/>
          </a:prstGeom>
        </p:spPr>
        <p:txBody>
          <a:bodyPr lIns="91389" tIns="45694" rIns="91389" bIns="45694"/>
          <a:lstStyle>
            <a:lvl1pPr>
              <a:defRPr>
                <a:latin typeface="Arial" charset="0"/>
              </a:defRPr>
            </a:lvl1pPr>
          </a:lstStyle>
          <a:p>
            <a:pPr fontAlgn="base">
              <a:spcBef>
                <a:spcPct val="0"/>
              </a:spcBef>
              <a:spcAft>
                <a:spcPct val="0"/>
              </a:spcAft>
              <a:defRPr/>
            </a:pPr>
            <a:fld id="{A3BD9482-9FB6-41F8-8281-0F1CA611D48E}" type="slidenum">
              <a:rPr lang="zh-CN" altLang="en-US">
                <a:solidFill>
                  <a:prstClr val="black"/>
                </a:solidFill>
                <a:effectLst>
                  <a:outerShdw blurRad="38100" dist="38100" dir="2700000" algn="tl">
                    <a:srgbClr val="000000">
                      <a:alpha val="43137"/>
                    </a:srgbClr>
                  </a:outerShdw>
                </a:effectLst>
              </a:rPr>
              <a:pPr fontAlgn="base">
                <a:spcBef>
                  <a:spcPct val="0"/>
                </a:spcBef>
                <a:spcAft>
                  <a:spcPct val="0"/>
                </a:spcAft>
                <a:defRPr/>
              </a:pPr>
              <a:t>‹#›</a:t>
            </a:fld>
            <a:endParaRPr lang="zh-CN" altLang="en-US">
              <a:solidFill>
                <a:prstClr val="black"/>
              </a:solidFill>
              <a:effectLst>
                <a:outerShdw blurRad="38100" dist="38100" dir="2700000" algn="tl">
                  <a:srgbClr val="000000">
                    <a:alpha val="43137"/>
                  </a:srgbClr>
                </a:outerShdw>
              </a:effectLst>
            </a:endParaRP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a:xfrm>
            <a:off x="628650" y="365133"/>
            <a:ext cx="7886700" cy="1325563"/>
          </a:xfrm>
          <a:prstGeom prst="rect">
            <a:avLst/>
          </a:prstGeom>
        </p:spPr>
        <p:txBody>
          <a:bodyPr lIns="91389" tIns="45694" rIns="91389" bIns="45694"/>
          <a:lstStyle/>
          <a:p>
            <a:r>
              <a:rPr lang="zh-CN" altLang="en-US" smtClean="0"/>
              <a:t>单击此处编辑母版标题样式</a:t>
            </a:r>
            <a:endParaRPr lang="zh-CN" altLang="en-US"/>
          </a:p>
        </p:txBody>
      </p:sp>
      <p:sp>
        <p:nvSpPr>
          <p:cNvPr id="3" name="内容占位符 2"/>
          <p:cNvSpPr>
            <a:spLocks noGrp="1"/>
          </p:cNvSpPr>
          <p:nvPr>
            <p:ph sz="half" idx="1"/>
          </p:nvPr>
        </p:nvSpPr>
        <p:spPr>
          <a:xfrm>
            <a:off x="628650" y="1825631"/>
            <a:ext cx="3886200" cy="4351339"/>
          </a:xfrm>
          <a:prstGeom prst="rect">
            <a:avLst/>
          </a:prstGeom>
        </p:spPr>
        <p:txBody>
          <a:bodyPr lIns="91389" tIns="45694" rIns="91389" bIns="45694"/>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内容占位符 3"/>
          <p:cNvSpPr>
            <a:spLocks noGrp="1"/>
          </p:cNvSpPr>
          <p:nvPr>
            <p:ph sz="half" idx="2"/>
          </p:nvPr>
        </p:nvSpPr>
        <p:spPr>
          <a:xfrm>
            <a:off x="4629150" y="1825631"/>
            <a:ext cx="3886200" cy="4351339"/>
          </a:xfrm>
          <a:prstGeom prst="rect">
            <a:avLst/>
          </a:prstGeom>
        </p:spPr>
        <p:txBody>
          <a:bodyPr lIns="91389" tIns="45694" rIns="91389" bIns="45694"/>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日期占位符 3"/>
          <p:cNvSpPr>
            <a:spLocks noGrp="1"/>
          </p:cNvSpPr>
          <p:nvPr>
            <p:ph type="dt" sz="half" idx="10"/>
          </p:nvPr>
        </p:nvSpPr>
        <p:spPr>
          <a:xfrm>
            <a:off x="628650" y="6356350"/>
            <a:ext cx="2057400" cy="365125"/>
          </a:xfrm>
          <a:prstGeom prst="rect">
            <a:avLst/>
          </a:prstGeom>
        </p:spPr>
        <p:txBody>
          <a:bodyPr lIns="91389" tIns="45694" rIns="91389" bIns="45694"/>
          <a:lstStyle>
            <a:lvl1pPr>
              <a:defRPr>
                <a:latin typeface="Arial" charset="0"/>
              </a:defRPr>
            </a:lvl1pPr>
          </a:lstStyle>
          <a:p>
            <a:pPr fontAlgn="base">
              <a:spcBef>
                <a:spcPct val="0"/>
              </a:spcBef>
              <a:spcAft>
                <a:spcPct val="0"/>
              </a:spcAft>
              <a:defRPr/>
            </a:pPr>
            <a:fld id="{F81F4B33-85F2-44BD-9D8A-98E61AAE2A84}" type="datetimeFigureOut">
              <a:rPr lang="zh-CN" altLang="en-US">
                <a:solidFill>
                  <a:prstClr val="black"/>
                </a:solidFill>
                <a:effectLst>
                  <a:outerShdw blurRad="38100" dist="38100" dir="2700000" algn="tl">
                    <a:srgbClr val="000000">
                      <a:alpha val="43137"/>
                    </a:srgbClr>
                  </a:outerShdw>
                </a:effectLst>
              </a:rPr>
              <a:pPr fontAlgn="base">
                <a:spcBef>
                  <a:spcPct val="0"/>
                </a:spcBef>
                <a:spcAft>
                  <a:spcPct val="0"/>
                </a:spcAft>
                <a:defRPr/>
              </a:pPr>
              <a:t>2017/12/7</a:t>
            </a:fld>
            <a:endParaRPr lang="zh-CN" altLang="en-US">
              <a:solidFill>
                <a:prstClr val="black"/>
              </a:solidFill>
              <a:effectLst>
                <a:outerShdw blurRad="38100" dist="38100" dir="2700000" algn="tl">
                  <a:srgbClr val="000000">
                    <a:alpha val="43137"/>
                  </a:srgbClr>
                </a:outerShdw>
              </a:effectLst>
            </a:endParaRPr>
          </a:p>
        </p:txBody>
      </p:sp>
      <p:sp>
        <p:nvSpPr>
          <p:cNvPr id="6" name="页脚占位符 4"/>
          <p:cNvSpPr>
            <a:spLocks noGrp="1"/>
          </p:cNvSpPr>
          <p:nvPr>
            <p:ph type="ftr" sz="quarter" idx="11"/>
          </p:nvPr>
        </p:nvSpPr>
        <p:spPr>
          <a:xfrm>
            <a:off x="3028950" y="6356350"/>
            <a:ext cx="3086100" cy="365125"/>
          </a:xfrm>
          <a:prstGeom prst="rect">
            <a:avLst/>
          </a:prstGeom>
        </p:spPr>
        <p:txBody>
          <a:bodyPr lIns="91389" tIns="45694" rIns="91389" bIns="45694"/>
          <a:lstStyle>
            <a:lvl1pPr>
              <a:defRPr>
                <a:latin typeface="Arial" charset="0"/>
              </a:defRPr>
            </a:lvl1pPr>
          </a:lstStyle>
          <a:p>
            <a:pPr fontAlgn="base">
              <a:spcBef>
                <a:spcPct val="0"/>
              </a:spcBef>
              <a:spcAft>
                <a:spcPct val="0"/>
              </a:spcAft>
              <a:defRPr/>
            </a:pPr>
            <a:endParaRPr lang="zh-CN" altLang="en-US">
              <a:solidFill>
                <a:prstClr val="black"/>
              </a:solidFill>
              <a:effectLst>
                <a:outerShdw blurRad="38100" dist="38100" dir="2700000" algn="tl">
                  <a:srgbClr val="000000">
                    <a:alpha val="43137"/>
                  </a:srgbClr>
                </a:outerShdw>
              </a:effectLst>
            </a:endParaRPr>
          </a:p>
        </p:txBody>
      </p:sp>
      <p:sp>
        <p:nvSpPr>
          <p:cNvPr id="7" name="灯片编号占位符 5"/>
          <p:cNvSpPr>
            <a:spLocks noGrp="1"/>
          </p:cNvSpPr>
          <p:nvPr>
            <p:ph type="sldNum" sz="quarter" idx="12"/>
          </p:nvPr>
        </p:nvSpPr>
        <p:spPr>
          <a:xfrm>
            <a:off x="6457950" y="6356350"/>
            <a:ext cx="2057400" cy="365125"/>
          </a:xfrm>
          <a:prstGeom prst="rect">
            <a:avLst/>
          </a:prstGeom>
        </p:spPr>
        <p:txBody>
          <a:bodyPr lIns="91389" tIns="45694" rIns="91389" bIns="45694"/>
          <a:lstStyle>
            <a:lvl1pPr>
              <a:defRPr>
                <a:latin typeface="Arial" charset="0"/>
              </a:defRPr>
            </a:lvl1pPr>
          </a:lstStyle>
          <a:p>
            <a:pPr fontAlgn="base">
              <a:spcBef>
                <a:spcPct val="0"/>
              </a:spcBef>
              <a:spcAft>
                <a:spcPct val="0"/>
              </a:spcAft>
              <a:defRPr/>
            </a:pPr>
            <a:fld id="{7E63D36B-F305-4E33-9CF8-DE0D3BB965C2}" type="slidenum">
              <a:rPr lang="zh-CN" altLang="en-US">
                <a:solidFill>
                  <a:prstClr val="black"/>
                </a:solidFill>
                <a:effectLst>
                  <a:outerShdw blurRad="38100" dist="38100" dir="2700000" algn="tl">
                    <a:srgbClr val="000000">
                      <a:alpha val="43137"/>
                    </a:srgbClr>
                  </a:outerShdw>
                </a:effectLst>
              </a:rPr>
              <a:pPr fontAlgn="base">
                <a:spcBef>
                  <a:spcPct val="0"/>
                </a:spcBef>
                <a:spcAft>
                  <a:spcPct val="0"/>
                </a:spcAft>
                <a:defRPr/>
              </a:pPr>
              <a:t>‹#›</a:t>
            </a:fld>
            <a:endParaRPr lang="zh-CN" altLang="en-US">
              <a:solidFill>
                <a:prstClr val="black"/>
              </a:solidFill>
              <a:effectLst>
                <a:outerShdw blurRad="38100" dist="38100" dir="2700000" algn="tl">
                  <a:srgbClr val="000000">
                    <a:alpha val="43137"/>
                  </a:srgbClr>
                </a:outerShdw>
              </a:effectLst>
            </a:endParaRP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629841" y="365133"/>
            <a:ext cx="7886700" cy="1325563"/>
          </a:xfrm>
          <a:prstGeom prst="rect">
            <a:avLst/>
          </a:prstGeom>
        </p:spPr>
        <p:txBody>
          <a:bodyPr lIns="91389" tIns="45694" rIns="91389" bIns="45694"/>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629842" y="1681163"/>
            <a:ext cx="3868340" cy="823912"/>
          </a:xfrm>
          <a:prstGeom prst="rect">
            <a:avLst/>
          </a:prstGeom>
        </p:spPr>
        <p:txBody>
          <a:bodyPr lIns="91389" tIns="45694" rIns="91389" bIns="45694" anchor="b"/>
          <a:lstStyle>
            <a:lvl1pPr marL="0" indent="0">
              <a:buNone/>
              <a:defRPr sz="2500" b="1"/>
            </a:lvl1pPr>
            <a:lvl2pPr marL="456945" indent="0">
              <a:buNone/>
              <a:defRPr sz="2000" b="1"/>
            </a:lvl2pPr>
            <a:lvl3pPr marL="913890" indent="0">
              <a:buNone/>
              <a:defRPr sz="1800" b="1"/>
            </a:lvl3pPr>
            <a:lvl4pPr marL="1370836" indent="0">
              <a:buNone/>
              <a:defRPr sz="1600" b="1"/>
            </a:lvl4pPr>
            <a:lvl5pPr marL="1827781" indent="0">
              <a:buNone/>
              <a:defRPr sz="1600" b="1"/>
            </a:lvl5pPr>
            <a:lvl6pPr marL="2284726" indent="0">
              <a:buNone/>
              <a:defRPr sz="1600" b="1"/>
            </a:lvl6pPr>
            <a:lvl7pPr marL="2741672" indent="0">
              <a:buNone/>
              <a:defRPr sz="1600" b="1"/>
            </a:lvl7pPr>
            <a:lvl8pPr marL="3198616" indent="0">
              <a:buNone/>
              <a:defRPr sz="1600" b="1"/>
            </a:lvl8pPr>
            <a:lvl9pPr marL="3655563" indent="0">
              <a:buNone/>
              <a:defRPr sz="1600" b="1"/>
            </a:lvl9pPr>
          </a:lstStyle>
          <a:p>
            <a:pPr lvl="0"/>
            <a:r>
              <a:rPr lang="zh-CN" altLang="en-US" smtClean="0"/>
              <a:t>单击此处编辑母版文本样式</a:t>
            </a:r>
          </a:p>
        </p:txBody>
      </p:sp>
      <p:sp>
        <p:nvSpPr>
          <p:cNvPr id="4" name="内容占位符 3"/>
          <p:cNvSpPr>
            <a:spLocks noGrp="1"/>
          </p:cNvSpPr>
          <p:nvPr>
            <p:ph sz="half" idx="2"/>
          </p:nvPr>
        </p:nvSpPr>
        <p:spPr>
          <a:xfrm>
            <a:off x="629842" y="2505080"/>
            <a:ext cx="3868340" cy="3684588"/>
          </a:xfrm>
          <a:prstGeom prst="rect">
            <a:avLst/>
          </a:prstGeom>
        </p:spPr>
        <p:txBody>
          <a:bodyPr lIns="91389" tIns="45694" rIns="91389" bIns="45694"/>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文本占位符 4"/>
          <p:cNvSpPr>
            <a:spLocks noGrp="1"/>
          </p:cNvSpPr>
          <p:nvPr>
            <p:ph type="body" sz="quarter" idx="3"/>
          </p:nvPr>
        </p:nvSpPr>
        <p:spPr>
          <a:xfrm>
            <a:off x="4629157" y="1681163"/>
            <a:ext cx="3887391" cy="823912"/>
          </a:xfrm>
          <a:prstGeom prst="rect">
            <a:avLst/>
          </a:prstGeom>
        </p:spPr>
        <p:txBody>
          <a:bodyPr lIns="91389" tIns="45694" rIns="91389" bIns="45694" anchor="b"/>
          <a:lstStyle>
            <a:lvl1pPr marL="0" indent="0">
              <a:buNone/>
              <a:defRPr sz="2500" b="1"/>
            </a:lvl1pPr>
            <a:lvl2pPr marL="456945" indent="0">
              <a:buNone/>
              <a:defRPr sz="2000" b="1"/>
            </a:lvl2pPr>
            <a:lvl3pPr marL="913890" indent="0">
              <a:buNone/>
              <a:defRPr sz="1800" b="1"/>
            </a:lvl3pPr>
            <a:lvl4pPr marL="1370836" indent="0">
              <a:buNone/>
              <a:defRPr sz="1600" b="1"/>
            </a:lvl4pPr>
            <a:lvl5pPr marL="1827781" indent="0">
              <a:buNone/>
              <a:defRPr sz="1600" b="1"/>
            </a:lvl5pPr>
            <a:lvl6pPr marL="2284726" indent="0">
              <a:buNone/>
              <a:defRPr sz="1600" b="1"/>
            </a:lvl6pPr>
            <a:lvl7pPr marL="2741672" indent="0">
              <a:buNone/>
              <a:defRPr sz="1600" b="1"/>
            </a:lvl7pPr>
            <a:lvl8pPr marL="3198616" indent="0">
              <a:buNone/>
              <a:defRPr sz="1600" b="1"/>
            </a:lvl8pPr>
            <a:lvl9pPr marL="3655563" indent="0">
              <a:buNone/>
              <a:defRPr sz="1600" b="1"/>
            </a:lvl9pPr>
          </a:lstStyle>
          <a:p>
            <a:pPr lvl="0"/>
            <a:r>
              <a:rPr lang="zh-CN" altLang="en-US" smtClean="0"/>
              <a:t>单击此处编辑母版文本样式</a:t>
            </a:r>
          </a:p>
        </p:txBody>
      </p:sp>
      <p:sp>
        <p:nvSpPr>
          <p:cNvPr id="6" name="内容占位符 5"/>
          <p:cNvSpPr>
            <a:spLocks noGrp="1"/>
          </p:cNvSpPr>
          <p:nvPr>
            <p:ph sz="quarter" idx="4"/>
          </p:nvPr>
        </p:nvSpPr>
        <p:spPr>
          <a:xfrm>
            <a:off x="4629157" y="2505080"/>
            <a:ext cx="3887391" cy="3684588"/>
          </a:xfrm>
          <a:prstGeom prst="rect">
            <a:avLst/>
          </a:prstGeom>
        </p:spPr>
        <p:txBody>
          <a:bodyPr lIns="91389" tIns="45694" rIns="91389" bIns="45694"/>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7" name="日期占位符 3"/>
          <p:cNvSpPr>
            <a:spLocks noGrp="1"/>
          </p:cNvSpPr>
          <p:nvPr>
            <p:ph type="dt" sz="half" idx="10"/>
          </p:nvPr>
        </p:nvSpPr>
        <p:spPr>
          <a:xfrm>
            <a:off x="628650" y="6356350"/>
            <a:ext cx="2057400" cy="365125"/>
          </a:xfrm>
          <a:prstGeom prst="rect">
            <a:avLst/>
          </a:prstGeom>
        </p:spPr>
        <p:txBody>
          <a:bodyPr lIns="91389" tIns="45694" rIns="91389" bIns="45694"/>
          <a:lstStyle>
            <a:lvl1pPr>
              <a:defRPr>
                <a:latin typeface="Arial" charset="0"/>
              </a:defRPr>
            </a:lvl1pPr>
          </a:lstStyle>
          <a:p>
            <a:pPr fontAlgn="base">
              <a:spcBef>
                <a:spcPct val="0"/>
              </a:spcBef>
              <a:spcAft>
                <a:spcPct val="0"/>
              </a:spcAft>
              <a:defRPr/>
            </a:pPr>
            <a:fld id="{22032FAB-9CF6-4E0A-BC36-5163B708D80A}" type="datetimeFigureOut">
              <a:rPr lang="zh-CN" altLang="en-US">
                <a:solidFill>
                  <a:prstClr val="black"/>
                </a:solidFill>
                <a:effectLst>
                  <a:outerShdw blurRad="38100" dist="38100" dir="2700000" algn="tl">
                    <a:srgbClr val="000000">
                      <a:alpha val="43137"/>
                    </a:srgbClr>
                  </a:outerShdw>
                </a:effectLst>
              </a:rPr>
              <a:pPr fontAlgn="base">
                <a:spcBef>
                  <a:spcPct val="0"/>
                </a:spcBef>
                <a:spcAft>
                  <a:spcPct val="0"/>
                </a:spcAft>
                <a:defRPr/>
              </a:pPr>
              <a:t>2017/12/7</a:t>
            </a:fld>
            <a:endParaRPr lang="zh-CN" altLang="en-US">
              <a:solidFill>
                <a:prstClr val="black"/>
              </a:solidFill>
              <a:effectLst>
                <a:outerShdw blurRad="38100" dist="38100" dir="2700000" algn="tl">
                  <a:srgbClr val="000000">
                    <a:alpha val="43137"/>
                  </a:srgbClr>
                </a:outerShdw>
              </a:effectLst>
            </a:endParaRPr>
          </a:p>
        </p:txBody>
      </p:sp>
      <p:sp>
        <p:nvSpPr>
          <p:cNvPr id="8" name="页脚占位符 4"/>
          <p:cNvSpPr>
            <a:spLocks noGrp="1"/>
          </p:cNvSpPr>
          <p:nvPr>
            <p:ph type="ftr" sz="quarter" idx="11"/>
          </p:nvPr>
        </p:nvSpPr>
        <p:spPr>
          <a:xfrm>
            <a:off x="3028950" y="6356350"/>
            <a:ext cx="3086100" cy="365125"/>
          </a:xfrm>
          <a:prstGeom prst="rect">
            <a:avLst/>
          </a:prstGeom>
        </p:spPr>
        <p:txBody>
          <a:bodyPr lIns="91389" tIns="45694" rIns="91389" bIns="45694"/>
          <a:lstStyle>
            <a:lvl1pPr>
              <a:defRPr>
                <a:latin typeface="Arial" charset="0"/>
              </a:defRPr>
            </a:lvl1pPr>
          </a:lstStyle>
          <a:p>
            <a:pPr fontAlgn="base">
              <a:spcBef>
                <a:spcPct val="0"/>
              </a:spcBef>
              <a:spcAft>
                <a:spcPct val="0"/>
              </a:spcAft>
              <a:defRPr/>
            </a:pPr>
            <a:endParaRPr lang="zh-CN" altLang="en-US">
              <a:solidFill>
                <a:prstClr val="black"/>
              </a:solidFill>
              <a:effectLst>
                <a:outerShdw blurRad="38100" dist="38100" dir="2700000" algn="tl">
                  <a:srgbClr val="000000">
                    <a:alpha val="43137"/>
                  </a:srgbClr>
                </a:outerShdw>
              </a:effectLst>
            </a:endParaRPr>
          </a:p>
        </p:txBody>
      </p:sp>
      <p:sp>
        <p:nvSpPr>
          <p:cNvPr id="9" name="灯片编号占位符 5"/>
          <p:cNvSpPr>
            <a:spLocks noGrp="1"/>
          </p:cNvSpPr>
          <p:nvPr>
            <p:ph type="sldNum" sz="quarter" idx="12"/>
          </p:nvPr>
        </p:nvSpPr>
        <p:spPr>
          <a:xfrm>
            <a:off x="6457950" y="6356350"/>
            <a:ext cx="2057400" cy="365125"/>
          </a:xfrm>
          <a:prstGeom prst="rect">
            <a:avLst/>
          </a:prstGeom>
        </p:spPr>
        <p:txBody>
          <a:bodyPr lIns="91389" tIns="45694" rIns="91389" bIns="45694"/>
          <a:lstStyle>
            <a:lvl1pPr>
              <a:defRPr>
                <a:latin typeface="Arial" charset="0"/>
              </a:defRPr>
            </a:lvl1pPr>
          </a:lstStyle>
          <a:p>
            <a:pPr fontAlgn="base">
              <a:spcBef>
                <a:spcPct val="0"/>
              </a:spcBef>
              <a:spcAft>
                <a:spcPct val="0"/>
              </a:spcAft>
              <a:defRPr/>
            </a:pPr>
            <a:fld id="{8439A317-821D-4AD8-8136-EAD70BBE13AB}" type="slidenum">
              <a:rPr lang="zh-CN" altLang="en-US">
                <a:solidFill>
                  <a:prstClr val="black"/>
                </a:solidFill>
                <a:effectLst>
                  <a:outerShdw blurRad="38100" dist="38100" dir="2700000" algn="tl">
                    <a:srgbClr val="000000">
                      <a:alpha val="43137"/>
                    </a:srgbClr>
                  </a:outerShdw>
                </a:effectLst>
              </a:rPr>
              <a:pPr fontAlgn="base">
                <a:spcBef>
                  <a:spcPct val="0"/>
                </a:spcBef>
                <a:spcAft>
                  <a:spcPct val="0"/>
                </a:spcAft>
                <a:defRPr/>
              </a:pPr>
              <a:t>‹#›</a:t>
            </a:fld>
            <a:endParaRPr lang="zh-CN" altLang="en-US">
              <a:solidFill>
                <a:prstClr val="black"/>
              </a:solidFill>
              <a:effectLst>
                <a:outerShdw blurRad="38100" dist="38100" dir="2700000" algn="tl">
                  <a:srgbClr val="000000">
                    <a:alpha val="43137"/>
                  </a:srgbClr>
                </a:outerShdw>
              </a:effectLst>
            </a:endParaRP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pic>
        <p:nvPicPr>
          <p:cNvPr id="3" name="Picture 2" descr="http://down1.sucaitianxia.com/psd01/psd109/psds15334.jpg"/>
          <p:cNvPicPr>
            <a:picLocks noChangeAspect="1" noChangeArrowheads="1"/>
          </p:cNvPicPr>
          <p:nvPr userDrawn="1"/>
        </p:nvPicPr>
        <p:blipFill>
          <a:blip r:embed="rId2" cstate="print"/>
          <a:srcRect/>
          <a:stretch>
            <a:fillRect/>
          </a:stretch>
        </p:blipFill>
        <p:spPr bwMode="auto">
          <a:xfrm>
            <a:off x="0" y="0"/>
            <a:ext cx="9144000" cy="6858000"/>
          </a:xfrm>
          <a:prstGeom prst="rect">
            <a:avLst/>
          </a:prstGeom>
          <a:noFill/>
          <a:ln w="9525">
            <a:noFill/>
            <a:miter lim="800000"/>
            <a:headEnd/>
            <a:tailEnd/>
          </a:ln>
        </p:spPr>
      </p:pic>
      <p:sp>
        <p:nvSpPr>
          <p:cNvPr id="2" name="标题 1"/>
          <p:cNvSpPr>
            <a:spLocks noGrp="1"/>
          </p:cNvSpPr>
          <p:nvPr>
            <p:ph type="title"/>
          </p:nvPr>
        </p:nvSpPr>
        <p:spPr>
          <a:xfrm>
            <a:off x="675974" y="396659"/>
            <a:ext cx="2528395" cy="596572"/>
          </a:xfrm>
          <a:prstGeom prst="rect">
            <a:avLst/>
          </a:prstGeom>
        </p:spPr>
        <p:txBody>
          <a:bodyPr lIns="91389" tIns="45694" rIns="91389" bIns="45694"/>
          <a:lstStyle>
            <a:lvl1pPr algn="ctr">
              <a:defRPr sz="4100">
                <a:solidFill>
                  <a:schemeClr val="bg1"/>
                </a:solidFill>
                <a:latin typeface="黑体" pitchFamily="49" charset="-122"/>
                <a:ea typeface="黑体" pitchFamily="49" charset="-122"/>
              </a:defRPr>
            </a:lvl1pPr>
          </a:lstStyle>
          <a:p>
            <a:r>
              <a:rPr lang="zh-CN" altLang="en-US" dirty="0" smtClean="0"/>
              <a:t>单击</a:t>
            </a:r>
            <a:endParaRPr lang="zh-CN" altLang="en-US" dirty="0"/>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3"/>
          <p:cNvSpPr>
            <a:spLocks noGrp="1"/>
          </p:cNvSpPr>
          <p:nvPr>
            <p:ph type="dt" sz="half" idx="10"/>
          </p:nvPr>
        </p:nvSpPr>
        <p:spPr>
          <a:xfrm>
            <a:off x="628650" y="6356350"/>
            <a:ext cx="2057400" cy="365125"/>
          </a:xfrm>
          <a:prstGeom prst="rect">
            <a:avLst/>
          </a:prstGeom>
        </p:spPr>
        <p:txBody>
          <a:bodyPr lIns="91389" tIns="45694" rIns="91389" bIns="45694"/>
          <a:lstStyle>
            <a:lvl1pPr>
              <a:defRPr>
                <a:latin typeface="Arial" charset="0"/>
              </a:defRPr>
            </a:lvl1pPr>
          </a:lstStyle>
          <a:p>
            <a:pPr fontAlgn="base">
              <a:spcBef>
                <a:spcPct val="0"/>
              </a:spcBef>
              <a:spcAft>
                <a:spcPct val="0"/>
              </a:spcAft>
              <a:defRPr/>
            </a:pPr>
            <a:fld id="{17C453EE-BED6-46BA-8EE1-7A10DD6C3B33}" type="datetimeFigureOut">
              <a:rPr lang="zh-CN" altLang="en-US">
                <a:solidFill>
                  <a:prstClr val="black"/>
                </a:solidFill>
                <a:effectLst>
                  <a:outerShdw blurRad="38100" dist="38100" dir="2700000" algn="tl">
                    <a:srgbClr val="000000">
                      <a:alpha val="43137"/>
                    </a:srgbClr>
                  </a:outerShdw>
                </a:effectLst>
              </a:rPr>
              <a:pPr fontAlgn="base">
                <a:spcBef>
                  <a:spcPct val="0"/>
                </a:spcBef>
                <a:spcAft>
                  <a:spcPct val="0"/>
                </a:spcAft>
                <a:defRPr/>
              </a:pPr>
              <a:t>2017/12/7</a:t>
            </a:fld>
            <a:endParaRPr lang="zh-CN" altLang="en-US">
              <a:solidFill>
                <a:prstClr val="black"/>
              </a:solidFill>
              <a:effectLst>
                <a:outerShdw blurRad="38100" dist="38100" dir="2700000" algn="tl">
                  <a:srgbClr val="000000">
                    <a:alpha val="43137"/>
                  </a:srgbClr>
                </a:outerShdw>
              </a:effectLst>
            </a:endParaRPr>
          </a:p>
        </p:txBody>
      </p:sp>
      <p:sp>
        <p:nvSpPr>
          <p:cNvPr id="3" name="页脚占位符 4"/>
          <p:cNvSpPr>
            <a:spLocks noGrp="1"/>
          </p:cNvSpPr>
          <p:nvPr>
            <p:ph type="ftr" sz="quarter" idx="11"/>
          </p:nvPr>
        </p:nvSpPr>
        <p:spPr>
          <a:xfrm>
            <a:off x="3028950" y="6356350"/>
            <a:ext cx="3086100" cy="365125"/>
          </a:xfrm>
          <a:prstGeom prst="rect">
            <a:avLst/>
          </a:prstGeom>
        </p:spPr>
        <p:txBody>
          <a:bodyPr lIns="91389" tIns="45694" rIns="91389" bIns="45694"/>
          <a:lstStyle>
            <a:lvl1pPr>
              <a:defRPr>
                <a:latin typeface="Arial" charset="0"/>
              </a:defRPr>
            </a:lvl1pPr>
          </a:lstStyle>
          <a:p>
            <a:pPr fontAlgn="base">
              <a:spcBef>
                <a:spcPct val="0"/>
              </a:spcBef>
              <a:spcAft>
                <a:spcPct val="0"/>
              </a:spcAft>
              <a:defRPr/>
            </a:pPr>
            <a:endParaRPr lang="zh-CN" altLang="en-US">
              <a:solidFill>
                <a:prstClr val="black"/>
              </a:solidFill>
              <a:effectLst>
                <a:outerShdw blurRad="38100" dist="38100" dir="2700000" algn="tl">
                  <a:srgbClr val="000000">
                    <a:alpha val="43137"/>
                  </a:srgbClr>
                </a:outerShdw>
              </a:effectLst>
            </a:endParaRPr>
          </a:p>
        </p:txBody>
      </p:sp>
      <p:sp>
        <p:nvSpPr>
          <p:cNvPr id="4" name="灯片编号占位符 5"/>
          <p:cNvSpPr>
            <a:spLocks noGrp="1"/>
          </p:cNvSpPr>
          <p:nvPr>
            <p:ph type="sldNum" sz="quarter" idx="12"/>
          </p:nvPr>
        </p:nvSpPr>
        <p:spPr>
          <a:xfrm>
            <a:off x="6457950" y="6356350"/>
            <a:ext cx="2057400" cy="365125"/>
          </a:xfrm>
          <a:prstGeom prst="rect">
            <a:avLst/>
          </a:prstGeom>
        </p:spPr>
        <p:txBody>
          <a:bodyPr lIns="91389" tIns="45694" rIns="91389" bIns="45694"/>
          <a:lstStyle>
            <a:lvl1pPr>
              <a:defRPr>
                <a:latin typeface="Arial" charset="0"/>
              </a:defRPr>
            </a:lvl1pPr>
          </a:lstStyle>
          <a:p>
            <a:pPr fontAlgn="base">
              <a:spcBef>
                <a:spcPct val="0"/>
              </a:spcBef>
              <a:spcAft>
                <a:spcPct val="0"/>
              </a:spcAft>
              <a:defRPr/>
            </a:pPr>
            <a:fld id="{E7127B62-C036-4439-860E-13A45D143276}" type="slidenum">
              <a:rPr lang="zh-CN" altLang="en-US">
                <a:solidFill>
                  <a:prstClr val="black"/>
                </a:solidFill>
                <a:effectLst>
                  <a:outerShdw blurRad="38100" dist="38100" dir="2700000" algn="tl">
                    <a:srgbClr val="000000">
                      <a:alpha val="43137"/>
                    </a:srgbClr>
                  </a:outerShdw>
                </a:effectLst>
              </a:rPr>
              <a:pPr fontAlgn="base">
                <a:spcBef>
                  <a:spcPct val="0"/>
                </a:spcBef>
                <a:spcAft>
                  <a:spcPct val="0"/>
                </a:spcAft>
                <a:defRPr/>
              </a:pPr>
              <a:t>‹#›</a:t>
            </a:fld>
            <a:endParaRPr lang="zh-CN" altLang="en-US">
              <a:solidFill>
                <a:prstClr val="black"/>
              </a:solidFill>
              <a:effectLst>
                <a:outerShdw blurRad="38100" dist="38100" dir="2700000" algn="tl">
                  <a:srgbClr val="000000">
                    <a:alpha val="43137"/>
                  </a:srgbClr>
                </a:outerShdw>
              </a:effectLst>
            </a:endParaRP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629844" y="457200"/>
            <a:ext cx="2949178" cy="1600200"/>
          </a:xfrm>
          <a:prstGeom prst="rect">
            <a:avLst/>
          </a:prstGeom>
        </p:spPr>
        <p:txBody>
          <a:bodyPr lIns="91389" tIns="45694" rIns="91389" bIns="45694" anchor="b"/>
          <a:lstStyle>
            <a:lvl1pPr>
              <a:defRPr sz="3200"/>
            </a:lvl1pPr>
          </a:lstStyle>
          <a:p>
            <a:r>
              <a:rPr lang="zh-CN" altLang="en-US" smtClean="0"/>
              <a:t>单击此处编辑母版标题样式</a:t>
            </a:r>
            <a:endParaRPr lang="zh-CN" altLang="en-US"/>
          </a:p>
        </p:txBody>
      </p:sp>
      <p:sp>
        <p:nvSpPr>
          <p:cNvPr id="3" name="内容占位符 2"/>
          <p:cNvSpPr>
            <a:spLocks noGrp="1"/>
          </p:cNvSpPr>
          <p:nvPr>
            <p:ph idx="1"/>
          </p:nvPr>
        </p:nvSpPr>
        <p:spPr>
          <a:xfrm>
            <a:off x="3887391" y="987460"/>
            <a:ext cx="4629150" cy="4873625"/>
          </a:xfrm>
          <a:prstGeom prst="rect">
            <a:avLst/>
          </a:prstGeom>
        </p:spPr>
        <p:txBody>
          <a:bodyPr lIns="91389" tIns="45694" rIns="91389" bIns="45694"/>
          <a:lstStyle>
            <a:lvl1pPr>
              <a:defRPr sz="3200"/>
            </a:lvl1pPr>
            <a:lvl2pPr>
              <a:defRPr sz="2800"/>
            </a:lvl2pPr>
            <a:lvl3pPr>
              <a:defRPr sz="2500"/>
            </a:lvl3pPr>
            <a:lvl4pPr>
              <a:defRPr sz="2000"/>
            </a:lvl4pPr>
            <a:lvl5pPr>
              <a:defRPr sz="2000"/>
            </a:lvl5pPr>
            <a:lvl6pPr>
              <a:defRPr sz="2000"/>
            </a:lvl6pPr>
            <a:lvl7pPr>
              <a:defRPr sz="2000"/>
            </a:lvl7pPr>
            <a:lvl8pPr>
              <a:defRPr sz="2000"/>
            </a:lvl8pPr>
            <a:lvl9pPr>
              <a:defRPr sz="20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文本占位符 3"/>
          <p:cNvSpPr>
            <a:spLocks noGrp="1"/>
          </p:cNvSpPr>
          <p:nvPr>
            <p:ph type="body" sz="half" idx="2"/>
          </p:nvPr>
        </p:nvSpPr>
        <p:spPr>
          <a:xfrm>
            <a:off x="629844" y="2057407"/>
            <a:ext cx="2949178" cy="3811588"/>
          </a:xfrm>
          <a:prstGeom prst="rect">
            <a:avLst/>
          </a:prstGeom>
        </p:spPr>
        <p:txBody>
          <a:bodyPr lIns="91389" tIns="45694" rIns="91389" bIns="45694"/>
          <a:lstStyle>
            <a:lvl1pPr marL="0" indent="0">
              <a:buNone/>
              <a:defRPr sz="1600"/>
            </a:lvl1pPr>
            <a:lvl2pPr marL="456945" indent="0">
              <a:buNone/>
              <a:defRPr sz="1400"/>
            </a:lvl2pPr>
            <a:lvl3pPr marL="913890" indent="0">
              <a:buNone/>
              <a:defRPr sz="1200"/>
            </a:lvl3pPr>
            <a:lvl4pPr marL="1370836" indent="0">
              <a:buNone/>
              <a:defRPr sz="1000"/>
            </a:lvl4pPr>
            <a:lvl5pPr marL="1827781" indent="0">
              <a:buNone/>
              <a:defRPr sz="1000"/>
            </a:lvl5pPr>
            <a:lvl6pPr marL="2284726" indent="0">
              <a:buNone/>
              <a:defRPr sz="1000"/>
            </a:lvl6pPr>
            <a:lvl7pPr marL="2741672" indent="0">
              <a:buNone/>
              <a:defRPr sz="1000"/>
            </a:lvl7pPr>
            <a:lvl8pPr marL="3198616" indent="0">
              <a:buNone/>
              <a:defRPr sz="1000"/>
            </a:lvl8pPr>
            <a:lvl9pPr marL="3655563" indent="0">
              <a:buNone/>
              <a:defRPr sz="1000"/>
            </a:lvl9pPr>
          </a:lstStyle>
          <a:p>
            <a:pPr lvl="0"/>
            <a:r>
              <a:rPr lang="zh-CN" altLang="en-US" smtClean="0"/>
              <a:t>单击此处编辑母版文本样式</a:t>
            </a:r>
          </a:p>
        </p:txBody>
      </p:sp>
      <p:sp>
        <p:nvSpPr>
          <p:cNvPr id="5" name="日期占位符 3"/>
          <p:cNvSpPr>
            <a:spLocks noGrp="1"/>
          </p:cNvSpPr>
          <p:nvPr>
            <p:ph type="dt" sz="half" idx="10"/>
          </p:nvPr>
        </p:nvSpPr>
        <p:spPr>
          <a:xfrm>
            <a:off x="628650" y="6356350"/>
            <a:ext cx="2057400" cy="365125"/>
          </a:xfrm>
          <a:prstGeom prst="rect">
            <a:avLst/>
          </a:prstGeom>
        </p:spPr>
        <p:txBody>
          <a:bodyPr lIns="91389" tIns="45694" rIns="91389" bIns="45694"/>
          <a:lstStyle>
            <a:lvl1pPr>
              <a:defRPr>
                <a:latin typeface="Arial" charset="0"/>
              </a:defRPr>
            </a:lvl1pPr>
          </a:lstStyle>
          <a:p>
            <a:pPr fontAlgn="base">
              <a:spcBef>
                <a:spcPct val="0"/>
              </a:spcBef>
              <a:spcAft>
                <a:spcPct val="0"/>
              </a:spcAft>
              <a:defRPr/>
            </a:pPr>
            <a:fld id="{76A9C8AD-60D9-4D66-9C36-E6AC722E0FAF}" type="datetimeFigureOut">
              <a:rPr lang="zh-CN" altLang="en-US">
                <a:solidFill>
                  <a:prstClr val="black"/>
                </a:solidFill>
                <a:effectLst>
                  <a:outerShdw blurRad="38100" dist="38100" dir="2700000" algn="tl">
                    <a:srgbClr val="000000">
                      <a:alpha val="43137"/>
                    </a:srgbClr>
                  </a:outerShdw>
                </a:effectLst>
              </a:rPr>
              <a:pPr fontAlgn="base">
                <a:spcBef>
                  <a:spcPct val="0"/>
                </a:spcBef>
                <a:spcAft>
                  <a:spcPct val="0"/>
                </a:spcAft>
                <a:defRPr/>
              </a:pPr>
              <a:t>2017/12/7</a:t>
            </a:fld>
            <a:endParaRPr lang="zh-CN" altLang="en-US">
              <a:solidFill>
                <a:prstClr val="black"/>
              </a:solidFill>
              <a:effectLst>
                <a:outerShdw blurRad="38100" dist="38100" dir="2700000" algn="tl">
                  <a:srgbClr val="000000">
                    <a:alpha val="43137"/>
                  </a:srgbClr>
                </a:outerShdw>
              </a:effectLst>
            </a:endParaRPr>
          </a:p>
        </p:txBody>
      </p:sp>
      <p:sp>
        <p:nvSpPr>
          <p:cNvPr id="6" name="页脚占位符 4"/>
          <p:cNvSpPr>
            <a:spLocks noGrp="1"/>
          </p:cNvSpPr>
          <p:nvPr>
            <p:ph type="ftr" sz="quarter" idx="11"/>
          </p:nvPr>
        </p:nvSpPr>
        <p:spPr>
          <a:xfrm>
            <a:off x="3028950" y="6356350"/>
            <a:ext cx="3086100" cy="365125"/>
          </a:xfrm>
          <a:prstGeom prst="rect">
            <a:avLst/>
          </a:prstGeom>
        </p:spPr>
        <p:txBody>
          <a:bodyPr lIns="91389" tIns="45694" rIns="91389" bIns="45694"/>
          <a:lstStyle>
            <a:lvl1pPr>
              <a:defRPr>
                <a:latin typeface="Arial" charset="0"/>
              </a:defRPr>
            </a:lvl1pPr>
          </a:lstStyle>
          <a:p>
            <a:pPr fontAlgn="base">
              <a:spcBef>
                <a:spcPct val="0"/>
              </a:spcBef>
              <a:spcAft>
                <a:spcPct val="0"/>
              </a:spcAft>
              <a:defRPr/>
            </a:pPr>
            <a:endParaRPr lang="zh-CN" altLang="en-US">
              <a:solidFill>
                <a:prstClr val="black"/>
              </a:solidFill>
              <a:effectLst>
                <a:outerShdw blurRad="38100" dist="38100" dir="2700000" algn="tl">
                  <a:srgbClr val="000000">
                    <a:alpha val="43137"/>
                  </a:srgbClr>
                </a:outerShdw>
              </a:effectLst>
            </a:endParaRPr>
          </a:p>
        </p:txBody>
      </p:sp>
      <p:sp>
        <p:nvSpPr>
          <p:cNvPr id="7" name="灯片编号占位符 5"/>
          <p:cNvSpPr>
            <a:spLocks noGrp="1"/>
          </p:cNvSpPr>
          <p:nvPr>
            <p:ph type="sldNum" sz="quarter" idx="12"/>
          </p:nvPr>
        </p:nvSpPr>
        <p:spPr>
          <a:xfrm>
            <a:off x="6457950" y="6356350"/>
            <a:ext cx="2057400" cy="365125"/>
          </a:xfrm>
          <a:prstGeom prst="rect">
            <a:avLst/>
          </a:prstGeom>
        </p:spPr>
        <p:txBody>
          <a:bodyPr lIns="91389" tIns="45694" rIns="91389" bIns="45694"/>
          <a:lstStyle>
            <a:lvl1pPr>
              <a:defRPr>
                <a:latin typeface="Arial" charset="0"/>
              </a:defRPr>
            </a:lvl1pPr>
          </a:lstStyle>
          <a:p>
            <a:pPr fontAlgn="base">
              <a:spcBef>
                <a:spcPct val="0"/>
              </a:spcBef>
              <a:spcAft>
                <a:spcPct val="0"/>
              </a:spcAft>
              <a:defRPr/>
            </a:pPr>
            <a:fld id="{DD11E1DA-7F80-48B1-BBF6-B07729D6CAD6}" type="slidenum">
              <a:rPr lang="zh-CN" altLang="en-US">
                <a:solidFill>
                  <a:prstClr val="black"/>
                </a:solidFill>
                <a:effectLst>
                  <a:outerShdw blurRad="38100" dist="38100" dir="2700000" algn="tl">
                    <a:srgbClr val="000000">
                      <a:alpha val="43137"/>
                    </a:srgbClr>
                  </a:outerShdw>
                </a:effectLst>
              </a:rPr>
              <a:pPr fontAlgn="base">
                <a:spcBef>
                  <a:spcPct val="0"/>
                </a:spcBef>
                <a:spcAft>
                  <a:spcPct val="0"/>
                </a:spcAft>
                <a:defRPr/>
              </a:pPr>
              <a:t>‹#›</a:t>
            </a:fld>
            <a:endParaRPr lang="zh-CN" altLang="en-US">
              <a:solidFill>
                <a:prstClr val="black"/>
              </a:solidFill>
              <a:effectLst>
                <a:outerShdw blurRad="38100" dist="38100" dir="2700000" algn="tl">
                  <a:srgbClr val="000000">
                    <a:alpha val="43137"/>
                  </a:srgbClr>
                </a:outerShdw>
              </a:effectLst>
            </a:endParaRP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idx="1"/>
          </p:nvPr>
        </p:nvSpPr>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p:txBody>
          <a:bodyPr/>
          <a:lstStyle/>
          <a:p>
            <a:fld id="{530820CF-B880-4189-942D-D702A7CBA730}" type="datetimeFigureOut">
              <a:rPr lang="zh-CN" altLang="en-US" smtClean="0"/>
              <a:pPr/>
              <a:t>2017/12/7</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0C913308-F349-4B6D-A68A-DD1791B4A57B}" type="slidenum">
              <a:rPr lang="zh-CN" altLang="en-US" smtClean="0"/>
              <a:pPr/>
              <a:t>‹#›</a:t>
            </a:fld>
            <a:endParaRPr lang="zh-CN" altLang="en-US"/>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629844" y="457200"/>
            <a:ext cx="2949178" cy="1600200"/>
          </a:xfrm>
          <a:prstGeom prst="rect">
            <a:avLst/>
          </a:prstGeom>
        </p:spPr>
        <p:txBody>
          <a:bodyPr lIns="91389" tIns="45694" rIns="91389" bIns="45694" anchor="b"/>
          <a:lstStyle>
            <a:lvl1pPr>
              <a:defRPr sz="3200"/>
            </a:lvl1pPr>
          </a:lstStyle>
          <a:p>
            <a:r>
              <a:rPr lang="zh-CN" altLang="en-US" smtClean="0"/>
              <a:t>单击此处编辑母版标题样式</a:t>
            </a:r>
            <a:endParaRPr lang="zh-CN" altLang="en-US"/>
          </a:p>
        </p:txBody>
      </p:sp>
      <p:sp>
        <p:nvSpPr>
          <p:cNvPr id="3" name="图片占位符 2"/>
          <p:cNvSpPr>
            <a:spLocks noGrp="1"/>
          </p:cNvSpPr>
          <p:nvPr>
            <p:ph type="pic" idx="1"/>
          </p:nvPr>
        </p:nvSpPr>
        <p:spPr>
          <a:xfrm>
            <a:off x="3887391" y="987460"/>
            <a:ext cx="4629150" cy="4873625"/>
          </a:xfrm>
          <a:prstGeom prst="rect">
            <a:avLst/>
          </a:prstGeom>
        </p:spPr>
        <p:txBody>
          <a:bodyPr lIns="91389" tIns="45694" rIns="91389" bIns="45694" rtlCol="0">
            <a:normAutofit/>
          </a:bodyPr>
          <a:lstStyle>
            <a:lvl1pPr marL="0" indent="0">
              <a:buNone/>
              <a:defRPr sz="3200"/>
            </a:lvl1pPr>
            <a:lvl2pPr marL="456945" indent="0">
              <a:buNone/>
              <a:defRPr sz="2800"/>
            </a:lvl2pPr>
            <a:lvl3pPr marL="913890" indent="0">
              <a:buNone/>
              <a:defRPr sz="2500"/>
            </a:lvl3pPr>
            <a:lvl4pPr marL="1370836" indent="0">
              <a:buNone/>
              <a:defRPr sz="2000"/>
            </a:lvl4pPr>
            <a:lvl5pPr marL="1827781" indent="0">
              <a:buNone/>
              <a:defRPr sz="2000"/>
            </a:lvl5pPr>
            <a:lvl6pPr marL="2284726" indent="0">
              <a:buNone/>
              <a:defRPr sz="2000"/>
            </a:lvl6pPr>
            <a:lvl7pPr marL="2741672" indent="0">
              <a:buNone/>
              <a:defRPr sz="2000"/>
            </a:lvl7pPr>
            <a:lvl8pPr marL="3198616" indent="0">
              <a:buNone/>
              <a:defRPr sz="2000"/>
            </a:lvl8pPr>
            <a:lvl9pPr marL="3655563" indent="0">
              <a:buNone/>
              <a:defRPr sz="2000"/>
            </a:lvl9pPr>
          </a:lstStyle>
          <a:p>
            <a:pPr lvl="0"/>
            <a:endParaRPr lang="zh-CN" altLang="en-US" noProof="0"/>
          </a:p>
        </p:txBody>
      </p:sp>
      <p:sp>
        <p:nvSpPr>
          <p:cNvPr id="4" name="文本占位符 3"/>
          <p:cNvSpPr>
            <a:spLocks noGrp="1"/>
          </p:cNvSpPr>
          <p:nvPr>
            <p:ph type="body" sz="half" idx="2"/>
          </p:nvPr>
        </p:nvSpPr>
        <p:spPr>
          <a:xfrm>
            <a:off x="629844" y="2057407"/>
            <a:ext cx="2949178" cy="3811588"/>
          </a:xfrm>
          <a:prstGeom prst="rect">
            <a:avLst/>
          </a:prstGeom>
        </p:spPr>
        <p:txBody>
          <a:bodyPr lIns="91389" tIns="45694" rIns="91389" bIns="45694"/>
          <a:lstStyle>
            <a:lvl1pPr marL="0" indent="0">
              <a:buNone/>
              <a:defRPr sz="1600"/>
            </a:lvl1pPr>
            <a:lvl2pPr marL="456945" indent="0">
              <a:buNone/>
              <a:defRPr sz="1400"/>
            </a:lvl2pPr>
            <a:lvl3pPr marL="913890" indent="0">
              <a:buNone/>
              <a:defRPr sz="1200"/>
            </a:lvl3pPr>
            <a:lvl4pPr marL="1370836" indent="0">
              <a:buNone/>
              <a:defRPr sz="1000"/>
            </a:lvl4pPr>
            <a:lvl5pPr marL="1827781" indent="0">
              <a:buNone/>
              <a:defRPr sz="1000"/>
            </a:lvl5pPr>
            <a:lvl6pPr marL="2284726" indent="0">
              <a:buNone/>
              <a:defRPr sz="1000"/>
            </a:lvl6pPr>
            <a:lvl7pPr marL="2741672" indent="0">
              <a:buNone/>
              <a:defRPr sz="1000"/>
            </a:lvl7pPr>
            <a:lvl8pPr marL="3198616" indent="0">
              <a:buNone/>
              <a:defRPr sz="1000"/>
            </a:lvl8pPr>
            <a:lvl9pPr marL="3655563" indent="0">
              <a:buNone/>
              <a:defRPr sz="1000"/>
            </a:lvl9pPr>
          </a:lstStyle>
          <a:p>
            <a:pPr lvl="0"/>
            <a:r>
              <a:rPr lang="zh-CN" altLang="en-US" smtClean="0"/>
              <a:t>单击此处编辑母版文本样式</a:t>
            </a:r>
          </a:p>
        </p:txBody>
      </p:sp>
      <p:sp>
        <p:nvSpPr>
          <p:cNvPr id="5" name="日期占位符 3"/>
          <p:cNvSpPr>
            <a:spLocks noGrp="1"/>
          </p:cNvSpPr>
          <p:nvPr>
            <p:ph type="dt" sz="half" idx="10"/>
          </p:nvPr>
        </p:nvSpPr>
        <p:spPr>
          <a:xfrm>
            <a:off x="628650" y="6356350"/>
            <a:ext cx="2057400" cy="365125"/>
          </a:xfrm>
          <a:prstGeom prst="rect">
            <a:avLst/>
          </a:prstGeom>
        </p:spPr>
        <p:txBody>
          <a:bodyPr lIns="91389" tIns="45694" rIns="91389" bIns="45694"/>
          <a:lstStyle>
            <a:lvl1pPr>
              <a:defRPr>
                <a:latin typeface="Arial" charset="0"/>
              </a:defRPr>
            </a:lvl1pPr>
          </a:lstStyle>
          <a:p>
            <a:pPr fontAlgn="base">
              <a:spcBef>
                <a:spcPct val="0"/>
              </a:spcBef>
              <a:spcAft>
                <a:spcPct val="0"/>
              </a:spcAft>
              <a:defRPr/>
            </a:pPr>
            <a:fld id="{044DEA7C-5A66-406E-AA27-E0FE0E96B19D}" type="datetimeFigureOut">
              <a:rPr lang="zh-CN" altLang="en-US">
                <a:solidFill>
                  <a:prstClr val="black"/>
                </a:solidFill>
                <a:effectLst>
                  <a:outerShdw blurRad="38100" dist="38100" dir="2700000" algn="tl">
                    <a:srgbClr val="000000">
                      <a:alpha val="43137"/>
                    </a:srgbClr>
                  </a:outerShdw>
                </a:effectLst>
              </a:rPr>
              <a:pPr fontAlgn="base">
                <a:spcBef>
                  <a:spcPct val="0"/>
                </a:spcBef>
                <a:spcAft>
                  <a:spcPct val="0"/>
                </a:spcAft>
                <a:defRPr/>
              </a:pPr>
              <a:t>2017/12/7</a:t>
            </a:fld>
            <a:endParaRPr lang="zh-CN" altLang="en-US">
              <a:solidFill>
                <a:prstClr val="black"/>
              </a:solidFill>
              <a:effectLst>
                <a:outerShdw blurRad="38100" dist="38100" dir="2700000" algn="tl">
                  <a:srgbClr val="000000">
                    <a:alpha val="43137"/>
                  </a:srgbClr>
                </a:outerShdw>
              </a:effectLst>
            </a:endParaRPr>
          </a:p>
        </p:txBody>
      </p:sp>
      <p:sp>
        <p:nvSpPr>
          <p:cNvPr id="6" name="页脚占位符 4"/>
          <p:cNvSpPr>
            <a:spLocks noGrp="1"/>
          </p:cNvSpPr>
          <p:nvPr>
            <p:ph type="ftr" sz="quarter" idx="11"/>
          </p:nvPr>
        </p:nvSpPr>
        <p:spPr>
          <a:xfrm>
            <a:off x="3028950" y="6356350"/>
            <a:ext cx="3086100" cy="365125"/>
          </a:xfrm>
          <a:prstGeom prst="rect">
            <a:avLst/>
          </a:prstGeom>
        </p:spPr>
        <p:txBody>
          <a:bodyPr lIns="91389" tIns="45694" rIns="91389" bIns="45694"/>
          <a:lstStyle>
            <a:lvl1pPr>
              <a:defRPr>
                <a:latin typeface="Arial" charset="0"/>
              </a:defRPr>
            </a:lvl1pPr>
          </a:lstStyle>
          <a:p>
            <a:pPr fontAlgn="base">
              <a:spcBef>
                <a:spcPct val="0"/>
              </a:spcBef>
              <a:spcAft>
                <a:spcPct val="0"/>
              </a:spcAft>
              <a:defRPr/>
            </a:pPr>
            <a:endParaRPr lang="zh-CN" altLang="en-US">
              <a:solidFill>
                <a:prstClr val="black"/>
              </a:solidFill>
              <a:effectLst>
                <a:outerShdw blurRad="38100" dist="38100" dir="2700000" algn="tl">
                  <a:srgbClr val="000000">
                    <a:alpha val="43137"/>
                  </a:srgbClr>
                </a:outerShdw>
              </a:effectLst>
            </a:endParaRPr>
          </a:p>
        </p:txBody>
      </p:sp>
      <p:sp>
        <p:nvSpPr>
          <p:cNvPr id="7" name="灯片编号占位符 5"/>
          <p:cNvSpPr>
            <a:spLocks noGrp="1"/>
          </p:cNvSpPr>
          <p:nvPr>
            <p:ph type="sldNum" sz="quarter" idx="12"/>
          </p:nvPr>
        </p:nvSpPr>
        <p:spPr>
          <a:xfrm>
            <a:off x="6457950" y="6356350"/>
            <a:ext cx="2057400" cy="365125"/>
          </a:xfrm>
          <a:prstGeom prst="rect">
            <a:avLst/>
          </a:prstGeom>
        </p:spPr>
        <p:txBody>
          <a:bodyPr lIns="91389" tIns="45694" rIns="91389" bIns="45694"/>
          <a:lstStyle>
            <a:lvl1pPr>
              <a:defRPr>
                <a:latin typeface="Arial" charset="0"/>
              </a:defRPr>
            </a:lvl1pPr>
          </a:lstStyle>
          <a:p>
            <a:pPr fontAlgn="base">
              <a:spcBef>
                <a:spcPct val="0"/>
              </a:spcBef>
              <a:spcAft>
                <a:spcPct val="0"/>
              </a:spcAft>
              <a:defRPr/>
            </a:pPr>
            <a:fld id="{4307D34B-8EDB-432D-8B3C-C82ABCB396EF}" type="slidenum">
              <a:rPr lang="zh-CN" altLang="en-US">
                <a:solidFill>
                  <a:prstClr val="black"/>
                </a:solidFill>
                <a:effectLst>
                  <a:outerShdw blurRad="38100" dist="38100" dir="2700000" algn="tl">
                    <a:srgbClr val="000000">
                      <a:alpha val="43137"/>
                    </a:srgbClr>
                  </a:outerShdw>
                </a:effectLst>
              </a:rPr>
              <a:pPr fontAlgn="base">
                <a:spcBef>
                  <a:spcPct val="0"/>
                </a:spcBef>
                <a:spcAft>
                  <a:spcPct val="0"/>
                </a:spcAft>
                <a:defRPr/>
              </a:pPr>
              <a:t>‹#›</a:t>
            </a:fld>
            <a:endParaRPr lang="zh-CN" altLang="en-US">
              <a:solidFill>
                <a:prstClr val="black"/>
              </a:solidFill>
              <a:effectLst>
                <a:outerShdw blurRad="38100" dist="38100" dir="2700000" algn="tl">
                  <a:srgbClr val="000000">
                    <a:alpha val="43137"/>
                  </a:srgbClr>
                </a:outerShdw>
              </a:effectLst>
            </a:endParaRP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pic>
        <p:nvPicPr>
          <p:cNvPr id="4" name="Picture 2" descr="http://down1.sucaitianxia.com/psd01/psd109/psds15334.jpg"/>
          <p:cNvPicPr>
            <a:picLocks noChangeAspect="1" noChangeArrowheads="1"/>
          </p:cNvPicPr>
          <p:nvPr userDrawn="1"/>
        </p:nvPicPr>
        <p:blipFill>
          <a:blip r:embed="rId2" cstate="print"/>
          <a:srcRect/>
          <a:stretch>
            <a:fillRect/>
          </a:stretch>
        </p:blipFill>
        <p:spPr bwMode="auto">
          <a:xfrm>
            <a:off x="0" y="0"/>
            <a:ext cx="9144000" cy="6858000"/>
          </a:xfrm>
          <a:prstGeom prst="rect">
            <a:avLst/>
          </a:prstGeom>
          <a:noFill/>
          <a:ln w="9525">
            <a:noFill/>
            <a:miter lim="800000"/>
            <a:headEnd/>
            <a:tailEnd/>
          </a:ln>
        </p:spPr>
      </p:pic>
      <p:sp>
        <p:nvSpPr>
          <p:cNvPr id="2" name="标题 1"/>
          <p:cNvSpPr>
            <a:spLocks noGrp="1"/>
          </p:cNvSpPr>
          <p:nvPr>
            <p:ph type="title"/>
          </p:nvPr>
        </p:nvSpPr>
        <p:spPr>
          <a:xfrm>
            <a:off x="628650" y="365133"/>
            <a:ext cx="7886700" cy="1325563"/>
          </a:xfrm>
          <a:prstGeom prst="rect">
            <a:avLst/>
          </a:prstGeom>
        </p:spPr>
        <p:txBody>
          <a:bodyPr lIns="91389" tIns="45694" rIns="91389" bIns="45694"/>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a:xfrm>
            <a:off x="628650" y="1825631"/>
            <a:ext cx="7886700" cy="4351339"/>
          </a:xfrm>
          <a:prstGeom prst="rect">
            <a:avLst/>
          </a:prstGeom>
        </p:spPr>
        <p:txBody>
          <a:bodyPr vert="eaVert" lIns="91389" tIns="45694" rIns="91389" bIns="45694"/>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日期占位符 3"/>
          <p:cNvSpPr>
            <a:spLocks noGrp="1"/>
          </p:cNvSpPr>
          <p:nvPr>
            <p:ph type="dt" sz="half" idx="10"/>
          </p:nvPr>
        </p:nvSpPr>
        <p:spPr>
          <a:xfrm>
            <a:off x="628650" y="6356350"/>
            <a:ext cx="2057400" cy="365125"/>
          </a:xfrm>
          <a:prstGeom prst="rect">
            <a:avLst/>
          </a:prstGeom>
        </p:spPr>
        <p:txBody>
          <a:bodyPr lIns="91389" tIns="45694" rIns="91389" bIns="45694"/>
          <a:lstStyle>
            <a:lvl1pPr>
              <a:defRPr>
                <a:latin typeface="Arial" charset="0"/>
              </a:defRPr>
            </a:lvl1pPr>
          </a:lstStyle>
          <a:p>
            <a:pPr fontAlgn="base">
              <a:spcBef>
                <a:spcPct val="0"/>
              </a:spcBef>
              <a:spcAft>
                <a:spcPct val="0"/>
              </a:spcAft>
              <a:defRPr/>
            </a:pPr>
            <a:fld id="{A4603FAD-7DDA-4E32-B632-3744E26F29CC}" type="datetimeFigureOut">
              <a:rPr lang="zh-CN" altLang="en-US">
                <a:solidFill>
                  <a:prstClr val="black"/>
                </a:solidFill>
                <a:effectLst>
                  <a:outerShdw blurRad="38100" dist="38100" dir="2700000" algn="tl">
                    <a:srgbClr val="000000">
                      <a:alpha val="43137"/>
                    </a:srgbClr>
                  </a:outerShdw>
                </a:effectLst>
              </a:rPr>
              <a:pPr fontAlgn="base">
                <a:spcBef>
                  <a:spcPct val="0"/>
                </a:spcBef>
                <a:spcAft>
                  <a:spcPct val="0"/>
                </a:spcAft>
                <a:defRPr/>
              </a:pPr>
              <a:t>2017/12/7</a:t>
            </a:fld>
            <a:endParaRPr lang="zh-CN" altLang="en-US">
              <a:solidFill>
                <a:prstClr val="black"/>
              </a:solidFill>
              <a:effectLst>
                <a:outerShdw blurRad="38100" dist="38100" dir="2700000" algn="tl">
                  <a:srgbClr val="000000">
                    <a:alpha val="43137"/>
                  </a:srgbClr>
                </a:outerShdw>
              </a:effectLst>
            </a:endParaRPr>
          </a:p>
        </p:txBody>
      </p:sp>
      <p:sp>
        <p:nvSpPr>
          <p:cNvPr id="6" name="页脚占位符 4"/>
          <p:cNvSpPr>
            <a:spLocks noGrp="1"/>
          </p:cNvSpPr>
          <p:nvPr>
            <p:ph type="ftr" sz="quarter" idx="11"/>
          </p:nvPr>
        </p:nvSpPr>
        <p:spPr>
          <a:xfrm>
            <a:off x="3028950" y="6356350"/>
            <a:ext cx="3086100" cy="365125"/>
          </a:xfrm>
          <a:prstGeom prst="rect">
            <a:avLst/>
          </a:prstGeom>
        </p:spPr>
        <p:txBody>
          <a:bodyPr lIns="91389" tIns="45694" rIns="91389" bIns="45694"/>
          <a:lstStyle>
            <a:lvl1pPr>
              <a:defRPr>
                <a:latin typeface="Arial" charset="0"/>
              </a:defRPr>
            </a:lvl1pPr>
          </a:lstStyle>
          <a:p>
            <a:pPr fontAlgn="base">
              <a:spcBef>
                <a:spcPct val="0"/>
              </a:spcBef>
              <a:spcAft>
                <a:spcPct val="0"/>
              </a:spcAft>
              <a:defRPr/>
            </a:pPr>
            <a:endParaRPr lang="zh-CN" altLang="en-US">
              <a:solidFill>
                <a:prstClr val="black"/>
              </a:solidFill>
              <a:effectLst>
                <a:outerShdw blurRad="38100" dist="38100" dir="2700000" algn="tl">
                  <a:srgbClr val="000000">
                    <a:alpha val="43137"/>
                  </a:srgbClr>
                </a:outerShdw>
              </a:effectLst>
            </a:endParaRPr>
          </a:p>
        </p:txBody>
      </p:sp>
      <p:sp>
        <p:nvSpPr>
          <p:cNvPr id="7" name="灯片编号占位符 5"/>
          <p:cNvSpPr>
            <a:spLocks noGrp="1"/>
          </p:cNvSpPr>
          <p:nvPr>
            <p:ph type="sldNum" sz="quarter" idx="12"/>
          </p:nvPr>
        </p:nvSpPr>
        <p:spPr>
          <a:xfrm>
            <a:off x="6457950" y="6356350"/>
            <a:ext cx="2057400" cy="365125"/>
          </a:xfrm>
          <a:prstGeom prst="rect">
            <a:avLst/>
          </a:prstGeom>
        </p:spPr>
        <p:txBody>
          <a:bodyPr lIns="91389" tIns="45694" rIns="91389" bIns="45694"/>
          <a:lstStyle>
            <a:lvl1pPr>
              <a:defRPr>
                <a:latin typeface="Arial" charset="0"/>
              </a:defRPr>
            </a:lvl1pPr>
          </a:lstStyle>
          <a:p>
            <a:pPr fontAlgn="base">
              <a:spcBef>
                <a:spcPct val="0"/>
              </a:spcBef>
              <a:spcAft>
                <a:spcPct val="0"/>
              </a:spcAft>
              <a:defRPr/>
            </a:pPr>
            <a:fld id="{B46AA241-8623-46F7-9297-3E3F8DD81CAE}" type="slidenum">
              <a:rPr lang="zh-CN" altLang="en-US">
                <a:solidFill>
                  <a:prstClr val="black"/>
                </a:solidFill>
                <a:effectLst>
                  <a:outerShdw blurRad="38100" dist="38100" dir="2700000" algn="tl">
                    <a:srgbClr val="000000">
                      <a:alpha val="43137"/>
                    </a:srgbClr>
                  </a:outerShdw>
                </a:effectLst>
              </a:rPr>
              <a:pPr fontAlgn="base">
                <a:spcBef>
                  <a:spcPct val="0"/>
                </a:spcBef>
                <a:spcAft>
                  <a:spcPct val="0"/>
                </a:spcAft>
                <a:defRPr/>
              </a:pPr>
              <a:t>‹#›</a:t>
            </a:fld>
            <a:endParaRPr lang="zh-CN" altLang="en-US">
              <a:solidFill>
                <a:prstClr val="black"/>
              </a:solidFill>
              <a:effectLst>
                <a:outerShdw blurRad="38100" dist="38100" dir="2700000" algn="tl">
                  <a:srgbClr val="000000">
                    <a:alpha val="43137"/>
                  </a:srgbClr>
                </a:outerShdw>
              </a:effectLst>
            </a:endParaRP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垂直排列标题与&#10;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6543685" y="365158"/>
            <a:ext cx="1971675" cy="5811839"/>
          </a:xfrm>
          <a:prstGeom prst="rect">
            <a:avLst/>
          </a:prstGeom>
        </p:spPr>
        <p:txBody>
          <a:bodyPr vert="eaVert" lIns="91389" tIns="45694" rIns="91389" bIns="45694"/>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a:xfrm>
            <a:off x="628696" y="365158"/>
            <a:ext cx="5800725" cy="5811839"/>
          </a:xfrm>
          <a:prstGeom prst="rect">
            <a:avLst/>
          </a:prstGeom>
        </p:spPr>
        <p:txBody>
          <a:bodyPr vert="eaVert" lIns="91389" tIns="45694" rIns="91389" bIns="45694"/>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a:xfrm>
            <a:off x="628650" y="6356350"/>
            <a:ext cx="2057400" cy="365125"/>
          </a:xfrm>
          <a:prstGeom prst="rect">
            <a:avLst/>
          </a:prstGeom>
        </p:spPr>
        <p:txBody>
          <a:bodyPr lIns="91389" tIns="45694" rIns="91389" bIns="45694"/>
          <a:lstStyle>
            <a:lvl1pPr>
              <a:defRPr>
                <a:latin typeface="Arial" charset="0"/>
              </a:defRPr>
            </a:lvl1pPr>
          </a:lstStyle>
          <a:p>
            <a:pPr fontAlgn="base">
              <a:spcBef>
                <a:spcPct val="0"/>
              </a:spcBef>
              <a:spcAft>
                <a:spcPct val="0"/>
              </a:spcAft>
              <a:defRPr/>
            </a:pPr>
            <a:fld id="{09B52EC8-EF6E-4F31-9EB7-A0885504F782}" type="datetimeFigureOut">
              <a:rPr lang="zh-CN" altLang="en-US">
                <a:solidFill>
                  <a:prstClr val="black"/>
                </a:solidFill>
                <a:effectLst>
                  <a:outerShdw blurRad="38100" dist="38100" dir="2700000" algn="tl">
                    <a:srgbClr val="000000">
                      <a:alpha val="43137"/>
                    </a:srgbClr>
                  </a:outerShdw>
                </a:effectLst>
              </a:rPr>
              <a:pPr fontAlgn="base">
                <a:spcBef>
                  <a:spcPct val="0"/>
                </a:spcBef>
                <a:spcAft>
                  <a:spcPct val="0"/>
                </a:spcAft>
                <a:defRPr/>
              </a:pPr>
              <a:t>2017/12/7</a:t>
            </a:fld>
            <a:endParaRPr lang="zh-CN" altLang="en-US">
              <a:solidFill>
                <a:prstClr val="black"/>
              </a:solidFill>
              <a:effectLst>
                <a:outerShdw blurRad="38100" dist="38100" dir="2700000" algn="tl">
                  <a:srgbClr val="000000">
                    <a:alpha val="43137"/>
                  </a:srgbClr>
                </a:outerShdw>
              </a:effectLst>
            </a:endParaRPr>
          </a:p>
        </p:txBody>
      </p:sp>
      <p:sp>
        <p:nvSpPr>
          <p:cNvPr id="5" name="页脚占位符 4"/>
          <p:cNvSpPr>
            <a:spLocks noGrp="1"/>
          </p:cNvSpPr>
          <p:nvPr>
            <p:ph type="ftr" sz="quarter" idx="11"/>
          </p:nvPr>
        </p:nvSpPr>
        <p:spPr>
          <a:xfrm>
            <a:off x="3028950" y="6356350"/>
            <a:ext cx="3086100" cy="365125"/>
          </a:xfrm>
          <a:prstGeom prst="rect">
            <a:avLst/>
          </a:prstGeom>
        </p:spPr>
        <p:txBody>
          <a:bodyPr lIns="91389" tIns="45694" rIns="91389" bIns="45694"/>
          <a:lstStyle>
            <a:lvl1pPr>
              <a:defRPr>
                <a:latin typeface="Arial" charset="0"/>
              </a:defRPr>
            </a:lvl1pPr>
          </a:lstStyle>
          <a:p>
            <a:pPr fontAlgn="base">
              <a:spcBef>
                <a:spcPct val="0"/>
              </a:spcBef>
              <a:spcAft>
                <a:spcPct val="0"/>
              </a:spcAft>
              <a:defRPr/>
            </a:pPr>
            <a:endParaRPr lang="zh-CN" altLang="en-US">
              <a:solidFill>
                <a:prstClr val="black"/>
              </a:solidFill>
              <a:effectLst>
                <a:outerShdw blurRad="38100" dist="38100" dir="2700000" algn="tl">
                  <a:srgbClr val="000000">
                    <a:alpha val="43137"/>
                  </a:srgbClr>
                </a:outerShdw>
              </a:effectLst>
            </a:endParaRPr>
          </a:p>
        </p:txBody>
      </p:sp>
      <p:sp>
        <p:nvSpPr>
          <p:cNvPr id="6" name="灯片编号占位符 5"/>
          <p:cNvSpPr>
            <a:spLocks noGrp="1"/>
          </p:cNvSpPr>
          <p:nvPr>
            <p:ph type="sldNum" sz="quarter" idx="12"/>
          </p:nvPr>
        </p:nvSpPr>
        <p:spPr>
          <a:xfrm>
            <a:off x="6457950" y="6356350"/>
            <a:ext cx="2057400" cy="365125"/>
          </a:xfrm>
          <a:prstGeom prst="rect">
            <a:avLst/>
          </a:prstGeom>
        </p:spPr>
        <p:txBody>
          <a:bodyPr lIns="91389" tIns="45694" rIns="91389" bIns="45694"/>
          <a:lstStyle>
            <a:lvl1pPr>
              <a:defRPr>
                <a:latin typeface="Arial" charset="0"/>
              </a:defRPr>
            </a:lvl1pPr>
          </a:lstStyle>
          <a:p>
            <a:pPr fontAlgn="base">
              <a:spcBef>
                <a:spcPct val="0"/>
              </a:spcBef>
              <a:spcAft>
                <a:spcPct val="0"/>
              </a:spcAft>
              <a:defRPr/>
            </a:pPr>
            <a:fld id="{86663C4A-B49F-4E86-8E03-0897DE800670}" type="slidenum">
              <a:rPr lang="zh-CN" altLang="en-US">
                <a:solidFill>
                  <a:prstClr val="black"/>
                </a:solidFill>
                <a:effectLst>
                  <a:outerShdw blurRad="38100" dist="38100" dir="2700000" algn="tl">
                    <a:srgbClr val="000000">
                      <a:alpha val="43137"/>
                    </a:srgbClr>
                  </a:outerShdw>
                </a:effectLst>
              </a:rPr>
              <a:pPr fontAlgn="base">
                <a:spcBef>
                  <a:spcPct val="0"/>
                </a:spcBef>
                <a:spcAft>
                  <a:spcPct val="0"/>
                </a:spcAft>
                <a:defRPr/>
              </a:pPr>
              <a:t>‹#›</a:t>
            </a:fld>
            <a:endParaRPr lang="zh-CN" altLang="en-US">
              <a:solidFill>
                <a:prstClr val="black"/>
              </a:solidFill>
              <a:effectLst>
                <a:outerShdw blurRad="38100" dist="38100" dir="2700000" algn="tl">
                  <a:srgbClr val="000000">
                    <a:alpha val="43137"/>
                  </a:srgbClr>
                </a:outerShdw>
              </a:effectLst>
            </a:endParaRPr>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type="title" preserve="1">
  <p:cSld name="标题幻灯片">
    <p:spTree>
      <p:nvGrpSpPr>
        <p:cNvPr id="1" name=""/>
        <p:cNvGrpSpPr/>
        <p:nvPr/>
      </p:nvGrpSpPr>
      <p:grpSpPr>
        <a:xfrm>
          <a:off x="0" y="0"/>
          <a:ext cx="0" cy="0"/>
          <a:chOff x="0" y="0"/>
          <a:chExt cx="0" cy="0"/>
        </a:xfrm>
      </p:grpSpPr>
      <p:grpSp>
        <p:nvGrpSpPr>
          <p:cNvPr id="2" name="Group 2"/>
          <p:cNvGrpSpPr>
            <a:grpSpLocks/>
          </p:cNvGrpSpPr>
          <p:nvPr/>
        </p:nvGrpSpPr>
        <p:grpSpPr bwMode="auto">
          <a:xfrm>
            <a:off x="0" y="0"/>
            <a:ext cx="9144000" cy="6934200"/>
            <a:chOff x="0" y="0"/>
            <a:chExt cx="5760" cy="4368"/>
          </a:xfrm>
        </p:grpSpPr>
        <p:sp>
          <p:nvSpPr>
            <p:cNvPr id="5" name="Freeform 3"/>
            <p:cNvSpPr>
              <a:spLocks/>
            </p:cNvSpPr>
            <p:nvPr/>
          </p:nvSpPr>
          <p:spPr bwMode="hidden">
            <a:xfrm>
              <a:off x="0" y="2208"/>
              <a:ext cx="2515" cy="1970"/>
            </a:xfrm>
            <a:custGeom>
              <a:avLst/>
              <a:gdLst/>
              <a:ahLst/>
              <a:cxnLst>
                <a:cxn ang="0">
                  <a:pos x="744" y="1669"/>
                </a:cxn>
                <a:cxn ang="0">
                  <a:pos x="852" y="1400"/>
                </a:cxn>
                <a:cxn ang="0">
                  <a:pos x="876" y="1171"/>
                </a:cxn>
                <a:cxn ang="0">
                  <a:pos x="979" y="1370"/>
                </a:cxn>
                <a:cxn ang="0">
                  <a:pos x="1231" y="1621"/>
                </a:cxn>
                <a:cxn ang="0">
                  <a:pos x="1471" y="1693"/>
                </a:cxn>
                <a:cxn ang="0">
                  <a:pos x="1819" y="1678"/>
                </a:cxn>
                <a:cxn ang="0">
                  <a:pos x="1893" y="1513"/>
                </a:cxn>
                <a:cxn ang="0">
                  <a:pos x="1874" y="1285"/>
                </a:cxn>
                <a:cxn ang="0">
                  <a:pos x="1783" y="967"/>
                </a:cxn>
                <a:cxn ang="0">
                  <a:pos x="1289" y="873"/>
                </a:cxn>
                <a:cxn ang="0">
                  <a:pos x="1549" y="745"/>
                </a:cxn>
                <a:cxn ang="0">
                  <a:pos x="1753" y="732"/>
                </a:cxn>
                <a:cxn ang="0">
                  <a:pos x="2107" y="618"/>
                </a:cxn>
                <a:cxn ang="0">
                  <a:pos x="2377" y="438"/>
                </a:cxn>
                <a:cxn ang="0">
                  <a:pos x="2420" y="343"/>
                </a:cxn>
                <a:cxn ang="0">
                  <a:pos x="2077" y="331"/>
                </a:cxn>
                <a:cxn ang="0">
                  <a:pos x="1951" y="301"/>
                </a:cxn>
                <a:cxn ang="0">
                  <a:pos x="1645" y="289"/>
                </a:cxn>
                <a:cxn ang="0">
                  <a:pos x="1297" y="408"/>
                </a:cxn>
                <a:cxn ang="0">
                  <a:pos x="1308" y="337"/>
                </a:cxn>
                <a:cxn ang="0">
                  <a:pos x="1453" y="168"/>
                </a:cxn>
                <a:cxn ang="0">
                  <a:pos x="1477" y="36"/>
                </a:cxn>
                <a:cxn ang="0">
                  <a:pos x="1417" y="24"/>
                </a:cxn>
                <a:cxn ang="0">
                  <a:pos x="1189" y="102"/>
                </a:cxn>
                <a:cxn ang="0">
                  <a:pos x="1026" y="144"/>
                </a:cxn>
                <a:cxn ang="0">
                  <a:pos x="889" y="331"/>
                </a:cxn>
                <a:cxn ang="0">
                  <a:pos x="726" y="480"/>
                </a:cxn>
                <a:cxn ang="0">
                  <a:pos x="643" y="540"/>
                </a:cxn>
                <a:cxn ang="0">
                  <a:pos x="600" y="516"/>
                </a:cxn>
                <a:cxn ang="0">
                  <a:pos x="552" y="486"/>
                </a:cxn>
                <a:cxn ang="0">
                  <a:pos x="528" y="462"/>
                </a:cxn>
                <a:cxn ang="0">
                  <a:pos x="474" y="426"/>
                </a:cxn>
                <a:cxn ang="0">
                  <a:pos x="415" y="390"/>
                </a:cxn>
                <a:cxn ang="0">
                  <a:pos x="366" y="366"/>
                </a:cxn>
                <a:cxn ang="0">
                  <a:pos x="192" y="234"/>
                </a:cxn>
                <a:cxn ang="0">
                  <a:pos x="570" y="564"/>
                </a:cxn>
                <a:cxn ang="0">
                  <a:pos x="444" y="732"/>
                </a:cxn>
                <a:cxn ang="0">
                  <a:pos x="318" y="787"/>
                </a:cxn>
                <a:cxn ang="0">
                  <a:pos x="127" y="853"/>
                </a:cxn>
                <a:cxn ang="0">
                  <a:pos x="0" y="1165"/>
                </a:cxn>
                <a:cxn ang="0">
                  <a:pos x="372" y="1015"/>
                </a:cxn>
                <a:cxn ang="0">
                  <a:pos x="222" y="1262"/>
                </a:cxn>
                <a:cxn ang="0">
                  <a:pos x="139" y="1459"/>
                </a:cxn>
                <a:cxn ang="0">
                  <a:pos x="102" y="1495"/>
                </a:cxn>
                <a:cxn ang="0">
                  <a:pos x="84" y="1519"/>
                </a:cxn>
                <a:cxn ang="0">
                  <a:pos x="96" y="1537"/>
                </a:cxn>
                <a:cxn ang="0">
                  <a:pos x="127" y="1567"/>
                </a:cxn>
                <a:cxn ang="0">
                  <a:pos x="145" y="1633"/>
                </a:cxn>
                <a:cxn ang="0">
                  <a:pos x="156" y="1693"/>
                </a:cxn>
                <a:cxn ang="0">
                  <a:pos x="162" y="1723"/>
                </a:cxn>
                <a:cxn ang="0">
                  <a:pos x="216" y="1802"/>
                </a:cxn>
                <a:cxn ang="0">
                  <a:pos x="228" y="1850"/>
                </a:cxn>
                <a:cxn ang="0">
                  <a:pos x="240" y="1904"/>
                </a:cxn>
                <a:cxn ang="0">
                  <a:pos x="246" y="1922"/>
                </a:cxn>
                <a:cxn ang="0">
                  <a:pos x="258" y="1970"/>
                </a:cxn>
                <a:cxn ang="0">
                  <a:pos x="462" y="1922"/>
                </a:cxn>
                <a:cxn ang="0">
                  <a:pos x="624" y="1778"/>
                </a:cxn>
              </a:cxnLst>
              <a:rect l="0" t="0" r="r" b="b"/>
              <a:pathLst>
                <a:path w="2515" h="1970">
                  <a:moveTo>
                    <a:pt x="624" y="1778"/>
                  </a:moveTo>
                  <a:lnTo>
                    <a:pt x="744" y="1669"/>
                  </a:lnTo>
                  <a:lnTo>
                    <a:pt x="834" y="1627"/>
                  </a:lnTo>
                  <a:lnTo>
                    <a:pt x="852" y="1400"/>
                  </a:lnTo>
                  <a:lnTo>
                    <a:pt x="834" y="1225"/>
                  </a:lnTo>
                  <a:lnTo>
                    <a:pt x="876" y="1171"/>
                  </a:lnTo>
                  <a:lnTo>
                    <a:pt x="901" y="1268"/>
                  </a:lnTo>
                  <a:lnTo>
                    <a:pt x="979" y="1370"/>
                  </a:lnTo>
                  <a:lnTo>
                    <a:pt x="1116" y="1519"/>
                  </a:lnTo>
                  <a:lnTo>
                    <a:pt x="1231" y="1621"/>
                  </a:lnTo>
                  <a:lnTo>
                    <a:pt x="1353" y="1632"/>
                  </a:lnTo>
                  <a:lnTo>
                    <a:pt x="1471" y="1693"/>
                  </a:lnTo>
                  <a:lnTo>
                    <a:pt x="1664" y="1659"/>
                  </a:lnTo>
                  <a:lnTo>
                    <a:pt x="1819" y="1678"/>
                  </a:lnTo>
                  <a:lnTo>
                    <a:pt x="1975" y="1632"/>
                  </a:lnTo>
                  <a:lnTo>
                    <a:pt x="1893" y="1513"/>
                  </a:lnTo>
                  <a:lnTo>
                    <a:pt x="1920" y="1385"/>
                  </a:lnTo>
                  <a:lnTo>
                    <a:pt x="1874" y="1285"/>
                  </a:lnTo>
                  <a:lnTo>
                    <a:pt x="1865" y="1129"/>
                  </a:lnTo>
                  <a:lnTo>
                    <a:pt x="1783" y="967"/>
                  </a:lnTo>
                  <a:lnTo>
                    <a:pt x="1527" y="891"/>
                  </a:lnTo>
                  <a:lnTo>
                    <a:pt x="1289" y="873"/>
                  </a:lnTo>
                  <a:lnTo>
                    <a:pt x="1393" y="781"/>
                  </a:lnTo>
                  <a:lnTo>
                    <a:pt x="1549" y="745"/>
                  </a:lnTo>
                  <a:lnTo>
                    <a:pt x="1620" y="738"/>
                  </a:lnTo>
                  <a:lnTo>
                    <a:pt x="1753" y="732"/>
                  </a:lnTo>
                  <a:lnTo>
                    <a:pt x="1933" y="720"/>
                  </a:lnTo>
                  <a:lnTo>
                    <a:pt x="2107" y="618"/>
                  </a:lnTo>
                  <a:lnTo>
                    <a:pt x="2227" y="516"/>
                  </a:lnTo>
                  <a:lnTo>
                    <a:pt x="2377" y="438"/>
                  </a:lnTo>
                  <a:lnTo>
                    <a:pt x="2515" y="337"/>
                  </a:lnTo>
                  <a:lnTo>
                    <a:pt x="2420" y="343"/>
                  </a:lnTo>
                  <a:lnTo>
                    <a:pt x="2191" y="343"/>
                  </a:lnTo>
                  <a:lnTo>
                    <a:pt x="2077" y="331"/>
                  </a:lnTo>
                  <a:lnTo>
                    <a:pt x="2053" y="301"/>
                  </a:lnTo>
                  <a:lnTo>
                    <a:pt x="1951" y="301"/>
                  </a:lnTo>
                  <a:lnTo>
                    <a:pt x="1795" y="259"/>
                  </a:lnTo>
                  <a:lnTo>
                    <a:pt x="1645" y="289"/>
                  </a:lnTo>
                  <a:lnTo>
                    <a:pt x="1447" y="372"/>
                  </a:lnTo>
                  <a:lnTo>
                    <a:pt x="1297" y="408"/>
                  </a:lnTo>
                  <a:lnTo>
                    <a:pt x="1153" y="414"/>
                  </a:lnTo>
                  <a:lnTo>
                    <a:pt x="1308" y="337"/>
                  </a:lnTo>
                  <a:lnTo>
                    <a:pt x="1465" y="198"/>
                  </a:lnTo>
                  <a:lnTo>
                    <a:pt x="1453" y="168"/>
                  </a:lnTo>
                  <a:lnTo>
                    <a:pt x="1465" y="102"/>
                  </a:lnTo>
                  <a:lnTo>
                    <a:pt x="1477" y="36"/>
                  </a:lnTo>
                  <a:lnTo>
                    <a:pt x="1453" y="0"/>
                  </a:lnTo>
                  <a:lnTo>
                    <a:pt x="1417" y="24"/>
                  </a:lnTo>
                  <a:lnTo>
                    <a:pt x="1356" y="42"/>
                  </a:lnTo>
                  <a:lnTo>
                    <a:pt x="1189" y="102"/>
                  </a:lnTo>
                  <a:lnTo>
                    <a:pt x="1098" y="144"/>
                  </a:lnTo>
                  <a:lnTo>
                    <a:pt x="1026" y="144"/>
                  </a:lnTo>
                  <a:lnTo>
                    <a:pt x="991" y="168"/>
                  </a:lnTo>
                  <a:lnTo>
                    <a:pt x="889" y="331"/>
                  </a:lnTo>
                  <a:lnTo>
                    <a:pt x="852" y="408"/>
                  </a:lnTo>
                  <a:lnTo>
                    <a:pt x="726" y="480"/>
                  </a:lnTo>
                  <a:lnTo>
                    <a:pt x="649" y="540"/>
                  </a:lnTo>
                  <a:lnTo>
                    <a:pt x="643" y="540"/>
                  </a:lnTo>
                  <a:lnTo>
                    <a:pt x="637" y="534"/>
                  </a:lnTo>
                  <a:lnTo>
                    <a:pt x="600" y="516"/>
                  </a:lnTo>
                  <a:lnTo>
                    <a:pt x="564" y="492"/>
                  </a:lnTo>
                  <a:lnTo>
                    <a:pt x="552" y="486"/>
                  </a:lnTo>
                  <a:lnTo>
                    <a:pt x="540" y="474"/>
                  </a:lnTo>
                  <a:lnTo>
                    <a:pt x="528" y="462"/>
                  </a:lnTo>
                  <a:lnTo>
                    <a:pt x="504" y="444"/>
                  </a:lnTo>
                  <a:lnTo>
                    <a:pt x="474" y="426"/>
                  </a:lnTo>
                  <a:lnTo>
                    <a:pt x="444" y="408"/>
                  </a:lnTo>
                  <a:lnTo>
                    <a:pt x="415" y="390"/>
                  </a:lnTo>
                  <a:lnTo>
                    <a:pt x="385" y="372"/>
                  </a:lnTo>
                  <a:lnTo>
                    <a:pt x="366" y="366"/>
                  </a:lnTo>
                  <a:lnTo>
                    <a:pt x="360" y="360"/>
                  </a:lnTo>
                  <a:lnTo>
                    <a:pt x="192" y="234"/>
                  </a:lnTo>
                  <a:lnTo>
                    <a:pt x="210" y="307"/>
                  </a:lnTo>
                  <a:lnTo>
                    <a:pt x="570" y="564"/>
                  </a:lnTo>
                  <a:lnTo>
                    <a:pt x="558" y="618"/>
                  </a:lnTo>
                  <a:lnTo>
                    <a:pt x="444" y="732"/>
                  </a:lnTo>
                  <a:lnTo>
                    <a:pt x="324" y="787"/>
                  </a:lnTo>
                  <a:lnTo>
                    <a:pt x="318" y="787"/>
                  </a:lnTo>
                  <a:lnTo>
                    <a:pt x="258" y="811"/>
                  </a:lnTo>
                  <a:lnTo>
                    <a:pt x="127" y="853"/>
                  </a:lnTo>
                  <a:lnTo>
                    <a:pt x="0" y="901"/>
                  </a:lnTo>
                  <a:lnTo>
                    <a:pt x="0" y="1165"/>
                  </a:lnTo>
                  <a:lnTo>
                    <a:pt x="78" y="1147"/>
                  </a:lnTo>
                  <a:lnTo>
                    <a:pt x="372" y="1015"/>
                  </a:lnTo>
                  <a:lnTo>
                    <a:pt x="336" y="1117"/>
                  </a:lnTo>
                  <a:lnTo>
                    <a:pt x="222" y="1262"/>
                  </a:lnTo>
                  <a:lnTo>
                    <a:pt x="145" y="1453"/>
                  </a:lnTo>
                  <a:lnTo>
                    <a:pt x="139" y="1459"/>
                  </a:lnTo>
                  <a:lnTo>
                    <a:pt x="133" y="1465"/>
                  </a:lnTo>
                  <a:lnTo>
                    <a:pt x="102" y="1495"/>
                  </a:lnTo>
                  <a:lnTo>
                    <a:pt x="90" y="1507"/>
                  </a:lnTo>
                  <a:lnTo>
                    <a:pt x="84" y="1519"/>
                  </a:lnTo>
                  <a:lnTo>
                    <a:pt x="84" y="1531"/>
                  </a:lnTo>
                  <a:lnTo>
                    <a:pt x="96" y="1537"/>
                  </a:lnTo>
                  <a:lnTo>
                    <a:pt x="114" y="1549"/>
                  </a:lnTo>
                  <a:lnTo>
                    <a:pt x="127" y="1567"/>
                  </a:lnTo>
                  <a:lnTo>
                    <a:pt x="139" y="1597"/>
                  </a:lnTo>
                  <a:lnTo>
                    <a:pt x="145" y="1633"/>
                  </a:lnTo>
                  <a:lnTo>
                    <a:pt x="150" y="1663"/>
                  </a:lnTo>
                  <a:lnTo>
                    <a:pt x="156" y="1693"/>
                  </a:lnTo>
                  <a:lnTo>
                    <a:pt x="162" y="1717"/>
                  </a:lnTo>
                  <a:lnTo>
                    <a:pt x="162" y="1723"/>
                  </a:lnTo>
                  <a:lnTo>
                    <a:pt x="216" y="1796"/>
                  </a:lnTo>
                  <a:lnTo>
                    <a:pt x="216" y="1802"/>
                  </a:lnTo>
                  <a:lnTo>
                    <a:pt x="222" y="1814"/>
                  </a:lnTo>
                  <a:lnTo>
                    <a:pt x="228" y="1850"/>
                  </a:lnTo>
                  <a:lnTo>
                    <a:pt x="234" y="1886"/>
                  </a:lnTo>
                  <a:lnTo>
                    <a:pt x="240" y="1904"/>
                  </a:lnTo>
                  <a:lnTo>
                    <a:pt x="240" y="1916"/>
                  </a:lnTo>
                  <a:lnTo>
                    <a:pt x="246" y="1922"/>
                  </a:lnTo>
                  <a:lnTo>
                    <a:pt x="252" y="1934"/>
                  </a:lnTo>
                  <a:lnTo>
                    <a:pt x="258" y="1970"/>
                  </a:lnTo>
                  <a:lnTo>
                    <a:pt x="438" y="1970"/>
                  </a:lnTo>
                  <a:lnTo>
                    <a:pt x="462" y="1922"/>
                  </a:lnTo>
                  <a:lnTo>
                    <a:pt x="624" y="1778"/>
                  </a:lnTo>
                  <a:lnTo>
                    <a:pt x="624" y="1778"/>
                  </a:lnTo>
                  <a:close/>
                </a:path>
              </a:pathLst>
            </a:custGeom>
            <a:gradFill rotWithShape="0">
              <a:gsLst>
                <a:gs pos="0">
                  <a:schemeClr val="bg2"/>
                </a:gs>
                <a:gs pos="50000">
                  <a:schemeClr val="bg1"/>
                </a:gs>
                <a:gs pos="100000">
                  <a:schemeClr val="bg2"/>
                </a:gs>
              </a:gsLst>
              <a:lin ang="2700000" scaled="1"/>
            </a:gradFill>
            <a:ln w="9525">
              <a:noFill/>
              <a:round/>
              <a:headEnd/>
              <a:tailEnd/>
            </a:ln>
          </p:spPr>
          <p:txBody>
            <a:bodyPr/>
            <a:lstStyle/>
            <a:p>
              <a:pPr eaLnBrk="0" fontAlgn="base" hangingPunct="0">
                <a:spcBef>
                  <a:spcPct val="0"/>
                </a:spcBef>
                <a:spcAft>
                  <a:spcPct val="0"/>
                </a:spcAft>
                <a:defRPr/>
              </a:pPr>
              <a:endParaRPr lang="zh-CN" altLang="en-US">
                <a:solidFill>
                  <a:srgbClr val="FFFFFF"/>
                </a:solidFill>
                <a:effectLst>
                  <a:outerShdw blurRad="38100" dist="38100" dir="2700000" algn="tl">
                    <a:srgbClr val="000000">
                      <a:alpha val="43137"/>
                    </a:srgbClr>
                  </a:outerShdw>
                </a:effectLst>
                <a:latin typeface="Arial" charset="0"/>
              </a:endParaRPr>
            </a:p>
          </p:txBody>
        </p:sp>
        <p:sp>
          <p:nvSpPr>
            <p:cNvPr id="6" name="Freeform 4"/>
            <p:cNvSpPr>
              <a:spLocks/>
            </p:cNvSpPr>
            <p:nvPr/>
          </p:nvSpPr>
          <p:spPr bwMode="hidden">
            <a:xfrm>
              <a:off x="0" y="2496"/>
              <a:ext cx="2112" cy="1604"/>
            </a:xfrm>
            <a:custGeom>
              <a:avLst/>
              <a:gdLst/>
              <a:ahLst/>
              <a:cxnLst>
                <a:cxn ang="0">
                  <a:pos x="580" y="1043"/>
                </a:cxn>
                <a:cxn ang="0">
                  <a:pos x="544" y="683"/>
                </a:cxn>
                <a:cxn ang="0">
                  <a:pos x="670" y="395"/>
                </a:cxn>
                <a:cxn ang="0">
                  <a:pos x="927" y="587"/>
                </a:cxn>
                <a:cxn ang="0">
                  <a:pos x="1214" y="869"/>
                </a:cxn>
                <a:cxn ang="0">
                  <a:pos x="1483" y="1109"/>
                </a:cxn>
                <a:cxn ang="0">
                  <a:pos x="1800" y="1360"/>
                </a:cxn>
                <a:cxn ang="0">
                  <a:pos x="1883" y="1414"/>
                </a:cxn>
                <a:cxn ang="0">
                  <a:pos x="1836" y="1354"/>
                </a:cxn>
                <a:cxn ang="0">
                  <a:pos x="1411" y="1001"/>
                </a:cxn>
                <a:cxn ang="0">
                  <a:pos x="1088" y="683"/>
                </a:cxn>
                <a:cxn ang="0">
                  <a:pos x="723" y="329"/>
                </a:cxn>
                <a:cxn ang="0">
                  <a:pos x="999" y="311"/>
                </a:cxn>
                <a:cxn ang="0">
                  <a:pos x="1286" y="317"/>
                </a:cxn>
                <a:cxn ang="0">
                  <a:pos x="1614" y="269"/>
                </a:cxn>
                <a:cxn ang="0">
                  <a:pos x="2123" y="197"/>
                </a:cxn>
                <a:cxn ang="0">
                  <a:pos x="2075" y="173"/>
                </a:cxn>
                <a:cxn ang="0">
                  <a:pos x="1543" y="257"/>
                </a:cxn>
                <a:cxn ang="0">
                  <a:pos x="1208" y="275"/>
                </a:cxn>
                <a:cxn ang="0">
                  <a:pos x="759" y="257"/>
                </a:cxn>
                <a:cxn ang="0">
                  <a:pos x="819" y="227"/>
                </a:cxn>
                <a:cxn ang="0">
                  <a:pos x="1142" y="0"/>
                </a:cxn>
                <a:cxn ang="0">
                  <a:pos x="1088" y="30"/>
                </a:cxn>
                <a:cxn ang="0">
                  <a:pos x="1010" y="84"/>
                </a:cxn>
                <a:cxn ang="0">
                  <a:pos x="855" y="191"/>
                </a:cxn>
                <a:cxn ang="0">
                  <a:pos x="670" y="281"/>
                </a:cxn>
                <a:cxn ang="0">
                  <a:pos x="634" y="359"/>
                </a:cxn>
                <a:cxn ang="0">
                  <a:pos x="305" y="587"/>
                </a:cxn>
                <a:cxn ang="0">
                  <a:pos x="0" y="725"/>
                </a:cxn>
                <a:cxn ang="0">
                  <a:pos x="0" y="731"/>
                </a:cxn>
                <a:cxn ang="0">
                  <a:pos x="0" y="767"/>
                </a:cxn>
                <a:cxn ang="0">
                  <a:pos x="299" y="635"/>
                </a:cxn>
                <a:cxn ang="0">
                  <a:pos x="592" y="431"/>
                </a:cxn>
                <a:cxn ang="0">
                  <a:pos x="508" y="671"/>
                </a:cxn>
                <a:cxn ang="0">
                  <a:pos x="526" y="995"/>
                </a:cxn>
                <a:cxn ang="0">
                  <a:pos x="460" y="1168"/>
                </a:cxn>
                <a:cxn ang="0">
                  <a:pos x="329" y="1480"/>
                </a:cxn>
                <a:cxn ang="0">
                  <a:pos x="323" y="1696"/>
                </a:cxn>
                <a:cxn ang="0">
                  <a:pos x="329" y="1696"/>
                </a:cxn>
                <a:cxn ang="0">
                  <a:pos x="347" y="1552"/>
                </a:cxn>
                <a:cxn ang="0">
                  <a:pos x="580" y="1043"/>
                </a:cxn>
                <a:cxn ang="0">
                  <a:pos x="580" y="1043"/>
                </a:cxn>
              </a:cxnLst>
              <a:rect l="0" t="0" r="r" b="b"/>
              <a:pathLst>
                <a:path w="2123" h="1696">
                  <a:moveTo>
                    <a:pt x="580" y="1043"/>
                  </a:moveTo>
                  <a:lnTo>
                    <a:pt x="544" y="683"/>
                  </a:lnTo>
                  <a:lnTo>
                    <a:pt x="670" y="395"/>
                  </a:lnTo>
                  <a:lnTo>
                    <a:pt x="927" y="587"/>
                  </a:lnTo>
                  <a:lnTo>
                    <a:pt x="1214" y="869"/>
                  </a:lnTo>
                  <a:lnTo>
                    <a:pt x="1483" y="1109"/>
                  </a:lnTo>
                  <a:lnTo>
                    <a:pt x="1800" y="1360"/>
                  </a:lnTo>
                  <a:lnTo>
                    <a:pt x="1883" y="1414"/>
                  </a:lnTo>
                  <a:lnTo>
                    <a:pt x="1836" y="1354"/>
                  </a:lnTo>
                  <a:lnTo>
                    <a:pt x="1411" y="1001"/>
                  </a:lnTo>
                  <a:lnTo>
                    <a:pt x="1088" y="683"/>
                  </a:lnTo>
                  <a:lnTo>
                    <a:pt x="723" y="329"/>
                  </a:lnTo>
                  <a:lnTo>
                    <a:pt x="999" y="311"/>
                  </a:lnTo>
                  <a:lnTo>
                    <a:pt x="1286" y="317"/>
                  </a:lnTo>
                  <a:lnTo>
                    <a:pt x="1614" y="269"/>
                  </a:lnTo>
                  <a:lnTo>
                    <a:pt x="2123" y="197"/>
                  </a:lnTo>
                  <a:lnTo>
                    <a:pt x="2075" y="173"/>
                  </a:lnTo>
                  <a:lnTo>
                    <a:pt x="1543" y="257"/>
                  </a:lnTo>
                  <a:lnTo>
                    <a:pt x="1208" y="275"/>
                  </a:lnTo>
                  <a:lnTo>
                    <a:pt x="759" y="257"/>
                  </a:lnTo>
                  <a:lnTo>
                    <a:pt x="819" y="227"/>
                  </a:lnTo>
                  <a:lnTo>
                    <a:pt x="1142" y="0"/>
                  </a:lnTo>
                  <a:lnTo>
                    <a:pt x="1088" y="30"/>
                  </a:lnTo>
                  <a:lnTo>
                    <a:pt x="1010" y="84"/>
                  </a:lnTo>
                  <a:lnTo>
                    <a:pt x="855" y="191"/>
                  </a:lnTo>
                  <a:lnTo>
                    <a:pt x="670" y="281"/>
                  </a:lnTo>
                  <a:lnTo>
                    <a:pt x="634" y="359"/>
                  </a:lnTo>
                  <a:lnTo>
                    <a:pt x="305" y="587"/>
                  </a:lnTo>
                  <a:lnTo>
                    <a:pt x="0" y="725"/>
                  </a:lnTo>
                  <a:lnTo>
                    <a:pt x="0" y="731"/>
                  </a:lnTo>
                  <a:lnTo>
                    <a:pt x="0" y="767"/>
                  </a:lnTo>
                  <a:lnTo>
                    <a:pt x="299" y="635"/>
                  </a:lnTo>
                  <a:lnTo>
                    <a:pt x="592" y="431"/>
                  </a:lnTo>
                  <a:lnTo>
                    <a:pt x="508" y="671"/>
                  </a:lnTo>
                  <a:lnTo>
                    <a:pt x="526" y="995"/>
                  </a:lnTo>
                  <a:lnTo>
                    <a:pt x="460" y="1168"/>
                  </a:lnTo>
                  <a:lnTo>
                    <a:pt x="329" y="1480"/>
                  </a:lnTo>
                  <a:lnTo>
                    <a:pt x="323" y="1696"/>
                  </a:lnTo>
                  <a:lnTo>
                    <a:pt x="329" y="1696"/>
                  </a:lnTo>
                  <a:lnTo>
                    <a:pt x="347" y="1552"/>
                  </a:lnTo>
                  <a:lnTo>
                    <a:pt x="580" y="1043"/>
                  </a:lnTo>
                  <a:lnTo>
                    <a:pt x="580" y="1043"/>
                  </a:lnTo>
                  <a:close/>
                </a:path>
              </a:pathLst>
            </a:custGeom>
            <a:gradFill rotWithShape="0">
              <a:gsLst>
                <a:gs pos="0">
                  <a:schemeClr val="accent2"/>
                </a:gs>
                <a:gs pos="100000">
                  <a:schemeClr val="bg1"/>
                </a:gs>
              </a:gsLst>
              <a:lin ang="5400000" scaled="1"/>
            </a:gradFill>
            <a:ln w="9525">
              <a:noFill/>
              <a:round/>
              <a:headEnd/>
              <a:tailEnd/>
            </a:ln>
          </p:spPr>
          <p:txBody>
            <a:bodyPr/>
            <a:lstStyle/>
            <a:p>
              <a:pPr eaLnBrk="0" fontAlgn="base" hangingPunct="0">
                <a:spcBef>
                  <a:spcPct val="0"/>
                </a:spcBef>
                <a:spcAft>
                  <a:spcPct val="0"/>
                </a:spcAft>
                <a:defRPr/>
              </a:pPr>
              <a:endParaRPr lang="zh-CN" altLang="en-US">
                <a:solidFill>
                  <a:srgbClr val="FFFFFF"/>
                </a:solidFill>
                <a:effectLst>
                  <a:outerShdw blurRad="38100" dist="38100" dir="2700000" algn="tl">
                    <a:srgbClr val="000000">
                      <a:alpha val="43137"/>
                    </a:srgbClr>
                  </a:outerShdw>
                </a:effectLst>
                <a:latin typeface="Arial" charset="0"/>
              </a:endParaRPr>
            </a:p>
          </p:txBody>
        </p:sp>
        <p:sp>
          <p:nvSpPr>
            <p:cNvPr id="7" name="Freeform 5"/>
            <p:cNvSpPr>
              <a:spLocks/>
            </p:cNvSpPr>
            <p:nvPr/>
          </p:nvSpPr>
          <p:spPr bwMode="hidden">
            <a:xfrm>
              <a:off x="2092" y="3233"/>
              <a:ext cx="3668" cy="943"/>
            </a:xfrm>
            <a:custGeom>
              <a:avLst/>
              <a:gdLst/>
              <a:ahLst/>
              <a:cxnLst>
                <a:cxn ang="0">
                  <a:pos x="3338" y="288"/>
                </a:cxn>
                <a:cxn ang="0">
                  <a:pos x="3194" y="258"/>
                </a:cxn>
                <a:cxn ang="0">
                  <a:pos x="2816" y="234"/>
                </a:cxn>
                <a:cxn ang="0">
                  <a:pos x="2330" y="306"/>
                </a:cxn>
                <a:cxn ang="0">
                  <a:pos x="2372" y="258"/>
                </a:cxn>
                <a:cxn ang="0">
                  <a:pos x="2624" y="132"/>
                </a:cxn>
                <a:cxn ang="0">
                  <a:pos x="2707" y="24"/>
                </a:cxn>
                <a:cxn ang="0">
                  <a:pos x="2642" y="12"/>
                </a:cxn>
                <a:cxn ang="0">
                  <a:pos x="2515" y="54"/>
                </a:cxn>
                <a:cxn ang="0">
                  <a:pos x="2324" y="66"/>
                </a:cxn>
                <a:cxn ang="0">
                  <a:pos x="2101" y="90"/>
                </a:cxn>
                <a:cxn ang="0">
                  <a:pos x="1855" y="228"/>
                </a:cxn>
                <a:cxn ang="0">
                  <a:pos x="1591" y="337"/>
                </a:cxn>
                <a:cxn ang="0">
                  <a:pos x="1459" y="379"/>
                </a:cxn>
                <a:cxn ang="0">
                  <a:pos x="1417" y="361"/>
                </a:cxn>
                <a:cxn ang="0">
                  <a:pos x="1363" y="331"/>
                </a:cxn>
                <a:cxn ang="0">
                  <a:pos x="1344" y="312"/>
                </a:cxn>
                <a:cxn ang="0">
                  <a:pos x="1290" y="288"/>
                </a:cxn>
                <a:cxn ang="0">
                  <a:pos x="1230" y="252"/>
                </a:cxn>
                <a:cxn ang="0">
                  <a:pos x="1119" y="227"/>
                </a:cxn>
                <a:cxn ang="0">
                  <a:pos x="1320" y="438"/>
                </a:cxn>
                <a:cxn ang="0">
                  <a:pos x="960" y="558"/>
                </a:cxn>
                <a:cxn ang="0">
                  <a:pos x="474" y="630"/>
                </a:cxn>
                <a:cxn ang="0">
                  <a:pos x="132" y="781"/>
                </a:cxn>
                <a:cxn ang="0">
                  <a:pos x="234" y="847"/>
                </a:cxn>
                <a:cxn ang="0">
                  <a:pos x="925" y="739"/>
                </a:cxn>
                <a:cxn ang="0">
                  <a:pos x="637" y="925"/>
                </a:cxn>
                <a:cxn ang="0">
                  <a:pos x="1405" y="943"/>
                </a:cxn>
                <a:cxn ang="0">
                  <a:pos x="1447" y="943"/>
                </a:cxn>
                <a:cxn ang="0">
                  <a:pos x="2888" y="859"/>
                </a:cxn>
                <a:cxn ang="0">
                  <a:pos x="2582" y="708"/>
                </a:cxn>
                <a:cxn ang="0">
                  <a:pos x="2299" y="606"/>
                </a:cxn>
                <a:cxn ang="0">
                  <a:pos x="2606" y="588"/>
                </a:cxn>
                <a:cxn ang="0">
                  <a:pos x="3001" y="582"/>
                </a:cxn>
                <a:cxn ang="0">
                  <a:pos x="3452" y="438"/>
                </a:cxn>
                <a:cxn ang="0">
                  <a:pos x="3668" y="312"/>
                </a:cxn>
                <a:cxn ang="0">
                  <a:pos x="3482" y="300"/>
                </a:cxn>
              </a:cxnLst>
              <a:rect l="0" t="0" r="r" b="b"/>
              <a:pathLst>
                <a:path w="3668" h="943">
                  <a:moveTo>
                    <a:pt x="3482" y="300"/>
                  </a:moveTo>
                  <a:lnTo>
                    <a:pt x="3338" y="288"/>
                  </a:lnTo>
                  <a:lnTo>
                    <a:pt x="3320" y="264"/>
                  </a:lnTo>
                  <a:lnTo>
                    <a:pt x="3194" y="258"/>
                  </a:lnTo>
                  <a:lnTo>
                    <a:pt x="3019" y="216"/>
                  </a:lnTo>
                  <a:lnTo>
                    <a:pt x="2816" y="234"/>
                  </a:lnTo>
                  <a:lnTo>
                    <a:pt x="2533" y="288"/>
                  </a:lnTo>
                  <a:lnTo>
                    <a:pt x="2330" y="306"/>
                  </a:lnTo>
                  <a:lnTo>
                    <a:pt x="2149" y="312"/>
                  </a:lnTo>
                  <a:lnTo>
                    <a:pt x="2372" y="258"/>
                  </a:lnTo>
                  <a:lnTo>
                    <a:pt x="2624" y="156"/>
                  </a:lnTo>
                  <a:lnTo>
                    <a:pt x="2624" y="132"/>
                  </a:lnTo>
                  <a:lnTo>
                    <a:pt x="2666" y="78"/>
                  </a:lnTo>
                  <a:lnTo>
                    <a:pt x="2707" y="24"/>
                  </a:lnTo>
                  <a:lnTo>
                    <a:pt x="2695" y="0"/>
                  </a:lnTo>
                  <a:lnTo>
                    <a:pt x="2642" y="12"/>
                  </a:lnTo>
                  <a:lnTo>
                    <a:pt x="2557" y="30"/>
                  </a:lnTo>
                  <a:lnTo>
                    <a:pt x="2515" y="54"/>
                  </a:lnTo>
                  <a:lnTo>
                    <a:pt x="2425" y="84"/>
                  </a:lnTo>
                  <a:lnTo>
                    <a:pt x="2324" y="66"/>
                  </a:lnTo>
                  <a:lnTo>
                    <a:pt x="2191" y="90"/>
                  </a:lnTo>
                  <a:lnTo>
                    <a:pt x="2101" y="90"/>
                  </a:lnTo>
                  <a:lnTo>
                    <a:pt x="2047" y="108"/>
                  </a:lnTo>
                  <a:lnTo>
                    <a:pt x="1855" y="228"/>
                  </a:lnTo>
                  <a:lnTo>
                    <a:pt x="1771" y="288"/>
                  </a:lnTo>
                  <a:lnTo>
                    <a:pt x="1591" y="337"/>
                  </a:lnTo>
                  <a:lnTo>
                    <a:pt x="1465" y="379"/>
                  </a:lnTo>
                  <a:lnTo>
                    <a:pt x="1459" y="379"/>
                  </a:lnTo>
                  <a:lnTo>
                    <a:pt x="1453" y="373"/>
                  </a:lnTo>
                  <a:lnTo>
                    <a:pt x="1417" y="361"/>
                  </a:lnTo>
                  <a:lnTo>
                    <a:pt x="1381" y="343"/>
                  </a:lnTo>
                  <a:lnTo>
                    <a:pt x="1363" y="331"/>
                  </a:lnTo>
                  <a:lnTo>
                    <a:pt x="1357" y="324"/>
                  </a:lnTo>
                  <a:lnTo>
                    <a:pt x="1344" y="312"/>
                  </a:lnTo>
                  <a:lnTo>
                    <a:pt x="1320" y="300"/>
                  </a:lnTo>
                  <a:lnTo>
                    <a:pt x="1290" y="288"/>
                  </a:lnTo>
                  <a:lnTo>
                    <a:pt x="1260" y="270"/>
                  </a:lnTo>
                  <a:lnTo>
                    <a:pt x="1230" y="252"/>
                  </a:lnTo>
                  <a:lnTo>
                    <a:pt x="1187" y="227"/>
                  </a:lnTo>
                  <a:lnTo>
                    <a:pt x="1119" y="227"/>
                  </a:lnTo>
                  <a:lnTo>
                    <a:pt x="1357" y="397"/>
                  </a:lnTo>
                  <a:lnTo>
                    <a:pt x="1320" y="438"/>
                  </a:lnTo>
                  <a:lnTo>
                    <a:pt x="1135" y="522"/>
                  </a:lnTo>
                  <a:lnTo>
                    <a:pt x="960" y="558"/>
                  </a:lnTo>
                  <a:lnTo>
                    <a:pt x="684" y="600"/>
                  </a:lnTo>
                  <a:lnTo>
                    <a:pt x="474" y="630"/>
                  </a:lnTo>
                  <a:lnTo>
                    <a:pt x="390" y="684"/>
                  </a:lnTo>
                  <a:lnTo>
                    <a:pt x="132" y="781"/>
                  </a:lnTo>
                  <a:lnTo>
                    <a:pt x="0" y="829"/>
                  </a:lnTo>
                  <a:lnTo>
                    <a:pt x="234" y="847"/>
                  </a:lnTo>
                  <a:lnTo>
                    <a:pt x="498" y="829"/>
                  </a:lnTo>
                  <a:lnTo>
                    <a:pt x="925" y="739"/>
                  </a:lnTo>
                  <a:lnTo>
                    <a:pt x="840" y="817"/>
                  </a:lnTo>
                  <a:lnTo>
                    <a:pt x="637" y="925"/>
                  </a:lnTo>
                  <a:lnTo>
                    <a:pt x="613" y="943"/>
                  </a:lnTo>
                  <a:lnTo>
                    <a:pt x="1405" y="943"/>
                  </a:lnTo>
                  <a:lnTo>
                    <a:pt x="1411" y="925"/>
                  </a:lnTo>
                  <a:lnTo>
                    <a:pt x="1447" y="943"/>
                  </a:lnTo>
                  <a:lnTo>
                    <a:pt x="2924" y="943"/>
                  </a:lnTo>
                  <a:lnTo>
                    <a:pt x="2888" y="859"/>
                  </a:lnTo>
                  <a:lnTo>
                    <a:pt x="2713" y="775"/>
                  </a:lnTo>
                  <a:lnTo>
                    <a:pt x="2582" y="708"/>
                  </a:lnTo>
                  <a:lnTo>
                    <a:pt x="2336" y="636"/>
                  </a:lnTo>
                  <a:lnTo>
                    <a:pt x="2299" y="606"/>
                  </a:lnTo>
                  <a:lnTo>
                    <a:pt x="2509" y="582"/>
                  </a:lnTo>
                  <a:lnTo>
                    <a:pt x="2606" y="588"/>
                  </a:lnTo>
                  <a:lnTo>
                    <a:pt x="2773" y="588"/>
                  </a:lnTo>
                  <a:lnTo>
                    <a:pt x="3001" y="582"/>
                  </a:lnTo>
                  <a:lnTo>
                    <a:pt x="3259" y="516"/>
                  </a:lnTo>
                  <a:lnTo>
                    <a:pt x="3452" y="438"/>
                  </a:lnTo>
                  <a:lnTo>
                    <a:pt x="3668" y="391"/>
                  </a:lnTo>
                  <a:lnTo>
                    <a:pt x="3668" y="312"/>
                  </a:lnTo>
                  <a:lnTo>
                    <a:pt x="3482" y="300"/>
                  </a:lnTo>
                  <a:lnTo>
                    <a:pt x="3482" y="300"/>
                  </a:lnTo>
                  <a:close/>
                </a:path>
              </a:pathLst>
            </a:custGeom>
            <a:gradFill rotWithShape="0">
              <a:gsLst>
                <a:gs pos="0">
                  <a:schemeClr val="bg2"/>
                </a:gs>
                <a:gs pos="100000">
                  <a:schemeClr val="bg1"/>
                </a:gs>
              </a:gsLst>
              <a:lin ang="5400000" scaled="1"/>
            </a:gradFill>
            <a:ln w="9525">
              <a:noFill/>
              <a:round/>
              <a:headEnd/>
              <a:tailEnd/>
            </a:ln>
          </p:spPr>
          <p:txBody>
            <a:bodyPr/>
            <a:lstStyle/>
            <a:p>
              <a:pPr eaLnBrk="0" fontAlgn="base" hangingPunct="0">
                <a:spcBef>
                  <a:spcPct val="0"/>
                </a:spcBef>
                <a:spcAft>
                  <a:spcPct val="0"/>
                </a:spcAft>
                <a:defRPr/>
              </a:pPr>
              <a:endParaRPr lang="zh-CN" altLang="en-US">
                <a:solidFill>
                  <a:srgbClr val="FFFFFF"/>
                </a:solidFill>
                <a:effectLst>
                  <a:outerShdw blurRad="38100" dist="38100" dir="2700000" algn="tl">
                    <a:srgbClr val="000000">
                      <a:alpha val="43137"/>
                    </a:srgbClr>
                  </a:outerShdw>
                </a:effectLst>
                <a:latin typeface="Arial" charset="0"/>
              </a:endParaRPr>
            </a:p>
          </p:txBody>
        </p:sp>
        <p:sp>
          <p:nvSpPr>
            <p:cNvPr id="8" name="Freeform 6"/>
            <p:cNvSpPr>
              <a:spLocks/>
            </p:cNvSpPr>
            <p:nvPr/>
          </p:nvSpPr>
          <p:spPr bwMode="hidden">
            <a:xfrm>
              <a:off x="0" y="524"/>
              <a:ext cx="973" cy="1195"/>
            </a:xfrm>
            <a:custGeom>
              <a:avLst/>
              <a:gdLst/>
              <a:ahLst/>
              <a:cxnLst>
                <a:cxn ang="0">
                  <a:pos x="323" y="1186"/>
                </a:cxn>
                <a:cxn ang="0">
                  <a:pos x="490" y="1192"/>
                </a:cxn>
                <a:cxn ang="0">
                  <a:pos x="580" y="1150"/>
                </a:cxn>
                <a:cxn ang="0">
                  <a:pos x="813" y="1085"/>
                </a:cxn>
                <a:cxn ang="0">
                  <a:pos x="933" y="1055"/>
                </a:cxn>
                <a:cxn ang="0">
                  <a:pos x="759" y="989"/>
                </a:cxn>
                <a:cxn ang="0">
                  <a:pos x="556" y="953"/>
                </a:cxn>
                <a:cxn ang="0">
                  <a:pos x="197" y="971"/>
                </a:cxn>
                <a:cxn ang="0">
                  <a:pos x="299" y="893"/>
                </a:cxn>
                <a:cxn ang="0">
                  <a:pos x="496" y="803"/>
                </a:cxn>
                <a:cxn ang="0">
                  <a:pos x="694" y="671"/>
                </a:cxn>
                <a:cxn ang="0">
                  <a:pos x="700" y="671"/>
                </a:cxn>
                <a:cxn ang="0">
                  <a:pos x="712" y="665"/>
                </a:cxn>
                <a:cxn ang="0">
                  <a:pos x="753" y="647"/>
                </a:cxn>
                <a:cxn ang="0">
                  <a:pos x="777" y="641"/>
                </a:cxn>
                <a:cxn ang="0">
                  <a:pos x="789" y="629"/>
                </a:cxn>
                <a:cxn ang="0">
                  <a:pos x="795" y="617"/>
                </a:cxn>
                <a:cxn ang="0">
                  <a:pos x="789" y="611"/>
                </a:cxn>
                <a:cxn ang="0">
                  <a:pos x="783" y="599"/>
                </a:cxn>
                <a:cxn ang="0">
                  <a:pos x="783" y="575"/>
                </a:cxn>
                <a:cxn ang="0">
                  <a:pos x="795" y="545"/>
                </a:cxn>
                <a:cxn ang="0">
                  <a:pos x="807" y="515"/>
                </a:cxn>
                <a:cxn ang="0">
                  <a:pos x="825" y="485"/>
                </a:cxn>
                <a:cxn ang="0">
                  <a:pos x="837" y="455"/>
                </a:cxn>
                <a:cxn ang="0">
                  <a:pos x="843" y="437"/>
                </a:cxn>
                <a:cxn ang="0">
                  <a:pos x="849" y="431"/>
                </a:cxn>
                <a:cxn ang="0">
                  <a:pos x="849" y="347"/>
                </a:cxn>
                <a:cxn ang="0">
                  <a:pos x="849" y="341"/>
                </a:cxn>
                <a:cxn ang="0">
                  <a:pos x="855" y="335"/>
                </a:cxn>
                <a:cxn ang="0">
                  <a:pos x="873" y="305"/>
                </a:cxn>
                <a:cxn ang="0">
                  <a:pos x="885" y="269"/>
                </a:cxn>
                <a:cxn ang="0">
                  <a:pos x="897" y="239"/>
                </a:cxn>
                <a:cxn ang="0">
                  <a:pos x="903" y="227"/>
                </a:cxn>
                <a:cxn ang="0">
                  <a:pos x="909" y="215"/>
                </a:cxn>
                <a:cxn ang="0">
                  <a:pos x="927" y="173"/>
                </a:cxn>
                <a:cxn ang="0">
                  <a:pos x="945" y="137"/>
                </a:cxn>
                <a:cxn ang="0">
                  <a:pos x="951" y="125"/>
                </a:cxn>
                <a:cxn ang="0">
                  <a:pos x="951" y="119"/>
                </a:cxn>
                <a:cxn ang="0">
                  <a:pos x="969" y="0"/>
                </a:cxn>
                <a:cxn ang="0">
                  <a:pos x="945" y="47"/>
                </a:cxn>
                <a:cxn ang="0">
                  <a:pos x="783" y="113"/>
                </a:cxn>
                <a:cxn ang="0">
                  <a:pos x="706" y="161"/>
                </a:cxn>
                <a:cxn ang="0">
                  <a:pos x="460" y="233"/>
                </a:cxn>
                <a:cxn ang="0">
                  <a:pos x="281" y="287"/>
                </a:cxn>
                <a:cxn ang="0">
                  <a:pos x="173" y="293"/>
                </a:cxn>
                <a:cxn ang="0">
                  <a:pos x="12" y="485"/>
                </a:cxn>
                <a:cxn ang="0">
                  <a:pos x="0" y="509"/>
                </a:cxn>
                <a:cxn ang="0">
                  <a:pos x="0" y="1186"/>
                </a:cxn>
                <a:cxn ang="0">
                  <a:pos x="96" y="1180"/>
                </a:cxn>
                <a:cxn ang="0">
                  <a:pos x="323" y="1186"/>
                </a:cxn>
                <a:cxn ang="0">
                  <a:pos x="323" y="1186"/>
                </a:cxn>
              </a:cxnLst>
              <a:rect l="0" t="0" r="r" b="b"/>
              <a:pathLst>
                <a:path w="969" h="1192">
                  <a:moveTo>
                    <a:pt x="323" y="1186"/>
                  </a:moveTo>
                  <a:lnTo>
                    <a:pt x="490" y="1192"/>
                  </a:lnTo>
                  <a:lnTo>
                    <a:pt x="580" y="1150"/>
                  </a:lnTo>
                  <a:lnTo>
                    <a:pt x="813" y="1085"/>
                  </a:lnTo>
                  <a:lnTo>
                    <a:pt x="933" y="1055"/>
                  </a:lnTo>
                  <a:lnTo>
                    <a:pt x="759" y="989"/>
                  </a:lnTo>
                  <a:lnTo>
                    <a:pt x="556" y="953"/>
                  </a:lnTo>
                  <a:lnTo>
                    <a:pt x="197" y="971"/>
                  </a:lnTo>
                  <a:lnTo>
                    <a:pt x="299" y="893"/>
                  </a:lnTo>
                  <a:lnTo>
                    <a:pt x="496" y="803"/>
                  </a:lnTo>
                  <a:lnTo>
                    <a:pt x="694" y="671"/>
                  </a:lnTo>
                  <a:lnTo>
                    <a:pt x="700" y="671"/>
                  </a:lnTo>
                  <a:lnTo>
                    <a:pt x="712" y="665"/>
                  </a:lnTo>
                  <a:lnTo>
                    <a:pt x="753" y="647"/>
                  </a:lnTo>
                  <a:lnTo>
                    <a:pt x="777" y="641"/>
                  </a:lnTo>
                  <a:lnTo>
                    <a:pt x="789" y="629"/>
                  </a:lnTo>
                  <a:lnTo>
                    <a:pt x="795" y="617"/>
                  </a:lnTo>
                  <a:lnTo>
                    <a:pt x="789" y="611"/>
                  </a:lnTo>
                  <a:lnTo>
                    <a:pt x="783" y="599"/>
                  </a:lnTo>
                  <a:lnTo>
                    <a:pt x="783" y="575"/>
                  </a:lnTo>
                  <a:lnTo>
                    <a:pt x="795" y="545"/>
                  </a:lnTo>
                  <a:lnTo>
                    <a:pt x="807" y="515"/>
                  </a:lnTo>
                  <a:lnTo>
                    <a:pt x="825" y="485"/>
                  </a:lnTo>
                  <a:lnTo>
                    <a:pt x="837" y="455"/>
                  </a:lnTo>
                  <a:lnTo>
                    <a:pt x="843" y="437"/>
                  </a:lnTo>
                  <a:lnTo>
                    <a:pt x="849" y="431"/>
                  </a:lnTo>
                  <a:lnTo>
                    <a:pt x="849" y="347"/>
                  </a:lnTo>
                  <a:lnTo>
                    <a:pt x="849" y="341"/>
                  </a:lnTo>
                  <a:lnTo>
                    <a:pt x="855" y="335"/>
                  </a:lnTo>
                  <a:lnTo>
                    <a:pt x="873" y="305"/>
                  </a:lnTo>
                  <a:lnTo>
                    <a:pt x="885" y="269"/>
                  </a:lnTo>
                  <a:lnTo>
                    <a:pt x="897" y="239"/>
                  </a:lnTo>
                  <a:lnTo>
                    <a:pt x="903" y="227"/>
                  </a:lnTo>
                  <a:lnTo>
                    <a:pt x="909" y="215"/>
                  </a:lnTo>
                  <a:lnTo>
                    <a:pt x="927" y="173"/>
                  </a:lnTo>
                  <a:lnTo>
                    <a:pt x="945" y="137"/>
                  </a:lnTo>
                  <a:lnTo>
                    <a:pt x="951" y="125"/>
                  </a:lnTo>
                  <a:lnTo>
                    <a:pt x="951" y="119"/>
                  </a:lnTo>
                  <a:lnTo>
                    <a:pt x="969" y="0"/>
                  </a:lnTo>
                  <a:lnTo>
                    <a:pt x="945" y="47"/>
                  </a:lnTo>
                  <a:lnTo>
                    <a:pt x="783" y="113"/>
                  </a:lnTo>
                  <a:lnTo>
                    <a:pt x="706" y="161"/>
                  </a:lnTo>
                  <a:lnTo>
                    <a:pt x="460" y="233"/>
                  </a:lnTo>
                  <a:lnTo>
                    <a:pt x="281" y="287"/>
                  </a:lnTo>
                  <a:lnTo>
                    <a:pt x="173" y="293"/>
                  </a:lnTo>
                  <a:lnTo>
                    <a:pt x="12" y="485"/>
                  </a:lnTo>
                  <a:lnTo>
                    <a:pt x="0" y="509"/>
                  </a:lnTo>
                  <a:lnTo>
                    <a:pt x="0" y="1186"/>
                  </a:lnTo>
                  <a:lnTo>
                    <a:pt x="96" y="1180"/>
                  </a:lnTo>
                  <a:lnTo>
                    <a:pt x="323" y="1186"/>
                  </a:lnTo>
                  <a:lnTo>
                    <a:pt x="323" y="1186"/>
                  </a:lnTo>
                  <a:close/>
                </a:path>
              </a:pathLst>
            </a:custGeom>
            <a:gradFill rotWithShape="0">
              <a:gsLst>
                <a:gs pos="0">
                  <a:schemeClr val="bg2"/>
                </a:gs>
                <a:gs pos="100000">
                  <a:schemeClr val="bg1"/>
                </a:gs>
              </a:gsLst>
              <a:lin ang="5400000" scaled="1"/>
            </a:gradFill>
            <a:ln w="9525">
              <a:noFill/>
              <a:round/>
              <a:headEnd/>
              <a:tailEnd/>
            </a:ln>
          </p:spPr>
          <p:txBody>
            <a:bodyPr/>
            <a:lstStyle/>
            <a:p>
              <a:pPr eaLnBrk="0" fontAlgn="base" hangingPunct="0">
                <a:spcBef>
                  <a:spcPct val="0"/>
                </a:spcBef>
                <a:spcAft>
                  <a:spcPct val="0"/>
                </a:spcAft>
                <a:defRPr/>
              </a:pPr>
              <a:endParaRPr lang="zh-CN" altLang="en-US">
                <a:solidFill>
                  <a:srgbClr val="FFFFFF"/>
                </a:solidFill>
                <a:effectLst>
                  <a:outerShdw blurRad="38100" dist="38100" dir="2700000" algn="tl">
                    <a:srgbClr val="000000">
                      <a:alpha val="43137"/>
                    </a:srgbClr>
                  </a:outerShdw>
                </a:effectLst>
                <a:latin typeface="Arial" charset="0"/>
              </a:endParaRPr>
            </a:p>
          </p:txBody>
        </p:sp>
        <p:sp>
          <p:nvSpPr>
            <p:cNvPr id="9" name="Freeform 7"/>
            <p:cNvSpPr>
              <a:spLocks/>
            </p:cNvSpPr>
            <p:nvPr/>
          </p:nvSpPr>
          <p:spPr bwMode="hidden">
            <a:xfrm>
              <a:off x="3188" y="1"/>
              <a:ext cx="2570" cy="2266"/>
            </a:xfrm>
            <a:custGeom>
              <a:avLst/>
              <a:gdLst/>
              <a:ahLst/>
              <a:cxnLst>
                <a:cxn ang="0">
                  <a:pos x="859" y="612"/>
                </a:cxn>
                <a:cxn ang="0">
                  <a:pos x="1087" y="853"/>
                </a:cxn>
                <a:cxn ang="0">
                  <a:pos x="961" y="913"/>
                </a:cxn>
                <a:cxn ang="0">
                  <a:pos x="786" y="883"/>
                </a:cxn>
                <a:cxn ang="0">
                  <a:pos x="450" y="931"/>
                </a:cxn>
                <a:cxn ang="0">
                  <a:pos x="150" y="1075"/>
                </a:cxn>
                <a:cxn ang="0">
                  <a:pos x="78" y="1165"/>
                </a:cxn>
                <a:cxn ang="0">
                  <a:pos x="361" y="1256"/>
                </a:cxn>
                <a:cxn ang="0">
                  <a:pos x="444" y="1316"/>
                </a:cxn>
                <a:cxn ang="0">
                  <a:pos x="697" y="1400"/>
                </a:cxn>
                <a:cxn ang="0">
                  <a:pos x="1026" y="1346"/>
                </a:cxn>
                <a:cxn ang="0">
                  <a:pos x="991" y="1412"/>
                </a:cxn>
                <a:cxn ang="0">
                  <a:pos x="804" y="1574"/>
                </a:cxn>
                <a:cxn ang="0">
                  <a:pos x="726" y="1718"/>
                </a:cxn>
                <a:cxn ang="0">
                  <a:pos x="768" y="1742"/>
                </a:cxn>
                <a:cxn ang="0">
                  <a:pos x="865" y="1693"/>
                </a:cxn>
                <a:cxn ang="0">
                  <a:pos x="991" y="1699"/>
                </a:cxn>
                <a:cxn ang="0">
                  <a:pos x="1135" y="1627"/>
                </a:cxn>
                <a:cxn ang="0">
                  <a:pos x="1183" y="1669"/>
                </a:cxn>
                <a:cxn ang="0">
                  <a:pos x="1399" y="1436"/>
                </a:cxn>
                <a:cxn ang="0">
                  <a:pos x="1615" y="1334"/>
                </a:cxn>
                <a:cxn ang="0">
                  <a:pos x="1645" y="1370"/>
                </a:cxn>
                <a:cxn ang="0">
                  <a:pos x="1681" y="1430"/>
                </a:cxn>
                <a:cxn ang="0">
                  <a:pos x="1699" y="1466"/>
                </a:cxn>
                <a:cxn ang="0">
                  <a:pos x="1747" y="1550"/>
                </a:cxn>
                <a:cxn ang="0">
                  <a:pos x="1772" y="1586"/>
                </a:cxn>
                <a:cxn ang="0">
                  <a:pos x="2124" y="2248"/>
                </a:cxn>
                <a:cxn ang="0">
                  <a:pos x="1693" y="1322"/>
                </a:cxn>
                <a:cxn ang="0">
                  <a:pos x="1861" y="1165"/>
                </a:cxn>
                <a:cxn ang="0">
                  <a:pos x="2173" y="1099"/>
                </a:cxn>
                <a:cxn ang="0">
                  <a:pos x="2390" y="1009"/>
                </a:cxn>
                <a:cxn ang="0">
                  <a:pos x="2570" y="805"/>
                </a:cxn>
                <a:cxn ang="0">
                  <a:pos x="2342" y="781"/>
                </a:cxn>
                <a:cxn ang="0">
                  <a:pos x="2114" y="763"/>
                </a:cxn>
                <a:cxn ang="0">
                  <a:pos x="2408" y="433"/>
                </a:cxn>
                <a:cxn ang="0">
                  <a:pos x="2426" y="421"/>
                </a:cxn>
                <a:cxn ang="0">
                  <a:pos x="2474" y="379"/>
                </a:cxn>
                <a:cxn ang="0">
                  <a:pos x="2492" y="355"/>
                </a:cxn>
                <a:cxn ang="0">
                  <a:pos x="2474" y="337"/>
                </a:cxn>
                <a:cxn ang="0">
                  <a:pos x="2474" y="271"/>
                </a:cxn>
                <a:cxn ang="0">
                  <a:pos x="2492" y="192"/>
                </a:cxn>
                <a:cxn ang="0">
                  <a:pos x="2504" y="132"/>
                </a:cxn>
                <a:cxn ang="0">
                  <a:pos x="2492" y="36"/>
                </a:cxn>
                <a:cxn ang="0">
                  <a:pos x="2492" y="24"/>
                </a:cxn>
                <a:cxn ang="0">
                  <a:pos x="2102" y="0"/>
                </a:cxn>
                <a:cxn ang="0">
                  <a:pos x="1909" y="90"/>
                </a:cxn>
                <a:cxn ang="0">
                  <a:pos x="1747" y="535"/>
                </a:cxn>
                <a:cxn ang="0">
                  <a:pos x="1711" y="469"/>
                </a:cxn>
                <a:cxn ang="0">
                  <a:pos x="1633" y="144"/>
                </a:cxn>
                <a:cxn ang="0">
                  <a:pos x="1579" y="0"/>
                </a:cxn>
                <a:cxn ang="0">
                  <a:pos x="738" y="186"/>
                </a:cxn>
                <a:cxn ang="0">
                  <a:pos x="756" y="463"/>
                </a:cxn>
              </a:cxnLst>
              <a:rect l="0" t="0" r="r" b="b"/>
              <a:pathLst>
                <a:path w="2570" h="2266">
                  <a:moveTo>
                    <a:pt x="756" y="463"/>
                  </a:moveTo>
                  <a:lnTo>
                    <a:pt x="859" y="612"/>
                  </a:lnTo>
                  <a:lnTo>
                    <a:pt x="937" y="720"/>
                  </a:lnTo>
                  <a:lnTo>
                    <a:pt x="1087" y="853"/>
                  </a:lnTo>
                  <a:lnTo>
                    <a:pt x="1105" y="907"/>
                  </a:lnTo>
                  <a:lnTo>
                    <a:pt x="961" y="913"/>
                  </a:lnTo>
                  <a:lnTo>
                    <a:pt x="895" y="901"/>
                  </a:lnTo>
                  <a:lnTo>
                    <a:pt x="786" y="883"/>
                  </a:lnTo>
                  <a:lnTo>
                    <a:pt x="637" y="859"/>
                  </a:lnTo>
                  <a:lnTo>
                    <a:pt x="450" y="931"/>
                  </a:lnTo>
                  <a:lnTo>
                    <a:pt x="306" y="1021"/>
                  </a:lnTo>
                  <a:lnTo>
                    <a:pt x="150" y="1075"/>
                  </a:lnTo>
                  <a:lnTo>
                    <a:pt x="0" y="1153"/>
                  </a:lnTo>
                  <a:lnTo>
                    <a:pt x="78" y="1165"/>
                  </a:lnTo>
                  <a:lnTo>
                    <a:pt x="264" y="1220"/>
                  </a:lnTo>
                  <a:lnTo>
                    <a:pt x="361" y="1256"/>
                  </a:lnTo>
                  <a:lnTo>
                    <a:pt x="367" y="1298"/>
                  </a:lnTo>
                  <a:lnTo>
                    <a:pt x="444" y="1316"/>
                  </a:lnTo>
                  <a:lnTo>
                    <a:pt x="558" y="1400"/>
                  </a:lnTo>
                  <a:lnTo>
                    <a:pt x="697" y="1400"/>
                  </a:lnTo>
                  <a:lnTo>
                    <a:pt x="895" y="1346"/>
                  </a:lnTo>
                  <a:lnTo>
                    <a:pt x="1026" y="1346"/>
                  </a:lnTo>
                  <a:lnTo>
                    <a:pt x="1147" y="1358"/>
                  </a:lnTo>
                  <a:lnTo>
                    <a:pt x="991" y="1412"/>
                  </a:lnTo>
                  <a:lnTo>
                    <a:pt x="804" y="1538"/>
                  </a:lnTo>
                  <a:lnTo>
                    <a:pt x="804" y="1574"/>
                  </a:lnTo>
                  <a:lnTo>
                    <a:pt x="762" y="1645"/>
                  </a:lnTo>
                  <a:lnTo>
                    <a:pt x="726" y="1718"/>
                  </a:lnTo>
                  <a:lnTo>
                    <a:pt x="732" y="1754"/>
                  </a:lnTo>
                  <a:lnTo>
                    <a:pt x="768" y="1742"/>
                  </a:lnTo>
                  <a:lnTo>
                    <a:pt x="829" y="1730"/>
                  </a:lnTo>
                  <a:lnTo>
                    <a:pt x="865" y="1693"/>
                  </a:lnTo>
                  <a:lnTo>
                    <a:pt x="925" y="1663"/>
                  </a:lnTo>
                  <a:lnTo>
                    <a:pt x="991" y="1699"/>
                  </a:lnTo>
                  <a:lnTo>
                    <a:pt x="1087" y="1675"/>
                  </a:lnTo>
                  <a:lnTo>
                    <a:pt x="1135" y="1627"/>
                  </a:lnTo>
                  <a:lnTo>
                    <a:pt x="1147" y="1687"/>
                  </a:lnTo>
                  <a:lnTo>
                    <a:pt x="1183" y="1669"/>
                  </a:lnTo>
                  <a:lnTo>
                    <a:pt x="1333" y="1514"/>
                  </a:lnTo>
                  <a:lnTo>
                    <a:pt x="1399" y="1436"/>
                  </a:lnTo>
                  <a:lnTo>
                    <a:pt x="1526" y="1382"/>
                  </a:lnTo>
                  <a:lnTo>
                    <a:pt x="1615" y="1334"/>
                  </a:lnTo>
                  <a:lnTo>
                    <a:pt x="1627" y="1346"/>
                  </a:lnTo>
                  <a:lnTo>
                    <a:pt x="1645" y="1370"/>
                  </a:lnTo>
                  <a:lnTo>
                    <a:pt x="1669" y="1400"/>
                  </a:lnTo>
                  <a:lnTo>
                    <a:pt x="1681" y="1430"/>
                  </a:lnTo>
                  <a:lnTo>
                    <a:pt x="1687" y="1448"/>
                  </a:lnTo>
                  <a:lnTo>
                    <a:pt x="1699" y="1466"/>
                  </a:lnTo>
                  <a:lnTo>
                    <a:pt x="1729" y="1520"/>
                  </a:lnTo>
                  <a:lnTo>
                    <a:pt x="1747" y="1550"/>
                  </a:lnTo>
                  <a:lnTo>
                    <a:pt x="1766" y="1574"/>
                  </a:lnTo>
                  <a:lnTo>
                    <a:pt x="1772" y="1586"/>
                  </a:lnTo>
                  <a:lnTo>
                    <a:pt x="1778" y="1592"/>
                  </a:lnTo>
                  <a:lnTo>
                    <a:pt x="2124" y="2248"/>
                  </a:lnTo>
                  <a:lnTo>
                    <a:pt x="2215" y="2266"/>
                  </a:lnTo>
                  <a:lnTo>
                    <a:pt x="1693" y="1322"/>
                  </a:lnTo>
                  <a:lnTo>
                    <a:pt x="1723" y="1262"/>
                  </a:lnTo>
                  <a:lnTo>
                    <a:pt x="1861" y="1165"/>
                  </a:lnTo>
                  <a:lnTo>
                    <a:pt x="1988" y="1129"/>
                  </a:lnTo>
                  <a:lnTo>
                    <a:pt x="2173" y="1099"/>
                  </a:lnTo>
                  <a:lnTo>
                    <a:pt x="2318" y="1075"/>
                  </a:lnTo>
                  <a:lnTo>
                    <a:pt x="2390" y="1009"/>
                  </a:lnTo>
                  <a:lnTo>
                    <a:pt x="2570" y="895"/>
                  </a:lnTo>
                  <a:lnTo>
                    <a:pt x="2570" y="805"/>
                  </a:lnTo>
                  <a:lnTo>
                    <a:pt x="2516" y="787"/>
                  </a:lnTo>
                  <a:lnTo>
                    <a:pt x="2342" y="781"/>
                  </a:lnTo>
                  <a:lnTo>
                    <a:pt x="2042" y="871"/>
                  </a:lnTo>
                  <a:lnTo>
                    <a:pt x="2114" y="763"/>
                  </a:lnTo>
                  <a:lnTo>
                    <a:pt x="2264" y="624"/>
                  </a:lnTo>
                  <a:lnTo>
                    <a:pt x="2408" y="433"/>
                  </a:lnTo>
                  <a:lnTo>
                    <a:pt x="2414" y="433"/>
                  </a:lnTo>
                  <a:lnTo>
                    <a:pt x="2426" y="421"/>
                  </a:lnTo>
                  <a:lnTo>
                    <a:pt x="2456" y="397"/>
                  </a:lnTo>
                  <a:lnTo>
                    <a:pt x="2474" y="379"/>
                  </a:lnTo>
                  <a:lnTo>
                    <a:pt x="2486" y="367"/>
                  </a:lnTo>
                  <a:lnTo>
                    <a:pt x="2492" y="355"/>
                  </a:lnTo>
                  <a:lnTo>
                    <a:pt x="2486" y="349"/>
                  </a:lnTo>
                  <a:lnTo>
                    <a:pt x="2474" y="337"/>
                  </a:lnTo>
                  <a:lnTo>
                    <a:pt x="2474" y="307"/>
                  </a:lnTo>
                  <a:lnTo>
                    <a:pt x="2474" y="271"/>
                  </a:lnTo>
                  <a:lnTo>
                    <a:pt x="2480" y="228"/>
                  </a:lnTo>
                  <a:lnTo>
                    <a:pt x="2492" y="192"/>
                  </a:lnTo>
                  <a:lnTo>
                    <a:pt x="2498" y="156"/>
                  </a:lnTo>
                  <a:lnTo>
                    <a:pt x="2504" y="132"/>
                  </a:lnTo>
                  <a:lnTo>
                    <a:pt x="2504" y="126"/>
                  </a:lnTo>
                  <a:lnTo>
                    <a:pt x="2492" y="36"/>
                  </a:lnTo>
                  <a:lnTo>
                    <a:pt x="2492" y="36"/>
                  </a:lnTo>
                  <a:lnTo>
                    <a:pt x="2492" y="24"/>
                  </a:lnTo>
                  <a:lnTo>
                    <a:pt x="2498" y="0"/>
                  </a:lnTo>
                  <a:lnTo>
                    <a:pt x="2102" y="0"/>
                  </a:lnTo>
                  <a:lnTo>
                    <a:pt x="2006" y="60"/>
                  </a:lnTo>
                  <a:lnTo>
                    <a:pt x="1909" y="90"/>
                  </a:lnTo>
                  <a:lnTo>
                    <a:pt x="1808" y="337"/>
                  </a:lnTo>
                  <a:lnTo>
                    <a:pt x="1747" y="535"/>
                  </a:lnTo>
                  <a:lnTo>
                    <a:pt x="1687" y="588"/>
                  </a:lnTo>
                  <a:lnTo>
                    <a:pt x="1711" y="469"/>
                  </a:lnTo>
                  <a:lnTo>
                    <a:pt x="1687" y="343"/>
                  </a:lnTo>
                  <a:lnTo>
                    <a:pt x="1633" y="144"/>
                  </a:lnTo>
                  <a:lnTo>
                    <a:pt x="1585" y="12"/>
                  </a:lnTo>
                  <a:lnTo>
                    <a:pt x="1579" y="0"/>
                  </a:lnTo>
                  <a:lnTo>
                    <a:pt x="786" y="0"/>
                  </a:lnTo>
                  <a:lnTo>
                    <a:pt x="738" y="186"/>
                  </a:lnTo>
                  <a:lnTo>
                    <a:pt x="756" y="463"/>
                  </a:lnTo>
                  <a:lnTo>
                    <a:pt x="756" y="463"/>
                  </a:lnTo>
                  <a:close/>
                </a:path>
              </a:pathLst>
            </a:custGeom>
            <a:gradFill rotWithShape="0">
              <a:gsLst>
                <a:gs pos="0">
                  <a:schemeClr val="bg2"/>
                </a:gs>
                <a:gs pos="100000">
                  <a:schemeClr val="bg1"/>
                </a:gs>
              </a:gsLst>
              <a:lin ang="5400000" scaled="1"/>
            </a:gradFill>
            <a:ln w="9525">
              <a:noFill/>
              <a:round/>
              <a:headEnd/>
              <a:tailEnd/>
            </a:ln>
          </p:spPr>
          <p:txBody>
            <a:bodyPr/>
            <a:lstStyle/>
            <a:p>
              <a:pPr eaLnBrk="0" fontAlgn="base" hangingPunct="0">
                <a:spcBef>
                  <a:spcPct val="0"/>
                </a:spcBef>
                <a:spcAft>
                  <a:spcPct val="0"/>
                </a:spcAft>
                <a:defRPr/>
              </a:pPr>
              <a:endParaRPr lang="zh-CN" altLang="en-US">
                <a:solidFill>
                  <a:srgbClr val="FFFFFF"/>
                </a:solidFill>
                <a:effectLst>
                  <a:outerShdw blurRad="38100" dist="38100" dir="2700000" algn="tl">
                    <a:srgbClr val="000000">
                      <a:alpha val="43137"/>
                    </a:srgbClr>
                  </a:outerShdw>
                </a:effectLst>
                <a:latin typeface="Arial" charset="0"/>
              </a:endParaRPr>
            </a:p>
          </p:txBody>
        </p:sp>
        <p:sp>
          <p:nvSpPr>
            <p:cNvPr id="10" name="Freeform 8"/>
            <p:cNvSpPr>
              <a:spLocks/>
            </p:cNvSpPr>
            <p:nvPr/>
          </p:nvSpPr>
          <p:spPr bwMode="hidden">
            <a:xfrm>
              <a:off x="3525" y="1"/>
              <a:ext cx="2185" cy="1508"/>
            </a:xfrm>
            <a:custGeom>
              <a:avLst/>
              <a:gdLst/>
              <a:ahLst/>
              <a:cxnLst>
                <a:cxn ang="0">
                  <a:pos x="1034" y="767"/>
                </a:cxn>
                <a:cxn ang="0">
                  <a:pos x="1190" y="1235"/>
                </a:cxn>
                <a:cxn ang="0">
                  <a:pos x="956" y="1193"/>
                </a:cxn>
                <a:cxn ang="0">
                  <a:pos x="723" y="1127"/>
                </a:cxn>
                <a:cxn ang="0">
                  <a:pos x="442" y="1109"/>
                </a:cxn>
                <a:cxn ang="0">
                  <a:pos x="0" y="1079"/>
                </a:cxn>
                <a:cxn ang="0">
                  <a:pos x="30" y="1115"/>
                </a:cxn>
                <a:cxn ang="0">
                  <a:pos x="496" y="1133"/>
                </a:cxn>
                <a:cxn ang="0">
                  <a:pos x="777" y="1187"/>
                </a:cxn>
                <a:cxn ang="0">
                  <a:pos x="1130" y="1301"/>
                </a:cxn>
                <a:cxn ang="0">
                  <a:pos x="1070" y="1319"/>
                </a:cxn>
                <a:cxn ang="0">
                  <a:pos x="711" y="1505"/>
                </a:cxn>
                <a:cxn ang="0">
                  <a:pos x="765" y="1481"/>
                </a:cxn>
                <a:cxn ang="0">
                  <a:pos x="861" y="1439"/>
                </a:cxn>
                <a:cxn ang="0">
                  <a:pos x="1022" y="1355"/>
                </a:cxn>
                <a:cxn ang="0">
                  <a:pos x="1214" y="1295"/>
                </a:cxn>
                <a:cxn ang="0">
                  <a:pos x="1267" y="1223"/>
                </a:cxn>
                <a:cxn ang="0">
                  <a:pos x="1632" y="1043"/>
                </a:cxn>
                <a:cxn ang="0">
                  <a:pos x="1931" y="953"/>
                </a:cxn>
                <a:cxn ang="0">
                  <a:pos x="2176" y="821"/>
                </a:cxn>
                <a:cxn ang="0">
                  <a:pos x="1961" y="911"/>
                </a:cxn>
                <a:cxn ang="0">
                  <a:pos x="1656" y="989"/>
                </a:cxn>
                <a:cxn ang="0">
                  <a:pos x="1339" y="1151"/>
                </a:cxn>
                <a:cxn ang="0">
                  <a:pos x="1501" y="905"/>
                </a:cxn>
                <a:cxn ang="0">
                  <a:pos x="1620" y="545"/>
                </a:cxn>
                <a:cxn ang="0">
                  <a:pos x="1740" y="372"/>
                </a:cxn>
                <a:cxn ang="0">
                  <a:pos x="1979" y="60"/>
                </a:cxn>
                <a:cxn ang="0">
                  <a:pos x="2003" y="0"/>
                </a:cxn>
                <a:cxn ang="0">
                  <a:pos x="1973" y="0"/>
                </a:cxn>
                <a:cxn ang="0">
                  <a:pos x="1596" y="480"/>
                </a:cxn>
                <a:cxn ang="0">
                  <a:pos x="1477" y="887"/>
                </a:cxn>
                <a:cxn ang="0">
                  <a:pos x="1255" y="1175"/>
                </a:cxn>
                <a:cxn ang="0">
                  <a:pos x="1130" y="905"/>
                </a:cxn>
                <a:cxn ang="0">
                  <a:pos x="1010" y="540"/>
                </a:cxn>
                <a:cxn ang="0">
                  <a:pos x="885" y="222"/>
                </a:cxn>
                <a:cxn ang="0">
                  <a:pos x="789" y="0"/>
                </a:cxn>
                <a:cxn ang="0">
                  <a:pos x="753" y="0"/>
                </a:cxn>
                <a:cxn ang="0">
                  <a:pos x="903" y="354"/>
                </a:cxn>
                <a:cxn ang="0">
                  <a:pos x="1034" y="767"/>
                </a:cxn>
                <a:cxn ang="0">
                  <a:pos x="1034" y="767"/>
                </a:cxn>
              </a:cxnLst>
              <a:rect l="0" t="0" r="r" b="b"/>
              <a:pathLst>
                <a:path w="2176" h="1505">
                  <a:moveTo>
                    <a:pt x="1034" y="767"/>
                  </a:moveTo>
                  <a:lnTo>
                    <a:pt x="1190" y="1235"/>
                  </a:lnTo>
                  <a:lnTo>
                    <a:pt x="956" y="1193"/>
                  </a:lnTo>
                  <a:lnTo>
                    <a:pt x="723" y="1127"/>
                  </a:lnTo>
                  <a:lnTo>
                    <a:pt x="442" y="1109"/>
                  </a:lnTo>
                  <a:lnTo>
                    <a:pt x="0" y="1079"/>
                  </a:lnTo>
                  <a:lnTo>
                    <a:pt x="30" y="1115"/>
                  </a:lnTo>
                  <a:lnTo>
                    <a:pt x="496" y="1133"/>
                  </a:lnTo>
                  <a:lnTo>
                    <a:pt x="777" y="1187"/>
                  </a:lnTo>
                  <a:lnTo>
                    <a:pt x="1130" y="1301"/>
                  </a:lnTo>
                  <a:lnTo>
                    <a:pt x="1070" y="1319"/>
                  </a:lnTo>
                  <a:lnTo>
                    <a:pt x="711" y="1505"/>
                  </a:lnTo>
                  <a:lnTo>
                    <a:pt x="765" y="1481"/>
                  </a:lnTo>
                  <a:lnTo>
                    <a:pt x="861" y="1439"/>
                  </a:lnTo>
                  <a:lnTo>
                    <a:pt x="1022" y="1355"/>
                  </a:lnTo>
                  <a:lnTo>
                    <a:pt x="1214" y="1295"/>
                  </a:lnTo>
                  <a:lnTo>
                    <a:pt x="1267" y="1223"/>
                  </a:lnTo>
                  <a:lnTo>
                    <a:pt x="1632" y="1043"/>
                  </a:lnTo>
                  <a:lnTo>
                    <a:pt x="1931" y="953"/>
                  </a:lnTo>
                  <a:lnTo>
                    <a:pt x="2176" y="821"/>
                  </a:lnTo>
                  <a:lnTo>
                    <a:pt x="1961" y="911"/>
                  </a:lnTo>
                  <a:lnTo>
                    <a:pt x="1656" y="989"/>
                  </a:lnTo>
                  <a:lnTo>
                    <a:pt x="1339" y="1151"/>
                  </a:lnTo>
                  <a:lnTo>
                    <a:pt x="1501" y="905"/>
                  </a:lnTo>
                  <a:lnTo>
                    <a:pt x="1620" y="545"/>
                  </a:lnTo>
                  <a:lnTo>
                    <a:pt x="1740" y="372"/>
                  </a:lnTo>
                  <a:lnTo>
                    <a:pt x="1979" y="60"/>
                  </a:lnTo>
                  <a:lnTo>
                    <a:pt x="2003" y="0"/>
                  </a:lnTo>
                  <a:lnTo>
                    <a:pt x="1973" y="0"/>
                  </a:lnTo>
                  <a:lnTo>
                    <a:pt x="1596" y="480"/>
                  </a:lnTo>
                  <a:lnTo>
                    <a:pt x="1477" y="887"/>
                  </a:lnTo>
                  <a:lnTo>
                    <a:pt x="1255" y="1175"/>
                  </a:lnTo>
                  <a:lnTo>
                    <a:pt x="1130" y="905"/>
                  </a:lnTo>
                  <a:lnTo>
                    <a:pt x="1010" y="540"/>
                  </a:lnTo>
                  <a:lnTo>
                    <a:pt x="885" y="222"/>
                  </a:lnTo>
                  <a:lnTo>
                    <a:pt x="789" y="0"/>
                  </a:lnTo>
                  <a:lnTo>
                    <a:pt x="753" y="0"/>
                  </a:lnTo>
                  <a:lnTo>
                    <a:pt x="903" y="354"/>
                  </a:lnTo>
                  <a:lnTo>
                    <a:pt x="1034" y="767"/>
                  </a:lnTo>
                  <a:lnTo>
                    <a:pt x="1034" y="767"/>
                  </a:lnTo>
                  <a:close/>
                </a:path>
              </a:pathLst>
            </a:custGeom>
            <a:gradFill rotWithShape="0">
              <a:gsLst>
                <a:gs pos="0">
                  <a:schemeClr val="accent2"/>
                </a:gs>
                <a:gs pos="100000">
                  <a:schemeClr val="bg1"/>
                </a:gs>
              </a:gsLst>
              <a:lin ang="5400000" scaled="1"/>
            </a:gradFill>
            <a:ln w="9525">
              <a:noFill/>
              <a:round/>
              <a:headEnd/>
              <a:tailEnd/>
            </a:ln>
          </p:spPr>
          <p:txBody>
            <a:bodyPr/>
            <a:lstStyle/>
            <a:p>
              <a:pPr eaLnBrk="0" fontAlgn="base" hangingPunct="0">
                <a:spcBef>
                  <a:spcPct val="0"/>
                </a:spcBef>
                <a:spcAft>
                  <a:spcPct val="0"/>
                </a:spcAft>
                <a:defRPr/>
              </a:pPr>
              <a:endParaRPr lang="zh-CN" altLang="en-US">
                <a:solidFill>
                  <a:srgbClr val="FFFFFF"/>
                </a:solidFill>
                <a:effectLst>
                  <a:outerShdw blurRad="38100" dist="38100" dir="2700000" algn="tl">
                    <a:srgbClr val="000000">
                      <a:alpha val="43137"/>
                    </a:srgbClr>
                  </a:outerShdw>
                </a:effectLst>
                <a:latin typeface="Arial" charset="0"/>
              </a:endParaRPr>
            </a:p>
          </p:txBody>
        </p:sp>
        <p:sp>
          <p:nvSpPr>
            <p:cNvPr id="11" name="Freeform 9"/>
            <p:cNvSpPr>
              <a:spLocks/>
            </p:cNvSpPr>
            <p:nvPr/>
          </p:nvSpPr>
          <p:spPr bwMode="hidden">
            <a:xfrm>
              <a:off x="0" y="649"/>
              <a:ext cx="816" cy="806"/>
            </a:xfrm>
            <a:custGeom>
              <a:avLst/>
              <a:gdLst/>
              <a:ahLst/>
              <a:cxnLst>
                <a:cxn ang="0">
                  <a:pos x="161" y="564"/>
                </a:cxn>
                <a:cxn ang="0">
                  <a:pos x="329" y="438"/>
                </a:cxn>
                <a:cxn ang="0">
                  <a:pos x="646" y="216"/>
                </a:cxn>
                <a:cxn ang="0">
                  <a:pos x="813" y="0"/>
                </a:cxn>
                <a:cxn ang="0">
                  <a:pos x="676" y="150"/>
                </a:cxn>
                <a:cxn ang="0">
                  <a:pos x="144" y="504"/>
                </a:cxn>
                <a:cxn ang="0">
                  <a:pos x="0" y="732"/>
                </a:cxn>
                <a:cxn ang="0">
                  <a:pos x="0" y="804"/>
                </a:cxn>
                <a:cxn ang="0">
                  <a:pos x="161" y="564"/>
                </a:cxn>
                <a:cxn ang="0">
                  <a:pos x="161" y="564"/>
                </a:cxn>
              </a:cxnLst>
              <a:rect l="0" t="0" r="r" b="b"/>
              <a:pathLst>
                <a:path w="813" h="804">
                  <a:moveTo>
                    <a:pt x="161" y="564"/>
                  </a:moveTo>
                  <a:lnTo>
                    <a:pt x="329" y="438"/>
                  </a:lnTo>
                  <a:lnTo>
                    <a:pt x="646" y="216"/>
                  </a:lnTo>
                  <a:lnTo>
                    <a:pt x="813" y="0"/>
                  </a:lnTo>
                  <a:lnTo>
                    <a:pt x="676" y="150"/>
                  </a:lnTo>
                  <a:lnTo>
                    <a:pt x="144" y="504"/>
                  </a:lnTo>
                  <a:lnTo>
                    <a:pt x="0" y="732"/>
                  </a:lnTo>
                  <a:lnTo>
                    <a:pt x="0" y="804"/>
                  </a:lnTo>
                  <a:lnTo>
                    <a:pt x="161" y="564"/>
                  </a:lnTo>
                  <a:lnTo>
                    <a:pt x="161" y="564"/>
                  </a:lnTo>
                  <a:close/>
                </a:path>
              </a:pathLst>
            </a:custGeom>
            <a:gradFill rotWithShape="0">
              <a:gsLst>
                <a:gs pos="0">
                  <a:schemeClr val="accent2"/>
                </a:gs>
                <a:gs pos="100000">
                  <a:schemeClr val="bg1"/>
                </a:gs>
              </a:gsLst>
              <a:lin ang="5400000" scaled="1"/>
            </a:gradFill>
            <a:ln w="9525">
              <a:noFill/>
              <a:round/>
              <a:headEnd/>
              <a:tailEnd/>
            </a:ln>
          </p:spPr>
          <p:txBody>
            <a:bodyPr/>
            <a:lstStyle/>
            <a:p>
              <a:pPr eaLnBrk="0" fontAlgn="base" hangingPunct="0">
                <a:spcBef>
                  <a:spcPct val="0"/>
                </a:spcBef>
                <a:spcAft>
                  <a:spcPct val="0"/>
                </a:spcAft>
                <a:defRPr/>
              </a:pPr>
              <a:endParaRPr lang="zh-CN" altLang="en-US">
                <a:solidFill>
                  <a:srgbClr val="FFFFFF"/>
                </a:solidFill>
                <a:effectLst>
                  <a:outerShdw blurRad="38100" dist="38100" dir="2700000" algn="tl">
                    <a:srgbClr val="000000">
                      <a:alpha val="43137"/>
                    </a:srgbClr>
                  </a:outerShdw>
                </a:effectLst>
                <a:latin typeface="Arial" charset="0"/>
              </a:endParaRPr>
            </a:p>
          </p:txBody>
        </p:sp>
        <p:sp>
          <p:nvSpPr>
            <p:cNvPr id="12" name="Freeform 10"/>
            <p:cNvSpPr>
              <a:spLocks/>
            </p:cNvSpPr>
            <p:nvPr/>
          </p:nvSpPr>
          <p:spPr bwMode="hidden">
            <a:xfrm>
              <a:off x="0" y="1545"/>
              <a:ext cx="762" cy="107"/>
            </a:xfrm>
            <a:custGeom>
              <a:avLst/>
              <a:gdLst/>
              <a:ahLst/>
              <a:cxnLst>
                <a:cxn ang="0">
                  <a:pos x="460" y="66"/>
                </a:cxn>
                <a:cxn ang="0">
                  <a:pos x="759" y="0"/>
                </a:cxn>
                <a:cxn ang="0">
                  <a:pos x="496" y="36"/>
                </a:cxn>
                <a:cxn ang="0">
                  <a:pos x="138" y="48"/>
                </a:cxn>
                <a:cxn ang="0">
                  <a:pos x="0" y="78"/>
                </a:cxn>
                <a:cxn ang="0">
                  <a:pos x="0" y="107"/>
                </a:cxn>
                <a:cxn ang="0">
                  <a:pos x="96" y="89"/>
                </a:cxn>
                <a:cxn ang="0">
                  <a:pos x="460" y="66"/>
                </a:cxn>
                <a:cxn ang="0">
                  <a:pos x="460" y="66"/>
                </a:cxn>
              </a:cxnLst>
              <a:rect l="0" t="0" r="r" b="b"/>
              <a:pathLst>
                <a:path w="759" h="107">
                  <a:moveTo>
                    <a:pt x="460" y="66"/>
                  </a:moveTo>
                  <a:lnTo>
                    <a:pt x="759" y="0"/>
                  </a:lnTo>
                  <a:lnTo>
                    <a:pt x="496" y="36"/>
                  </a:lnTo>
                  <a:lnTo>
                    <a:pt x="138" y="48"/>
                  </a:lnTo>
                  <a:lnTo>
                    <a:pt x="0" y="78"/>
                  </a:lnTo>
                  <a:lnTo>
                    <a:pt x="0" y="107"/>
                  </a:lnTo>
                  <a:lnTo>
                    <a:pt x="96" y="89"/>
                  </a:lnTo>
                  <a:lnTo>
                    <a:pt x="460" y="66"/>
                  </a:lnTo>
                  <a:lnTo>
                    <a:pt x="460" y="66"/>
                  </a:lnTo>
                  <a:close/>
                </a:path>
              </a:pathLst>
            </a:custGeom>
            <a:gradFill rotWithShape="0">
              <a:gsLst>
                <a:gs pos="0">
                  <a:schemeClr val="accent2"/>
                </a:gs>
                <a:gs pos="100000">
                  <a:schemeClr val="bg1"/>
                </a:gs>
              </a:gsLst>
              <a:lin ang="5400000" scaled="1"/>
            </a:gradFill>
            <a:ln w="9525">
              <a:noFill/>
              <a:round/>
              <a:headEnd/>
              <a:tailEnd/>
            </a:ln>
          </p:spPr>
          <p:txBody>
            <a:bodyPr/>
            <a:lstStyle/>
            <a:p>
              <a:pPr eaLnBrk="0" fontAlgn="base" hangingPunct="0">
                <a:spcBef>
                  <a:spcPct val="0"/>
                </a:spcBef>
                <a:spcAft>
                  <a:spcPct val="0"/>
                </a:spcAft>
                <a:defRPr/>
              </a:pPr>
              <a:endParaRPr lang="zh-CN" altLang="en-US">
                <a:solidFill>
                  <a:srgbClr val="FFFFFF"/>
                </a:solidFill>
                <a:effectLst>
                  <a:outerShdw blurRad="38100" dist="38100" dir="2700000" algn="tl">
                    <a:srgbClr val="000000">
                      <a:alpha val="43137"/>
                    </a:srgbClr>
                  </a:outerShdw>
                </a:effectLst>
                <a:latin typeface="Arial" charset="0"/>
              </a:endParaRPr>
            </a:p>
          </p:txBody>
        </p:sp>
        <p:sp>
          <p:nvSpPr>
            <p:cNvPr id="13" name="Freeform 11"/>
            <p:cNvSpPr>
              <a:spLocks/>
            </p:cNvSpPr>
            <p:nvPr/>
          </p:nvSpPr>
          <p:spPr bwMode="hidden">
            <a:xfrm>
              <a:off x="2314" y="3431"/>
              <a:ext cx="3182" cy="745"/>
            </a:xfrm>
            <a:custGeom>
              <a:avLst/>
              <a:gdLst/>
              <a:ahLst/>
              <a:cxnLst>
                <a:cxn ang="0">
                  <a:pos x="1387" y="239"/>
                </a:cxn>
                <a:cxn ang="0">
                  <a:pos x="1734" y="233"/>
                </a:cxn>
                <a:cxn ang="0">
                  <a:pos x="2087" y="251"/>
                </a:cxn>
                <a:cxn ang="0">
                  <a:pos x="2505" y="233"/>
                </a:cxn>
                <a:cxn ang="0">
                  <a:pos x="3169" y="204"/>
                </a:cxn>
                <a:cxn ang="0">
                  <a:pos x="3115" y="186"/>
                </a:cxn>
                <a:cxn ang="0">
                  <a:pos x="2422" y="221"/>
                </a:cxn>
                <a:cxn ang="0">
                  <a:pos x="2003" y="221"/>
                </a:cxn>
                <a:cxn ang="0">
                  <a:pos x="1459" y="186"/>
                </a:cxn>
                <a:cxn ang="0">
                  <a:pos x="1543" y="168"/>
                </a:cxn>
                <a:cxn ang="0">
                  <a:pos x="2039" y="0"/>
                </a:cxn>
                <a:cxn ang="0">
                  <a:pos x="1961" y="24"/>
                </a:cxn>
                <a:cxn ang="0">
                  <a:pos x="1836" y="66"/>
                </a:cxn>
                <a:cxn ang="0">
                  <a:pos x="1602" y="138"/>
                </a:cxn>
                <a:cxn ang="0">
                  <a:pos x="1339" y="198"/>
                </a:cxn>
                <a:cxn ang="0">
                  <a:pos x="1268" y="251"/>
                </a:cxn>
                <a:cxn ang="0">
                  <a:pos x="765" y="413"/>
                </a:cxn>
                <a:cxn ang="0">
                  <a:pos x="335" y="503"/>
                </a:cxn>
                <a:cxn ang="0">
                  <a:pos x="0" y="617"/>
                </a:cxn>
                <a:cxn ang="0">
                  <a:pos x="299" y="539"/>
                </a:cxn>
                <a:cxn ang="0">
                  <a:pos x="735" y="449"/>
                </a:cxn>
                <a:cxn ang="0">
                  <a:pos x="1178" y="311"/>
                </a:cxn>
                <a:cxn ang="0">
                  <a:pos x="981" y="491"/>
                </a:cxn>
                <a:cxn ang="0">
                  <a:pos x="867" y="743"/>
                </a:cxn>
                <a:cxn ang="0">
                  <a:pos x="861" y="743"/>
                </a:cxn>
                <a:cxn ang="0">
                  <a:pos x="933" y="743"/>
                </a:cxn>
                <a:cxn ang="0">
                  <a:pos x="1022" y="497"/>
                </a:cxn>
                <a:cxn ang="0">
                  <a:pos x="1297" y="281"/>
                </a:cxn>
                <a:cxn ang="0">
                  <a:pos x="1531" y="449"/>
                </a:cxn>
                <a:cxn ang="0">
                  <a:pos x="1770" y="677"/>
                </a:cxn>
                <a:cxn ang="0">
                  <a:pos x="1854" y="743"/>
                </a:cxn>
                <a:cxn ang="0">
                  <a:pos x="1919" y="743"/>
                </a:cxn>
                <a:cxn ang="0">
                  <a:pos x="1692" y="527"/>
                </a:cxn>
                <a:cxn ang="0">
                  <a:pos x="1387" y="239"/>
                </a:cxn>
                <a:cxn ang="0">
                  <a:pos x="1387" y="239"/>
                </a:cxn>
              </a:cxnLst>
              <a:rect l="0" t="0" r="r" b="b"/>
              <a:pathLst>
                <a:path w="3169" h="743">
                  <a:moveTo>
                    <a:pt x="1387" y="239"/>
                  </a:moveTo>
                  <a:lnTo>
                    <a:pt x="1734" y="233"/>
                  </a:lnTo>
                  <a:lnTo>
                    <a:pt x="2087" y="251"/>
                  </a:lnTo>
                  <a:lnTo>
                    <a:pt x="2505" y="233"/>
                  </a:lnTo>
                  <a:lnTo>
                    <a:pt x="3169" y="204"/>
                  </a:lnTo>
                  <a:lnTo>
                    <a:pt x="3115" y="186"/>
                  </a:lnTo>
                  <a:lnTo>
                    <a:pt x="2422" y="221"/>
                  </a:lnTo>
                  <a:lnTo>
                    <a:pt x="2003" y="221"/>
                  </a:lnTo>
                  <a:lnTo>
                    <a:pt x="1459" y="186"/>
                  </a:lnTo>
                  <a:lnTo>
                    <a:pt x="1543" y="168"/>
                  </a:lnTo>
                  <a:lnTo>
                    <a:pt x="2039" y="0"/>
                  </a:lnTo>
                  <a:lnTo>
                    <a:pt x="1961" y="24"/>
                  </a:lnTo>
                  <a:lnTo>
                    <a:pt x="1836" y="66"/>
                  </a:lnTo>
                  <a:lnTo>
                    <a:pt x="1602" y="138"/>
                  </a:lnTo>
                  <a:lnTo>
                    <a:pt x="1339" y="198"/>
                  </a:lnTo>
                  <a:lnTo>
                    <a:pt x="1268" y="251"/>
                  </a:lnTo>
                  <a:lnTo>
                    <a:pt x="765" y="413"/>
                  </a:lnTo>
                  <a:lnTo>
                    <a:pt x="335" y="503"/>
                  </a:lnTo>
                  <a:lnTo>
                    <a:pt x="0" y="617"/>
                  </a:lnTo>
                  <a:lnTo>
                    <a:pt x="299" y="539"/>
                  </a:lnTo>
                  <a:lnTo>
                    <a:pt x="735" y="449"/>
                  </a:lnTo>
                  <a:lnTo>
                    <a:pt x="1178" y="311"/>
                  </a:lnTo>
                  <a:lnTo>
                    <a:pt x="981" y="491"/>
                  </a:lnTo>
                  <a:lnTo>
                    <a:pt x="867" y="743"/>
                  </a:lnTo>
                  <a:lnTo>
                    <a:pt x="861" y="743"/>
                  </a:lnTo>
                  <a:lnTo>
                    <a:pt x="933" y="743"/>
                  </a:lnTo>
                  <a:lnTo>
                    <a:pt x="1022" y="497"/>
                  </a:lnTo>
                  <a:lnTo>
                    <a:pt x="1297" y="281"/>
                  </a:lnTo>
                  <a:lnTo>
                    <a:pt x="1531" y="449"/>
                  </a:lnTo>
                  <a:lnTo>
                    <a:pt x="1770" y="677"/>
                  </a:lnTo>
                  <a:lnTo>
                    <a:pt x="1854" y="743"/>
                  </a:lnTo>
                  <a:lnTo>
                    <a:pt x="1919" y="743"/>
                  </a:lnTo>
                  <a:lnTo>
                    <a:pt x="1692" y="527"/>
                  </a:lnTo>
                  <a:lnTo>
                    <a:pt x="1387" y="239"/>
                  </a:lnTo>
                  <a:lnTo>
                    <a:pt x="1387" y="239"/>
                  </a:lnTo>
                  <a:close/>
                </a:path>
              </a:pathLst>
            </a:custGeom>
            <a:gradFill rotWithShape="0">
              <a:gsLst>
                <a:gs pos="0">
                  <a:schemeClr val="accent2"/>
                </a:gs>
                <a:gs pos="100000">
                  <a:schemeClr val="bg1"/>
                </a:gs>
              </a:gsLst>
              <a:lin ang="2700000" scaled="1"/>
            </a:gradFill>
            <a:ln w="9525">
              <a:noFill/>
              <a:round/>
              <a:headEnd/>
              <a:tailEnd/>
            </a:ln>
          </p:spPr>
          <p:txBody>
            <a:bodyPr/>
            <a:lstStyle/>
            <a:p>
              <a:pPr eaLnBrk="0" fontAlgn="base" hangingPunct="0">
                <a:spcBef>
                  <a:spcPct val="0"/>
                </a:spcBef>
                <a:spcAft>
                  <a:spcPct val="0"/>
                </a:spcAft>
                <a:defRPr/>
              </a:pPr>
              <a:endParaRPr lang="zh-CN" altLang="en-US">
                <a:solidFill>
                  <a:srgbClr val="FFFFFF"/>
                </a:solidFill>
                <a:effectLst>
                  <a:outerShdw blurRad="38100" dist="38100" dir="2700000" algn="tl">
                    <a:srgbClr val="000000">
                      <a:alpha val="43137"/>
                    </a:srgbClr>
                  </a:outerShdw>
                </a:effectLst>
                <a:latin typeface="Arial" charset="0"/>
              </a:endParaRPr>
            </a:p>
          </p:txBody>
        </p:sp>
        <p:sp>
          <p:nvSpPr>
            <p:cNvPr id="14" name="Rectangle 12"/>
            <p:cNvSpPr>
              <a:spLocks noChangeArrowheads="1"/>
            </p:cNvSpPr>
            <p:nvPr/>
          </p:nvSpPr>
          <p:spPr bwMode="hidden">
            <a:xfrm>
              <a:off x="192" y="127"/>
              <a:ext cx="1" cy="1"/>
            </a:xfrm>
            <a:prstGeom prst="rect">
              <a:avLst/>
            </a:prstGeom>
            <a:solidFill>
              <a:srgbClr val="9A1E8D"/>
            </a:solidFill>
            <a:ln w="9525">
              <a:noFill/>
              <a:miter lim="800000"/>
              <a:headEnd/>
              <a:tailEnd/>
            </a:ln>
          </p:spPr>
          <p:txBody>
            <a:bodyPr/>
            <a:lstStyle/>
            <a:p>
              <a:pPr eaLnBrk="0" fontAlgn="base" hangingPunct="0">
                <a:spcBef>
                  <a:spcPct val="0"/>
                </a:spcBef>
                <a:spcAft>
                  <a:spcPct val="0"/>
                </a:spcAft>
                <a:defRPr/>
              </a:pPr>
              <a:endParaRPr lang="zh-CN" altLang="en-US">
                <a:solidFill>
                  <a:srgbClr val="FFFFFF"/>
                </a:solidFill>
                <a:effectLst>
                  <a:outerShdw blurRad="38100" dist="38100" dir="2700000" algn="tl">
                    <a:srgbClr val="000000">
                      <a:alpha val="43137"/>
                    </a:srgbClr>
                  </a:outerShdw>
                </a:effectLst>
                <a:latin typeface="Arial" charset="0"/>
              </a:endParaRPr>
            </a:p>
          </p:txBody>
        </p:sp>
        <p:sp>
          <p:nvSpPr>
            <p:cNvPr id="15" name="Rectangle 13"/>
            <p:cNvSpPr>
              <a:spLocks noChangeArrowheads="1"/>
            </p:cNvSpPr>
            <p:nvPr/>
          </p:nvSpPr>
          <p:spPr bwMode="hidden">
            <a:xfrm>
              <a:off x="204" y="131"/>
              <a:ext cx="1" cy="1"/>
            </a:xfrm>
            <a:prstGeom prst="rect">
              <a:avLst/>
            </a:prstGeom>
            <a:solidFill>
              <a:srgbClr val="9A1E8D"/>
            </a:solidFill>
            <a:ln w="9525">
              <a:noFill/>
              <a:miter lim="800000"/>
              <a:headEnd/>
              <a:tailEnd/>
            </a:ln>
          </p:spPr>
          <p:txBody>
            <a:bodyPr/>
            <a:lstStyle/>
            <a:p>
              <a:pPr eaLnBrk="0" fontAlgn="base" hangingPunct="0">
                <a:spcBef>
                  <a:spcPct val="0"/>
                </a:spcBef>
                <a:spcAft>
                  <a:spcPct val="0"/>
                </a:spcAft>
                <a:defRPr/>
              </a:pPr>
              <a:endParaRPr lang="zh-CN" altLang="en-US">
                <a:solidFill>
                  <a:srgbClr val="FFFFFF"/>
                </a:solidFill>
                <a:effectLst>
                  <a:outerShdw blurRad="38100" dist="38100" dir="2700000" algn="tl">
                    <a:srgbClr val="000000">
                      <a:alpha val="43137"/>
                    </a:srgbClr>
                  </a:outerShdw>
                </a:effectLst>
                <a:latin typeface="Arial" charset="0"/>
              </a:endParaRPr>
            </a:p>
          </p:txBody>
        </p:sp>
        <p:sp>
          <p:nvSpPr>
            <p:cNvPr id="16" name="Freeform 14"/>
            <p:cNvSpPr>
              <a:spLocks/>
            </p:cNvSpPr>
            <p:nvPr/>
          </p:nvSpPr>
          <p:spPr bwMode="hidden">
            <a:xfrm>
              <a:off x="0" y="4032"/>
              <a:ext cx="5760" cy="288"/>
            </a:xfrm>
            <a:custGeom>
              <a:avLst/>
              <a:gdLst/>
              <a:ahLst/>
              <a:cxnLst>
                <a:cxn ang="0">
                  <a:pos x="5740" y="288"/>
                </a:cxn>
                <a:cxn ang="0">
                  <a:pos x="0" y="288"/>
                </a:cxn>
                <a:cxn ang="0">
                  <a:pos x="0" y="0"/>
                </a:cxn>
                <a:cxn ang="0">
                  <a:pos x="5740" y="0"/>
                </a:cxn>
                <a:cxn ang="0">
                  <a:pos x="5740" y="288"/>
                </a:cxn>
                <a:cxn ang="0">
                  <a:pos x="5740" y="288"/>
                </a:cxn>
              </a:cxnLst>
              <a:rect l="0" t="0" r="r" b="b"/>
              <a:pathLst>
                <a:path w="5740" h="288">
                  <a:moveTo>
                    <a:pt x="5740" y="288"/>
                  </a:moveTo>
                  <a:lnTo>
                    <a:pt x="0" y="288"/>
                  </a:lnTo>
                  <a:lnTo>
                    <a:pt x="0" y="0"/>
                  </a:lnTo>
                  <a:lnTo>
                    <a:pt x="5740" y="0"/>
                  </a:lnTo>
                  <a:lnTo>
                    <a:pt x="5740" y="288"/>
                  </a:lnTo>
                  <a:lnTo>
                    <a:pt x="5740" y="288"/>
                  </a:lnTo>
                  <a:close/>
                </a:path>
              </a:pathLst>
            </a:custGeom>
            <a:gradFill rotWithShape="0">
              <a:gsLst>
                <a:gs pos="0">
                  <a:schemeClr val="bg1"/>
                </a:gs>
                <a:gs pos="100000">
                  <a:schemeClr val="bg1">
                    <a:gamma/>
                    <a:shade val="46275"/>
                    <a:invGamma/>
                  </a:schemeClr>
                </a:gs>
              </a:gsLst>
              <a:lin ang="5400000" scaled="1"/>
            </a:gradFill>
            <a:ln w="9525">
              <a:noFill/>
              <a:round/>
              <a:headEnd/>
              <a:tailEnd/>
            </a:ln>
          </p:spPr>
          <p:txBody>
            <a:bodyPr/>
            <a:lstStyle/>
            <a:p>
              <a:pPr eaLnBrk="0" fontAlgn="base" hangingPunct="0">
                <a:spcBef>
                  <a:spcPct val="0"/>
                </a:spcBef>
                <a:spcAft>
                  <a:spcPct val="0"/>
                </a:spcAft>
                <a:defRPr/>
              </a:pPr>
              <a:endParaRPr lang="zh-CN" altLang="en-US">
                <a:solidFill>
                  <a:srgbClr val="FFFFFF"/>
                </a:solidFill>
                <a:effectLst>
                  <a:outerShdw blurRad="38100" dist="38100" dir="2700000" algn="tl">
                    <a:srgbClr val="000000">
                      <a:alpha val="43137"/>
                    </a:srgbClr>
                  </a:outerShdw>
                </a:effectLst>
                <a:latin typeface="Arial" charset="0"/>
              </a:endParaRPr>
            </a:p>
          </p:txBody>
        </p:sp>
        <p:sp>
          <p:nvSpPr>
            <p:cNvPr id="17" name="Freeform 15"/>
            <p:cNvSpPr>
              <a:spLocks/>
            </p:cNvSpPr>
            <p:nvPr/>
          </p:nvSpPr>
          <p:spPr bwMode="hidden">
            <a:xfrm>
              <a:off x="0" y="4032"/>
              <a:ext cx="5760" cy="336"/>
            </a:xfrm>
            <a:custGeom>
              <a:avLst/>
              <a:gdLst/>
              <a:ahLst/>
              <a:cxnLst>
                <a:cxn ang="0">
                  <a:pos x="5740" y="288"/>
                </a:cxn>
                <a:cxn ang="0">
                  <a:pos x="0" y="288"/>
                </a:cxn>
                <a:cxn ang="0">
                  <a:pos x="0" y="0"/>
                </a:cxn>
                <a:cxn ang="0">
                  <a:pos x="5740" y="0"/>
                </a:cxn>
                <a:cxn ang="0">
                  <a:pos x="5740" y="288"/>
                </a:cxn>
                <a:cxn ang="0">
                  <a:pos x="5740" y="288"/>
                </a:cxn>
              </a:cxnLst>
              <a:rect l="0" t="0" r="r" b="b"/>
              <a:pathLst>
                <a:path w="5740" h="288">
                  <a:moveTo>
                    <a:pt x="5740" y="288"/>
                  </a:moveTo>
                  <a:lnTo>
                    <a:pt x="0" y="288"/>
                  </a:lnTo>
                  <a:lnTo>
                    <a:pt x="0" y="0"/>
                  </a:lnTo>
                  <a:lnTo>
                    <a:pt x="5740" y="0"/>
                  </a:lnTo>
                  <a:lnTo>
                    <a:pt x="5740" y="288"/>
                  </a:lnTo>
                  <a:lnTo>
                    <a:pt x="5740" y="288"/>
                  </a:lnTo>
                  <a:close/>
                </a:path>
              </a:pathLst>
            </a:custGeom>
            <a:gradFill rotWithShape="0">
              <a:gsLst>
                <a:gs pos="0">
                  <a:schemeClr val="bg1"/>
                </a:gs>
                <a:gs pos="100000">
                  <a:schemeClr val="bg1">
                    <a:gamma/>
                    <a:shade val="46275"/>
                    <a:invGamma/>
                  </a:schemeClr>
                </a:gs>
              </a:gsLst>
              <a:lin ang="5400000" scaled="1"/>
            </a:gradFill>
            <a:ln w="9525">
              <a:noFill/>
              <a:round/>
              <a:headEnd/>
              <a:tailEnd/>
            </a:ln>
          </p:spPr>
          <p:txBody>
            <a:bodyPr/>
            <a:lstStyle/>
            <a:p>
              <a:pPr eaLnBrk="0" fontAlgn="base" hangingPunct="0">
                <a:spcBef>
                  <a:spcPct val="0"/>
                </a:spcBef>
                <a:spcAft>
                  <a:spcPct val="0"/>
                </a:spcAft>
                <a:defRPr/>
              </a:pPr>
              <a:endParaRPr lang="zh-CN" altLang="en-US">
                <a:solidFill>
                  <a:srgbClr val="FFFFFF"/>
                </a:solidFill>
                <a:effectLst>
                  <a:outerShdw blurRad="38100" dist="38100" dir="2700000" algn="tl">
                    <a:srgbClr val="000000">
                      <a:alpha val="43137"/>
                    </a:srgbClr>
                  </a:outerShdw>
                </a:effectLst>
                <a:latin typeface="Arial" charset="0"/>
              </a:endParaRPr>
            </a:p>
          </p:txBody>
        </p:sp>
        <p:sp>
          <p:nvSpPr>
            <p:cNvPr id="18" name="Freeform 16"/>
            <p:cNvSpPr>
              <a:spLocks/>
            </p:cNvSpPr>
            <p:nvPr/>
          </p:nvSpPr>
          <p:spPr bwMode="hidden">
            <a:xfrm>
              <a:off x="0" y="0"/>
              <a:ext cx="5760" cy="288"/>
            </a:xfrm>
            <a:custGeom>
              <a:avLst/>
              <a:gdLst/>
              <a:ahLst/>
              <a:cxnLst>
                <a:cxn ang="0">
                  <a:pos x="5740" y="288"/>
                </a:cxn>
                <a:cxn ang="0">
                  <a:pos x="0" y="288"/>
                </a:cxn>
                <a:cxn ang="0">
                  <a:pos x="0" y="0"/>
                </a:cxn>
                <a:cxn ang="0">
                  <a:pos x="5740" y="0"/>
                </a:cxn>
                <a:cxn ang="0">
                  <a:pos x="5740" y="288"/>
                </a:cxn>
                <a:cxn ang="0">
                  <a:pos x="5740" y="288"/>
                </a:cxn>
              </a:cxnLst>
              <a:rect l="0" t="0" r="r" b="b"/>
              <a:pathLst>
                <a:path w="5740" h="288">
                  <a:moveTo>
                    <a:pt x="5740" y="288"/>
                  </a:moveTo>
                  <a:lnTo>
                    <a:pt x="0" y="288"/>
                  </a:lnTo>
                  <a:lnTo>
                    <a:pt x="0" y="0"/>
                  </a:lnTo>
                  <a:lnTo>
                    <a:pt x="5740" y="0"/>
                  </a:lnTo>
                  <a:lnTo>
                    <a:pt x="5740" y="288"/>
                  </a:lnTo>
                  <a:lnTo>
                    <a:pt x="5740" y="288"/>
                  </a:lnTo>
                  <a:close/>
                </a:path>
              </a:pathLst>
            </a:custGeom>
            <a:gradFill rotWithShape="0">
              <a:gsLst>
                <a:gs pos="0">
                  <a:schemeClr val="bg2">
                    <a:gamma/>
                    <a:shade val="56078"/>
                    <a:invGamma/>
                  </a:schemeClr>
                </a:gs>
                <a:gs pos="100000">
                  <a:schemeClr val="bg2"/>
                </a:gs>
              </a:gsLst>
              <a:lin ang="5400000" scaled="1"/>
            </a:gradFill>
            <a:ln w="9525">
              <a:noFill/>
              <a:round/>
              <a:headEnd/>
              <a:tailEnd/>
            </a:ln>
          </p:spPr>
          <p:txBody>
            <a:bodyPr/>
            <a:lstStyle/>
            <a:p>
              <a:pPr eaLnBrk="0" fontAlgn="base" hangingPunct="0">
                <a:spcBef>
                  <a:spcPct val="0"/>
                </a:spcBef>
                <a:spcAft>
                  <a:spcPct val="0"/>
                </a:spcAft>
                <a:defRPr/>
              </a:pPr>
              <a:endParaRPr lang="zh-CN" altLang="en-US">
                <a:solidFill>
                  <a:srgbClr val="FFFFFF"/>
                </a:solidFill>
                <a:effectLst>
                  <a:outerShdw blurRad="38100" dist="38100" dir="2700000" algn="tl">
                    <a:srgbClr val="000000">
                      <a:alpha val="43137"/>
                    </a:srgbClr>
                  </a:outerShdw>
                </a:effectLst>
                <a:latin typeface="Arial" charset="0"/>
              </a:endParaRPr>
            </a:p>
          </p:txBody>
        </p:sp>
        <p:sp>
          <p:nvSpPr>
            <p:cNvPr id="19" name="Freeform 17"/>
            <p:cNvSpPr>
              <a:spLocks/>
            </p:cNvSpPr>
            <p:nvPr/>
          </p:nvSpPr>
          <p:spPr bwMode="hidden">
            <a:xfrm>
              <a:off x="509" y="229"/>
              <a:ext cx="3188" cy="2024"/>
            </a:xfrm>
            <a:custGeom>
              <a:avLst/>
              <a:gdLst/>
              <a:ahLst/>
              <a:cxnLst>
                <a:cxn ang="0">
                  <a:pos x="871" y="1423"/>
                </a:cxn>
                <a:cxn ang="0">
                  <a:pos x="907" y="1393"/>
                </a:cxn>
                <a:cxn ang="0">
                  <a:pos x="991" y="1320"/>
                </a:cxn>
                <a:cxn ang="0">
                  <a:pos x="1033" y="1297"/>
                </a:cxn>
                <a:cxn ang="0">
                  <a:pos x="1086" y="1249"/>
                </a:cxn>
                <a:cxn ang="0">
                  <a:pos x="1123" y="1219"/>
                </a:cxn>
                <a:cxn ang="0">
                  <a:pos x="1057" y="1153"/>
                </a:cxn>
                <a:cxn ang="0">
                  <a:pos x="877" y="1021"/>
                </a:cxn>
                <a:cxn ang="0">
                  <a:pos x="655" y="907"/>
                </a:cxn>
                <a:cxn ang="0">
                  <a:pos x="655" y="846"/>
                </a:cxn>
                <a:cxn ang="0">
                  <a:pos x="643" y="708"/>
                </a:cxn>
                <a:cxn ang="0">
                  <a:pos x="552" y="642"/>
                </a:cxn>
                <a:cxn ang="0">
                  <a:pos x="510" y="570"/>
                </a:cxn>
                <a:cxn ang="0">
                  <a:pos x="637" y="564"/>
                </a:cxn>
                <a:cxn ang="0">
                  <a:pos x="763" y="570"/>
                </a:cxn>
                <a:cxn ang="0">
                  <a:pos x="1091" y="850"/>
                </a:cxn>
                <a:cxn ang="0">
                  <a:pos x="1009" y="566"/>
                </a:cxn>
                <a:cxn ang="0">
                  <a:pos x="1054" y="265"/>
                </a:cxn>
                <a:cxn ang="0">
                  <a:pos x="1249" y="0"/>
                </a:cxn>
                <a:cxn ang="0">
                  <a:pos x="1466" y="292"/>
                </a:cxn>
                <a:cxn ang="0">
                  <a:pos x="1475" y="548"/>
                </a:cxn>
                <a:cxn ang="0">
                  <a:pos x="1567" y="630"/>
                </a:cxn>
                <a:cxn ang="0">
                  <a:pos x="1795" y="365"/>
                </a:cxn>
                <a:cxn ang="0">
                  <a:pos x="2245" y="150"/>
                </a:cxn>
                <a:cxn ang="0">
                  <a:pos x="2618" y="180"/>
                </a:cxn>
                <a:cxn ang="0">
                  <a:pos x="3050" y="150"/>
                </a:cxn>
                <a:cxn ang="0">
                  <a:pos x="3140" y="210"/>
                </a:cxn>
                <a:cxn ang="0">
                  <a:pos x="2990" y="210"/>
                </a:cxn>
                <a:cxn ang="0">
                  <a:pos x="2834" y="377"/>
                </a:cxn>
                <a:cxn ang="0">
                  <a:pos x="2702" y="648"/>
                </a:cxn>
                <a:cxn ang="0">
                  <a:pos x="2582" y="828"/>
                </a:cxn>
                <a:cxn ang="0">
                  <a:pos x="2234" y="1009"/>
                </a:cxn>
                <a:cxn ang="0">
                  <a:pos x="1963" y="1075"/>
                </a:cxn>
                <a:cxn ang="0">
                  <a:pos x="2257" y="1111"/>
                </a:cxn>
                <a:cxn ang="0">
                  <a:pos x="2600" y="1207"/>
                </a:cxn>
                <a:cxn ang="0">
                  <a:pos x="2894" y="1441"/>
                </a:cxn>
                <a:cxn ang="0">
                  <a:pos x="3122" y="1555"/>
                </a:cxn>
                <a:cxn ang="0">
                  <a:pos x="3032" y="1585"/>
                </a:cxn>
                <a:cxn ang="0">
                  <a:pos x="3008" y="1591"/>
                </a:cxn>
                <a:cxn ang="0">
                  <a:pos x="2960" y="1597"/>
                </a:cxn>
                <a:cxn ang="0">
                  <a:pos x="2882" y="1609"/>
                </a:cxn>
                <a:cxn ang="0">
                  <a:pos x="2846" y="1609"/>
                </a:cxn>
                <a:cxn ang="0">
                  <a:pos x="2774" y="1615"/>
                </a:cxn>
                <a:cxn ang="0">
                  <a:pos x="2726" y="1621"/>
                </a:cxn>
                <a:cxn ang="0">
                  <a:pos x="2708" y="1621"/>
                </a:cxn>
                <a:cxn ang="0">
                  <a:pos x="2594" y="1657"/>
                </a:cxn>
                <a:cxn ang="0">
                  <a:pos x="2533" y="1663"/>
                </a:cxn>
                <a:cxn ang="0">
                  <a:pos x="2444" y="1675"/>
                </a:cxn>
                <a:cxn ang="0">
                  <a:pos x="2378" y="1687"/>
                </a:cxn>
                <a:cxn ang="0">
                  <a:pos x="2360" y="1705"/>
                </a:cxn>
                <a:cxn ang="0">
                  <a:pos x="2305" y="1687"/>
                </a:cxn>
                <a:cxn ang="0">
                  <a:pos x="2263" y="1663"/>
                </a:cxn>
                <a:cxn ang="0">
                  <a:pos x="2017" y="1585"/>
                </a:cxn>
                <a:cxn ang="0">
                  <a:pos x="1711" y="1453"/>
                </a:cxn>
                <a:cxn ang="0">
                  <a:pos x="1880" y="1844"/>
                </a:cxn>
                <a:cxn ang="0">
                  <a:pos x="1771" y="1922"/>
                </a:cxn>
                <a:cxn ang="0">
                  <a:pos x="1531" y="1753"/>
                </a:cxn>
                <a:cxn ang="0">
                  <a:pos x="1411" y="1477"/>
                </a:cxn>
                <a:cxn ang="0">
                  <a:pos x="1219" y="1291"/>
                </a:cxn>
                <a:cxn ang="0">
                  <a:pos x="127" y="2006"/>
                </a:cxn>
                <a:cxn ang="0">
                  <a:pos x="865" y="1429"/>
                </a:cxn>
              </a:cxnLst>
              <a:rect l="0" t="0" r="r" b="b"/>
              <a:pathLst>
                <a:path w="3188" h="2024">
                  <a:moveTo>
                    <a:pt x="865" y="1429"/>
                  </a:moveTo>
                  <a:lnTo>
                    <a:pt x="871" y="1423"/>
                  </a:lnTo>
                  <a:lnTo>
                    <a:pt x="889" y="1411"/>
                  </a:lnTo>
                  <a:lnTo>
                    <a:pt x="907" y="1393"/>
                  </a:lnTo>
                  <a:lnTo>
                    <a:pt x="937" y="1369"/>
                  </a:lnTo>
                  <a:lnTo>
                    <a:pt x="991" y="1320"/>
                  </a:lnTo>
                  <a:lnTo>
                    <a:pt x="1015" y="1309"/>
                  </a:lnTo>
                  <a:lnTo>
                    <a:pt x="1033" y="1297"/>
                  </a:lnTo>
                  <a:lnTo>
                    <a:pt x="1057" y="1279"/>
                  </a:lnTo>
                  <a:lnTo>
                    <a:pt x="1086" y="1249"/>
                  </a:lnTo>
                  <a:lnTo>
                    <a:pt x="1111" y="1225"/>
                  </a:lnTo>
                  <a:lnTo>
                    <a:pt x="1123" y="1219"/>
                  </a:lnTo>
                  <a:lnTo>
                    <a:pt x="1123" y="1213"/>
                  </a:lnTo>
                  <a:lnTo>
                    <a:pt x="1057" y="1153"/>
                  </a:lnTo>
                  <a:lnTo>
                    <a:pt x="979" y="1051"/>
                  </a:lnTo>
                  <a:lnTo>
                    <a:pt x="877" y="1021"/>
                  </a:lnTo>
                  <a:lnTo>
                    <a:pt x="685" y="931"/>
                  </a:lnTo>
                  <a:lnTo>
                    <a:pt x="655" y="907"/>
                  </a:lnTo>
                  <a:lnTo>
                    <a:pt x="721" y="876"/>
                  </a:lnTo>
                  <a:lnTo>
                    <a:pt x="655" y="846"/>
                  </a:lnTo>
                  <a:lnTo>
                    <a:pt x="612" y="774"/>
                  </a:lnTo>
                  <a:lnTo>
                    <a:pt x="643" y="708"/>
                  </a:lnTo>
                  <a:lnTo>
                    <a:pt x="600" y="660"/>
                  </a:lnTo>
                  <a:lnTo>
                    <a:pt x="552" y="642"/>
                  </a:lnTo>
                  <a:lnTo>
                    <a:pt x="528" y="594"/>
                  </a:lnTo>
                  <a:lnTo>
                    <a:pt x="510" y="570"/>
                  </a:lnTo>
                  <a:lnTo>
                    <a:pt x="552" y="552"/>
                  </a:lnTo>
                  <a:lnTo>
                    <a:pt x="637" y="564"/>
                  </a:lnTo>
                  <a:lnTo>
                    <a:pt x="721" y="576"/>
                  </a:lnTo>
                  <a:lnTo>
                    <a:pt x="763" y="570"/>
                  </a:lnTo>
                  <a:lnTo>
                    <a:pt x="931" y="696"/>
                  </a:lnTo>
                  <a:lnTo>
                    <a:pt x="1091" y="850"/>
                  </a:lnTo>
                  <a:lnTo>
                    <a:pt x="1073" y="685"/>
                  </a:lnTo>
                  <a:lnTo>
                    <a:pt x="1009" y="566"/>
                  </a:lnTo>
                  <a:lnTo>
                    <a:pt x="945" y="393"/>
                  </a:lnTo>
                  <a:lnTo>
                    <a:pt x="1054" y="265"/>
                  </a:lnTo>
                  <a:lnTo>
                    <a:pt x="1137" y="45"/>
                  </a:lnTo>
                  <a:lnTo>
                    <a:pt x="1249" y="0"/>
                  </a:lnTo>
                  <a:lnTo>
                    <a:pt x="1338" y="137"/>
                  </a:lnTo>
                  <a:lnTo>
                    <a:pt x="1466" y="292"/>
                  </a:lnTo>
                  <a:lnTo>
                    <a:pt x="1502" y="411"/>
                  </a:lnTo>
                  <a:lnTo>
                    <a:pt x="1475" y="548"/>
                  </a:lnTo>
                  <a:lnTo>
                    <a:pt x="1347" y="768"/>
                  </a:lnTo>
                  <a:lnTo>
                    <a:pt x="1567" y="630"/>
                  </a:lnTo>
                  <a:lnTo>
                    <a:pt x="1687" y="462"/>
                  </a:lnTo>
                  <a:lnTo>
                    <a:pt x="1795" y="365"/>
                  </a:lnTo>
                  <a:lnTo>
                    <a:pt x="1940" y="239"/>
                  </a:lnTo>
                  <a:lnTo>
                    <a:pt x="2245" y="150"/>
                  </a:lnTo>
                  <a:lnTo>
                    <a:pt x="2498" y="138"/>
                  </a:lnTo>
                  <a:lnTo>
                    <a:pt x="2618" y="180"/>
                  </a:lnTo>
                  <a:lnTo>
                    <a:pt x="2815" y="138"/>
                  </a:lnTo>
                  <a:lnTo>
                    <a:pt x="3050" y="150"/>
                  </a:lnTo>
                  <a:lnTo>
                    <a:pt x="3176" y="168"/>
                  </a:lnTo>
                  <a:lnTo>
                    <a:pt x="3140" y="210"/>
                  </a:lnTo>
                  <a:lnTo>
                    <a:pt x="3116" y="192"/>
                  </a:lnTo>
                  <a:lnTo>
                    <a:pt x="2990" y="210"/>
                  </a:lnTo>
                  <a:lnTo>
                    <a:pt x="2906" y="263"/>
                  </a:lnTo>
                  <a:lnTo>
                    <a:pt x="2834" y="377"/>
                  </a:lnTo>
                  <a:lnTo>
                    <a:pt x="2768" y="534"/>
                  </a:lnTo>
                  <a:lnTo>
                    <a:pt x="2702" y="648"/>
                  </a:lnTo>
                  <a:lnTo>
                    <a:pt x="2738" y="726"/>
                  </a:lnTo>
                  <a:lnTo>
                    <a:pt x="2582" y="828"/>
                  </a:lnTo>
                  <a:lnTo>
                    <a:pt x="2444" y="913"/>
                  </a:lnTo>
                  <a:lnTo>
                    <a:pt x="2234" y="1009"/>
                  </a:lnTo>
                  <a:lnTo>
                    <a:pt x="2096" y="1063"/>
                  </a:lnTo>
                  <a:lnTo>
                    <a:pt x="1963" y="1075"/>
                  </a:lnTo>
                  <a:lnTo>
                    <a:pt x="2035" y="1117"/>
                  </a:lnTo>
                  <a:lnTo>
                    <a:pt x="2257" y="1111"/>
                  </a:lnTo>
                  <a:lnTo>
                    <a:pt x="2545" y="1135"/>
                  </a:lnTo>
                  <a:lnTo>
                    <a:pt x="2600" y="1207"/>
                  </a:lnTo>
                  <a:lnTo>
                    <a:pt x="2726" y="1303"/>
                  </a:lnTo>
                  <a:lnTo>
                    <a:pt x="2894" y="1441"/>
                  </a:lnTo>
                  <a:lnTo>
                    <a:pt x="2984" y="1471"/>
                  </a:lnTo>
                  <a:lnTo>
                    <a:pt x="3122" y="1555"/>
                  </a:lnTo>
                  <a:lnTo>
                    <a:pt x="3188" y="1543"/>
                  </a:lnTo>
                  <a:lnTo>
                    <a:pt x="3032" y="1585"/>
                  </a:lnTo>
                  <a:lnTo>
                    <a:pt x="3026" y="1585"/>
                  </a:lnTo>
                  <a:lnTo>
                    <a:pt x="3008" y="1591"/>
                  </a:lnTo>
                  <a:lnTo>
                    <a:pt x="2984" y="1591"/>
                  </a:lnTo>
                  <a:lnTo>
                    <a:pt x="2960" y="1597"/>
                  </a:lnTo>
                  <a:lnTo>
                    <a:pt x="2906" y="1603"/>
                  </a:lnTo>
                  <a:lnTo>
                    <a:pt x="2882" y="1609"/>
                  </a:lnTo>
                  <a:lnTo>
                    <a:pt x="2864" y="1609"/>
                  </a:lnTo>
                  <a:lnTo>
                    <a:pt x="2846" y="1609"/>
                  </a:lnTo>
                  <a:lnTo>
                    <a:pt x="2828" y="1609"/>
                  </a:lnTo>
                  <a:lnTo>
                    <a:pt x="2774" y="1615"/>
                  </a:lnTo>
                  <a:lnTo>
                    <a:pt x="2750" y="1615"/>
                  </a:lnTo>
                  <a:lnTo>
                    <a:pt x="2726" y="1621"/>
                  </a:lnTo>
                  <a:lnTo>
                    <a:pt x="2714" y="1621"/>
                  </a:lnTo>
                  <a:lnTo>
                    <a:pt x="2708" y="1621"/>
                  </a:lnTo>
                  <a:lnTo>
                    <a:pt x="2606" y="1657"/>
                  </a:lnTo>
                  <a:lnTo>
                    <a:pt x="2594" y="1657"/>
                  </a:lnTo>
                  <a:lnTo>
                    <a:pt x="2569" y="1657"/>
                  </a:lnTo>
                  <a:lnTo>
                    <a:pt x="2533" y="1663"/>
                  </a:lnTo>
                  <a:lnTo>
                    <a:pt x="2486" y="1669"/>
                  </a:lnTo>
                  <a:lnTo>
                    <a:pt x="2444" y="1675"/>
                  </a:lnTo>
                  <a:lnTo>
                    <a:pt x="2408" y="1681"/>
                  </a:lnTo>
                  <a:lnTo>
                    <a:pt x="2378" y="1687"/>
                  </a:lnTo>
                  <a:lnTo>
                    <a:pt x="2366" y="1699"/>
                  </a:lnTo>
                  <a:lnTo>
                    <a:pt x="2360" y="1705"/>
                  </a:lnTo>
                  <a:lnTo>
                    <a:pt x="2342" y="1705"/>
                  </a:lnTo>
                  <a:lnTo>
                    <a:pt x="2305" y="1687"/>
                  </a:lnTo>
                  <a:lnTo>
                    <a:pt x="2275" y="1669"/>
                  </a:lnTo>
                  <a:lnTo>
                    <a:pt x="2263" y="1663"/>
                  </a:lnTo>
                  <a:lnTo>
                    <a:pt x="2257" y="1657"/>
                  </a:lnTo>
                  <a:lnTo>
                    <a:pt x="2017" y="1585"/>
                  </a:lnTo>
                  <a:lnTo>
                    <a:pt x="1844" y="1489"/>
                  </a:lnTo>
                  <a:lnTo>
                    <a:pt x="1711" y="1453"/>
                  </a:lnTo>
                  <a:lnTo>
                    <a:pt x="1856" y="1693"/>
                  </a:lnTo>
                  <a:lnTo>
                    <a:pt x="1880" y="1844"/>
                  </a:lnTo>
                  <a:lnTo>
                    <a:pt x="1856" y="1994"/>
                  </a:lnTo>
                  <a:lnTo>
                    <a:pt x="1771" y="1922"/>
                  </a:lnTo>
                  <a:lnTo>
                    <a:pt x="1616" y="1795"/>
                  </a:lnTo>
                  <a:lnTo>
                    <a:pt x="1531" y="1753"/>
                  </a:lnTo>
                  <a:lnTo>
                    <a:pt x="1483" y="1633"/>
                  </a:lnTo>
                  <a:lnTo>
                    <a:pt x="1411" y="1477"/>
                  </a:lnTo>
                  <a:lnTo>
                    <a:pt x="1358" y="1381"/>
                  </a:lnTo>
                  <a:lnTo>
                    <a:pt x="1219" y="1291"/>
                  </a:lnTo>
                  <a:lnTo>
                    <a:pt x="1147" y="1279"/>
                  </a:lnTo>
                  <a:lnTo>
                    <a:pt x="127" y="2006"/>
                  </a:lnTo>
                  <a:lnTo>
                    <a:pt x="0" y="2024"/>
                  </a:lnTo>
                  <a:lnTo>
                    <a:pt x="865" y="1429"/>
                  </a:lnTo>
                  <a:lnTo>
                    <a:pt x="865" y="1429"/>
                  </a:lnTo>
                  <a:close/>
                </a:path>
              </a:pathLst>
            </a:custGeom>
            <a:gradFill rotWithShape="0">
              <a:gsLst>
                <a:gs pos="0">
                  <a:schemeClr val="bg2"/>
                </a:gs>
                <a:gs pos="100000">
                  <a:schemeClr val="bg1"/>
                </a:gs>
              </a:gsLst>
              <a:lin ang="2700000" scaled="1"/>
            </a:gradFill>
            <a:ln w="9525">
              <a:noFill/>
              <a:round/>
              <a:headEnd/>
              <a:tailEnd/>
            </a:ln>
          </p:spPr>
          <p:txBody>
            <a:bodyPr/>
            <a:lstStyle/>
            <a:p>
              <a:pPr eaLnBrk="0" fontAlgn="base" hangingPunct="0">
                <a:spcBef>
                  <a:spcPct val="0"/>
                </a:spcBef>
                <a:spcAft>
                  <a:spcPct val="0"/>
                </a:spcAft>
                <a:defRPr/>
              </a:pPr>
              <a:endParaRPr lang="zh-CN" altLang="en-US">
                <a:solidFill>
                  <a:srgbClr val="FFFFFF"/>
                </a:solidFill>
                <a:effectLst>
                  <a:outerShdw blurRad="38100" dist="38100" dir="2700000" algn="tl">
                    <a:srgbClr val="000000">
                      <a:alpha val="43137"/>
                    </a:srgbClr>
                  </a:outerShdw>
                </a:effectLst>
                <a:latin typeface="Arial" charset="0"/>
              </a:endParaRPr>
            </a:p>
          </p:txBody>
        </p:sp>
        <p:sp>
          <p:nvSpPr>
            <p:cNvPr id="20" name="Freeform 18"/>
            <p:cNvSpPr>
              <a:spLocks/>
            </p:cNvSpPr>
            <p:nvPr/>
          </p:nvSpPr>
          <p:spPr bwMode="hidden">
            <a:xfrm>
              <a:off x="1344" y="293"/>
              <a:ext cx="2144" cy="1787"/>
            </a:xfrm>
            <a:custGeom>
              <a:avLst/>
              <a:gdLst/>
              <a:ahLst/>
              <a:cxnLst>
                <a:cxn ang="0">
                  <a:pos x="318" y="1078"/>
                </a:cxn>
                <a:cxn ang="0">
                  <a:pos x="217" y="928"/>
                </a:cxn>
                <a:cxn ang="0">
                  <a:pos x="102" y="808"/>
                </a:cxn>
                <a:cxn ang="0">
                  <a:pos x="36" y="742"/>
                </a:cxn>
                <a:cxn ang="0">
                  <a:pos x="0" y="700"/>
                </a:cxn>
                <a:cxn ang="0">
                  <a:pos x="270" y="958"/>
                </a:cxn>
                <a:cxn ang="0">
                  <a:pos x="294" y="1006"/>
                </a:cxn>
                <a:cxn ang="0">
                  <a:pos x="367" y="670"/>
                </a:cxn>
                <a:cxn ang="0">
                  <a:pos x="379" y="411"/>
                </a:cxn>
                <a:cxn ang="0">
                  <a:pos x="347" y="118"/>
                </a:cxn>
                <a:cxn ang="0">
                  <a:pos x="393" y="0"/>
                </a:cxn>
                <a:cxn ang="0">
                  <a:pos x="397" y="357"/>
                </a:cxn>
                <a:cxn ang="0">
                  <a:pos x="421" y="609"/>
                </a:cxn>
                <a:cxn ang="0">
                  <a:pos x="385" y="826"/>
                </a:cxn>
                <a:cxn ang="0">
                  <a:pos x="385" y="1036"/>
                </a:cxn>
                <a:cxn ang="0">
                  <a:pos x="877" y="784"/>
                </a:cxn>
                <a:cxn ang="0">
                  <a:pos x="1309" y="555"/>
                </a:cxn>
                <a:cxn ang="0">
                  <a:pos x="1802" y="249"/>
                </a:cxn>
                <a:cxn ang="0">
                  <a:pos x="2096" y="69"/>
                </a:cxn>
                <a:cxn ang="0">
                  <a:pos x="1814" y="279"/>
                </a:cxn>
                <a:cxn ang="0">
                  <a:pos x="1453" y="501"/>
                </a:cxn>
                <a:cxn ang="0">
                  <a:pos x="1123" y="700"/>
                </a:cxn>
                <a:cxn ang="0">
                  <a:pos x="739" y="898"/>
                </a:cxn>
                <a:cxn ang="0">
                  <a:pos x="463" y="1084"/>
                </a:cxn>
                <a:cxn ang="0">
                  <a:pos x="817" y="1193"/>
                </a:cxn>
                <a:cxn ang="0">
                  <a:pos x="1285" y="1187"/>
                </a:cxn>
                <a:cxn ang="0">
                  <a:pos x="1916" y="1396"/>
                </a:cxn>
                <a:cxn ang="0">
                  <a:pos x="2144" y="1420"/>
                </a:cxn>
                <a:cxn ang="0">
                  <a:pos x="1814" y="1408"/>
                </a:cxn>
                <a:cxn ang="0">
                  <a:pos x="1435" y="1288"/>
                </a:cxn>
                <a:cxn ang="0">
                  <a:pos x="1219" y="1229"/>
                </a:cxn>
                <a:cxn ang="0">
                  <a:pos x="799" y="1223"/>
                </a:cxn>
                <a:cxn ang="0">
                  <a:pos x="505" y="1145"/>
                </a:cxn>
                <a:cxn ang="0">
                  <a:pos x="733" y="1378"/>
                </a:cxn>
                <a:cxn ang="0">
                  <a:pos x="877" y="1619"/>
                </a:cxn>
                <a:cxn ang="0">
                  <a:pos x="1009" y="1787"/>
                </a:cxn>
                <a:cxn ang="0">
                  <a:pos x="817" y="1607"/>
                </a:cxn>
                <a:cxn ang="0">
                  <a:pos x="673" y="1372"/>
                </a:cxn>
                <a:cxn ang="0">
                  <a:pos x="415" y="1109"/>
                </a:cxn>
                <a:cxn ang="0">
                  <a:pos x="318" y="1078"/>
                </a:cxn>
                <a:cxn ang="0">
                  <a:pos x="318" y="1078"/>
                </a:cxn>
              </a:cxnLst>
              <a:rect l="0" t="0" r="r" b="b"/>
              <a:pathLst>
                <a:path w="2144" h="1787">
                  <a:moveTo>
                    <a:pt x="318" y="1078"/>
                  </a:moveTo>
                  <a:lnTo>
                    <a:pt x="217" y="928"/>
                  </a:lnTo>
                  <a:lnTo>
                    <a:pt x="102" y="808"/>
                  </a:lnTo>
                  <a:lnTo>
                    <a:pt x="36" y="742"/>
                  </a:lnTo>
                  <a:lnTo>
                    <a:pt x="0" y="700"/>
                  </a:lnTo>
                  <a:lnTo>
                    <a:pt x="270" y="958"/>
                  </a:lnTo>
                  <a:lnTo>
                    <a:pt x="294" y="1006"/>
                  </a:lnTo>
                  <a:lnTo>
                    <a:pt x="367" y="670"/>
                  </a:lnTo>
                  <a:lnTo>
                    <a:pt x="379" y="411"/>
                  </a:lnTo>
                  <a:lnTo>
                    <a:pt x="347" y="118"/>
                  </a:lnTo>
                  <a:lnTo>
                    <a:pt x="393" y="0"/>
                  </a:lnTo>
                  <a:lnTo>
                    <a:pt x="397" y="357"/>
                  </a:lnTo>
                  <a:lnTo>
                    <a:pt x="421" y="609"/>
                  </a:lnTo>
                  <a:lnTo>
                    <a:pt x="385" y="826"/>
                  </a:lnTo>
                  <a:lnTo>
                    <a:pt x="385" y="1036"/>
                  </a:lnTo>
                  <a:lnTo>
                    <a:pt x="877" y="784"/>
                  </a:lnTo>
                  <a:lnTo>
                    <a:pt x="1309" y="555"/>
                  </a:lnTo>
                  <a:lnTo>
                    <a:pt x="1802" y="249"/>
                  </a:lnTo>
                  <a:lnTo>
                    <a:pt x="2096" y="69"/>
                  </a:lnTo>
                  <a:lnTo>
                    <a:pt x="1814" y="279"/>
                  </a:lnTo>
                  <a:lnTo>
                    <a:pt x="1453" y="501"/>
                  </a:lnTo>
                  <a:lnTo>
                    <a:pt x="1123" y="700"/>
                  </a:lnTo>
                  <a:lnTo>
                    <a:pt x="739" y="898"/>
                  </a:lnTo>
                  <a:lnTo>
                    <a:pt x="463" y="1084"/>
                  </a:lnTo>
                  <a:lnTo>
                    <a:pt x="817" y="1193"/>
                  </a:lnTo>
                  <a:lnTo>
                    <a:pt x="1285" y="1187"/>
                  </a:lnTo>
                  <a:lnTo>
                    <a:pt x="1916" y="1396"/>
                  </a:lnTo>
                  <a:lnTo>
                    <a:pt x="2144" y="1420"/>
                  </a:lnTo>
                  <a:lnTo>
                    <a:pt x="1814" y="1408"/>
                  </a:lnTo>
                  <a:lnTo>
                    <a:pt x="1435" y="1288"/>
                  </a:lnTo>
                  <a:lnTo>
                    <a:pt x="1219" y="1229"/>
                  </a:lnTo>
                  <a:lnTo>
                    <a:pt x="799" y="1223"/>
                  </a:lnTo>
                  <a:lnTo>
                    <a:pt x="505" y="1145"/>
                  </a:lnTo>
                  <a:lnTo>
                    <a:pt x="733" y="1378"/>
                  </a:lnTo>
                  <a:lnTo>
                    <a:pt x="877" y="1619"/>
                  </a:lnTo>
                  <a:lnTo>
                    <a:pt x="1009" y="1787"/>
                  </a:lnTo>
                  <a:lnTo>
                    <a:pt x="817" y="1607"/>
                  </a:lnTo>
                  <a:lnTo>
                    <a:pt x="673" y="1372"/>
                  </a:lnTo>
                  <a:lnTo>
                    <a:pt x="415" y="1109"/>
                  </a:lnTo>
                  <a:lnTo>
                    <a:pt x="318" y="1078"/>
                  </a:lnTo>
                  <a:lnTo>
                    <a:pt x="318" y="1078"/>
                  </a:lnTo>
                  <a:close/>
                </a:path>
              </a:pathLst>
            </a:custGeom>
            <a:gradFill rotWithShape="0">
              <a:gsLst>
                <a:gs pos="0">
                  <a:schemeClr val="accent2"/>
                </a:gs>
                <a:gs pos="100000">
                  <a:schemeClr val="bg1"/>
                </a:gs>
              </a:gsLst>
              <a:lin ang="5400000" scaled="1"/>
            </a:gradFill>
            <a:ln w="9525">
              <a:noFill/>
              <a:round/>
              <a:headEnd/>
              <a:tailEnd/>
            </a:ln>
          </p:spPr>
          <p:txBody>
            <a:bodyPr/>
            <a:lstStyle/>
            <a:p>
              <a:pPr eaLnBrk="0" fontAlgn="base" hangingPunct="0">
                <a:spcBef>
                  <a:spcPct val="0"/>
                </a:spcBef>
                <a:spcAft>
                  <a:spcPct val="0"/>
                </a:spcAft>
                <a:defRPr/>
              </a:pPr>
              <a:endParaRPr lang="zh-CN" altLang="en-US">
                <a:solidFill>
                  <a:srgbClr val="FFFFFF"/>
                </a:solidFill>
                <a:effectLst>
                  <a:outerShdw blurRad="38100" dist="38100" dir="2700000" algn="tl">
                    <a:srgbClr val="000000">
                      <a:alpha val="43137"/>
                    </a:srgbClr>
                  </a:outerShdw>
                </a:effectLst>
                <a:latin typeface="Arial" charset="0"/>
              </a:endParaRPr>
            </a:p>
          </p:txBody>
        </p:sp>
        <p:sp>
          <p:nvSpPr>
            <p:cNvPr id="21" name="Freeform 19"/>
            <p:cNvSpPr>
              <a:spLocks/>
            </p:cNvSpPr>
            <p:nvPr/>
          </p:nvSpPr>
          <p:spPr bwMode="hidden">
            <a:xfrm>
              <a:off x="2932" y="1728"/>
              <a:ext cx="2828" cy="2366"/>
            </a:xfrm>
            <a:custGeom>
              <a:avLst/>
              <a:gdLst/>
              <a:ahLst/>
              <a:cxnLst>
                <a:cxn ang="0">
                  <a:pos x="1814" y="606"/>
                </a:cxn>
                <a:cxn ang="0">
                  <a:pos x="1615" y="252"/>
                </a:cxn>
                <a:cxn ang="0">
                  <a:pos x="1345" y="132"/>
                </a:cxn>
                <a:cxn ang="0">
                  <a:pos x="1381" y="492"/>
                </a:cxn>
                <a:cxn ang="0">
                  <a:pos x="955" y="221"/>
                </a:cxn>
                <a:cxn ang="0">
                  <a:pos x="877" y="161"/>
                </a:cxn>
                <a:cxn ang="0">
                  <a:pos x="841" y="167"/>
                </a:cxn>
                <a:cxn ang="0">
                  <a:pos x="720" y="161"/>
                </a:cxn>
                <a:cxn ang="0">
                  <a:pos x="613" y="144"/>
                </a:cxn>
                <a:cxn ang="0">
                  <a:pos x="492" y="161"/>
                </a:cxn>
                <a:cxn ang="0">
                  <a:pos x="432" y="150"/>
                </a:cxn>
                <a:cxn ang="0">
                  <a:pos x="342" y="138"/>
                </a:cxn>
                <a:cxn ang="0">
                  <a:pos x="246" y="126"/>
                </a:cxn>
                <a:cxn ang="0">
                  <a:pos x="174" y="114"/>
                </a:cxn>
                <a:cxn ang="0">
                  <a:pos x="216" y="240"/>
                </a:cxn>
                <a:cxn ang="0">
                  <a:pos x="607" y="588"/>
                </a:cxn>
                <a:cxn ang="0">
                  <a:pos x="1177" y="817"/>
                </a:cxn>
                <a:cxn ang="0">
                  <a:pos x="972" y="871"/>
                </a:cxn>
                <a:cxn ang="0">
                  <a:pos x="492" y="1111"/>
                </a:cxn>
                <a:cxn ang="0">
                  <a:pos x="276" y="1441"/>
                </a:cxn>
                <a:cxn ang="0">
                  <a:pos x="42" y="1441"/>
                </a:cxn>
                <a:cxn ang="0">
                  <a:pos x="367" y="1585"/>
                </a:cxn>
                <a:cxn ang="0">
                  <a:pos x="949" y="1712"/>
                </a:cxn>
                <a:cxn ang="0">
                  <a:pos x="1519" y="1537"/>
                </a:cxn>
                <a:cxn ang="0">
                  <a:pos x="1735" y="1513"/>
                </a:cxn>
                <a:cxn ang="0">
                  <a:pos x="1723" y="1802"/>
                </a:cxn>
                <a:cxn ang="0">
                  <a:pos x="2042" y="2229"/>
                </a:cxn>
                <a:cxn ang="0">
                  <a:pos x="2191" y="2133"/>
                </a:cxn>
                <a:cxn ang="0">
                  <a:pos x="2270" y="1970"/>
                </a:cxn>
                <a:cxn ang="0">
                  <a:pos x="2233" y="1573"/>
                </a:cxn>
                <a:cxn ang="0">
                  <a:pos x="2294" y="1483"/>
                </a:cxn>
                <a:cxn ang="0">
                  <a:pos x="2588" y="1688"/>
                </a:cxn>
                <a:cxn ang="0">
                  <a:pos x="2695" y="1682"/>
                </a:cxn>
                <a:cxn ang="0">
                  <a:pos x="2588" y="1543"/>
                </a:cxn>
                <a:cxn ang="0">
                  <a:pos x="2510" y="1357"/>
                </a:cxn>
                <a:cxn ang="0">
                  <a:pos x="2354" y="1184"/>
                </a:cxn>
                <a:cxn ang="0">
                  <a:pos x="2102" y="931"/>
                </a:cxn>
                <a:cxn ang="0">
                  <a:pos x="2137" y="907"/>
                </a:cxn>
                <a:cxn ang="0">
                  <a:pos x="2215" y="871"/>
                </a:cxn>
                <a:cxn ang="0">
                  <a:pos x="2324" y="817"/>
                </a:cxn>
                <a:cxn ang="0">
                  <a:pos x="2372" y="787"/>
                </a:cxn>
                <a:cxn ang="0">
                  <a:pos x="2078" y="865"/>
                </a:cxn>
              </a:cxnLst>
              <a:rect l="0" t="0" r="r" b="b"/>
              <a:pathLst>
                <a:path w="2828" h="2366">
                  <a:moveTo>
                    <a:pt x="2006" y="835"/>
                  </a:moveTo>
                  <a:lnTo>
                    <a:pt x="1873" y="715"/>
                  </a:lnTo>
                  <a:lnTo>
                    <a:pt x="1814" y="606"/>
                  </a:lnTo>
                  <a:lnTo>
                    <a:pt x="1747" y="438"/>
                  </a:lnTo>
                  <a:lnTo>
                    <a:pt x="1699" y="312"/>
                  </a:lnTo>
                  <a:lnTo>
                    <a:pt x="1615" y="252"/>
                  </a:lnTo>
                  <a:lnTo>
                    <a:pt x="1453" y="84"/>
                  </a:lnTo>
                  <a:lnTo>
                    <a:pt x="1375" y="0"/>
                  </a:lnTo>
                  <a:lnTo>
                    <a:pt x="1345" y="132"/>
                  </a:lnTo>
                  <a:lnTo>
                    <a:pt x="1369" y="294"/>
                  </a:lnTo>
                  <a:lnTo>
                    <a:pt x="1513" y="558"/>
                  </a:lnTo>
                  <a:lnTo>
                    <a:pt x="1381" y="492"/>
                  </a:lnTo>
                  <a:lnTo>
                    <a:pt x="1201" y="360"/>
                  </a:lnTo>
                  <a:lnTo>
                    <a:pt x="961" y="227"/>
                  </a:lnTo>
                  <a:lnTo>
                    <a:pt x="955" y="221"/>
                  </a:lnTo>
                  <a:lnTo>
                    <a:pt x="949" y="215"/>
                  </a:lnTo>
                  <a:lnTo>
                    <a:pt x="913" y="185"/>
                  </a:lnTo>
                  <a:lnTo>
                    <a:pt x="877" y="161"/>
                  </a:lnTo>
                  <a:lnTo>
                    <a:pt x="859" y="156"/>
                  </a:lnTo>
                  <a:lnTo>
                    <a:pt x="853" y="161"/>
                  </a:lnTo>
                  <a:lnTo>
                    <a:pt x="841" y="167"/>
                  </a:lnTo>
                  <a:lnTo>
                    <a:pt x="810" y="173"/>
                  </a:lnTo>
                  <a:lnTo>
                    <a:pt x="768" y="167"/>
                  </a:lnTo>
                  <a:lnTo>
                    <a:pt x="720" y="161"/>
                  </a:lnTo>
                  <a:lnTo>
                    <a:pt x="678" y="156"/>
                  </a:lnTo>
                  <a:lnTo>
                    <a:pt x="637" y="150"/>
                  </a:lnTo>
                  <a:lnTo>
                    <a:pt x="613" y="144"/>
                  </a:lnTo>
                  <a:lnTo>
                    <a:pt x="601" y="144"/>
                  </a:lnTo>
                  <a:lnTo>
                    <a:pt x="498" y="161"/>
                  </a:lnTo>
                  <a:lnTo>
                    <a:pt x="492" y="161"/>
                  </a:lnTo>
                  <a:lnTo>
                    <a:pt x="480" y="156"/>
                  </a:lnTo>
                  <a:lnTo>
                    <a:pt x="456" y="156"/>
                  </a:lnTo>
                  <a:lnTo>
                    <a:pt x="432" y="150"/>
                  </a:lnTo>
                  <a:lnTo>
                    <a:pt x="379" y="144"/>
                  </a:lnTo>
                  <a:lnTo>
                    <a:pt x="361" y="138"/>
                  </a:lnTo>
                  <a:lnTo>
                    <a:pt x="342" y="138"/>
                  </a:lnTo>
                  <a:lnTo>
                    <a:pt x="324" y="138"/>
                  </a:lnTo>
                  <a:lnTo>
                    <a:pt x="300" y="132"/>
                  </a:lnTo>
                  <a:lnTo>
                    <a:pt x="246" y="126"/>
                  </a:lnTo>
                  <a:lnTo>
                    <a:pt x="216" y="120"/>
                  </a:lnTo>
                  <a:lnTo>
                    <a:pt x="192" y="120"/>
                  </a:lnTo>
                  <a:lnTo>
                    <a:pt x="174" y="114"/>
                  </a:lnTo>
                  <a:lnTo>
                    <a:pt x="168" y="114"/>
                  </a:lnTo>
                  <a:lnTo>
                    <a:pt x="6" y="120"/>
                  </a:lnTo>
                  <a:lnTo>
                    <a:pt x="216" y="240"/>
                  </a:lnTo>
                  <a:lnTo>
                    <a:pt x="306" y="294"/>
                  </a:lnTo>
                  <a:lnTo>
                    <a:pt x="480" y="462"/>
                  </a:lnTo>
                  <a:lnTo>
                    <a:pt x="607" y="588"/>
                  </a:lnTo>
                  <a:lnTo>
                    <a:pt x="655" y="672"/>
                  </a:lnTo>
                  <a:lnTo>
                    <a:pt x="949" y="769"/>
                  </a:lnTo>
                  <a:lnTo>
                    <a:pt x="1177" y="817"/>
                  </a:lnTo>
                  <a:lnTo>
                    <a:pt x="1249" y="871"/>
                  </a:lnTo>
                  <a:lnTo>
                    <a:pt x="1117" y="853"/>
                  </a:lnTo>
                  <a:lnTo>
                    <a:pt x="972" y="871"/>
                  </a:lnTo>
                  <a:lnTo>
                    <a:pt x="756" y="919"/>
                  </a:lnTo>
                  <a:lnTo>
                    <a:pt x="619" y="961"/>
                  </a:lnTo>
                  <a:lnTo>
                    <a:pt x="492" y="1111"/>
                  </a:lnTo>
                  <a:lnTo>
                    <a:pt x="420" y="1214"/>
                  </a:lnTo>
                  <a:lnTo>
                    <a:pt x="348" y="1345"/>
                  </a:lnTo>
                  <a:lnTo>
                    <a:pt x="276" y="1441"/>
                  </a:lnTo>
                  <a:lnTo>
                    <a:pt x="192" y="1471"/>
                  </a:lnTo>
                  <a:lnTo>
                    <a:pt x="66" y="1465"/>
                  </a:lnTo>
                  <a:lnTo>
                    <a:pt x="42" y="1441"/>
                  </a:lnTo>
                  <a:lnTo>
                    <a:pt x="0" y="1471"/>
                  </a:lnTo>
                  <a:lnTo>
                    <a:pt x="126" y="1519"/>
                  </a:lnTo>
                  <a:lnTo>
                    <a:pt x="367" y="1585"/>
                  </a:lnTo>
                  <a:lnTo>
                    <a:pt x="570" y="1591"/>
                  </a:lnTo>
                  <a:lnTo>
                    <a:pt x="690" y="1664"/>
                  </a:lnTo>
                  <a:lnTo>
                    <a:pt x="949" y="1712"/>
                  </a:lnTo>
                  <a:lnTo>
                    <a:pt x="1260" y="1694"/>
                  </a:lnTo>
                  <a:lnTo>
                    <a:pt x="1411" y="1603"/>
                  </a:lnTo>
                  <a:lnTo>
                    <a:pt x="1519" y="1537"/>
                  </a:lnTo>
                  <a:lnTo>
                    <a:pt x="1645" y="1399"/>
                  </a:lnTo>
                  <a:lnTo>
                    <a:pt x="1699" y="1387"/>
                  </a:lnTo>
                  <a:lnTo>
                    <a:pt x="1735" y="1513"/>
                  </a:lnTo>
                  <a:lnTo>
                    <a:pt x="1729" y="1567"/>
                  </a:lnTo>
                  <a:lnTo>
                    <a:pt x="1723" y="1670"/>
                  </a:lnTo>
                  <a:lnTo>
                    <a:pt x="1723" y="1802"/>
                  </a:lnTo>
                  <a:lnTo>
                    <a:pt x="1831" y="1964"/>
                  </a:lnTo>
                  <a:lnTo>
                    <a:pt x="1957" y="2090"/>
                  </a:lnTo>
                  <a:lnTo>
                    <a:pt x="2042" y="2229"/>
                  </a:lnTo>
                  <a:lnTo>
                    <a:pt x="2155" y="2366"/>
                  </a:lnTo>
                  <a:lnTo>
                    <a:pt x="2161" y="2295"/>
                  </a:lnTo>
                  <a:lnTo>
                    <a:pt x="2191" y="2133"/>
                  </a:lnTo>
                  <a:lnTo>
                    <a:pt x="2215" y="2048"/>
                  </a:lnTo>
                  <a:lnTo>
                    <a:pt x="2258" y="2042"/>
                  </a:lnTo>
                  <a:lnTo>
                    <a:pt x="2270" y="1970"/>
                  </a:lnTo>
                  <a:lnTo>
                    <a:pt x="2342" y="1868"/>
                  </a:lnTo>
                  <a:lnTo>
                    <a:pt x="2324" y="1748"/>
                  </a:lnTo>
                  <a:lnTo>
                    <a:pt x="2233" y="1573"/>
                  </a:lnTo>
                  <a:lnTo>
                    <a:pt x="2209" y="1453"/>
                  </a:lnTo>
                  <a:lnTo>
                    <a:pt x="2209" y="1345"/>
                  </a:lnTo>
                  <a:lnTo>
                    <a:pt x="2294" y="1483"/>
                  </a:lnTo>
                  <a:lnTo>
                    <a:pt x="2461" y="1651"/>
                  </a:lnTo>
                  <a:lnTo>
                    <a:pt x="2504" y="1651"/>
                  </a:lnTo>
                  <a:lnTo>
                    <a:pt x="2588" y="1688"/>
                  </a:lnTo>
                  <a:lnTo>
                    <a:pt x="2678" y="1718"/>
                  </a:lnTo>
                  <a:lnTo>
                    <a:pt x="2720" y="1712"/>
                  </a:lnTo>
                  <a:lnTo>
                    <a:pt x="2695" y="1682"/>
                  </a:lnTo>
                  <a:lnTo>
                    <a:pt x="2678" y="1627"/>
                  </a:lnTo>
                  <a:lnTo>
                    <a:pt x="2630" y="1597"/>
                  </a:lnTo>
                  <a:lnTo>
                    <a:pt x="2588" y="1543"/>
                  </a:lnTo>
                  <a:lnTo>
                    <a:pt x="2618" y="1483"/>
                  </a:lnTo>
                  <a:lnTo>
                    <a:pt x="2576" y="1399"/>
                  </a:lnTo>
                  <a:lnTo>
                    <a:pt x="2510" y="1357"/>
                  </a:lnTo>
                  <a:lnTo>
                    <a:pt x="2576" y="1351"/>
                  </a:lnTo>
                  <a:lnTo>
                    <a:pt x="2552" y="1315"/>
                  </a:lnTo>
                  <a:lnTo>
                    <a:pt x="2354" y="1184"/>
                  </a:lnTo>
                  <a:lnTo>
                    <a:pt x="2252" y="1123"/>
                  </a:lnTo>
                  <a:lnTo>
                    <a:pt x="2173" y="1009"/>
                  </a:lnTo>
                  <a:lnTo>
                    <a:pt x="2102" y="931"/>
                  </a:lnTo>
                  <a:lnTo>
                    <a:pt x="2108" y="931"/>
                  </a:lnTo>
                  <a:lnTo>
                    <a:pt x="2114" y="925"/>
                  </a:lnTo>
                  <a:lnTo>
                    <a:pt x="2137" y="907"/>
                  </a:lnTo>
                  <a:lnTo>
                    <a:pt x="2167" y="883"/>
                  </a:lnTo>
                  <a:lnTo>
                    <a:pt x="2197" y="877"/>
                  </a:lnTo>
                  <a:lnTo>
                    <a:pt x="2215" y="871"/>
                  </a:lnTo>
                  <a:lnTo>
                    <a:pt x="2240" y="859"/>
                  </a:lnTo>
                  <a:lnTo>
                    <a:pt x="2300" y="829"/>
                  </a:lnTo>
                  <a:lnTo>
                    <a:pt x="2324" y="817"/>
                  </a:lnTo>
                  <a:lnTo>
                    <a:pt x="2348" y="799"/>
                  </a:lnTo>
                  <a:lnTo>
                    <a:pt x="2366" y="793"/>
                  </a:lnTo>
                  <a:lnTo>
                    <a:pt x="2372" y="787"/>
                  </a:lnTo>
                  <a:lnTo>
                    <a:pt x="2828" y="588"/>
                  </a:lnTo>
                  <a:lnTo>
                    <a:pt x="2828" y="528"/>
                  </a:lnTo>
                  <a:lnTo>
                    <a:pt x="2078" y="865"/>
                  </a:lnTo>
                  <a:lnTo>
                    <a:pt x="2006" y="835"/>
                  </a:lnTo>
                  <a:lnTo>
                    <a:pt x="2006" y="835"/>
                  </a:lnTo>
                  <a:close/>
                </a:path>
              </a:pathLst>
            </a:custGeom>
            <a:gradFill rotWithShape="0">
              <a:gsLst>
                <a:gs pos="0">
                  <a:schemeClr val="bg2"/>
                </a:gs>
                <a:gs pos="50000">
                  <a:schemeClr val="bg1"/>
                </a:gs>
                <a:gs pos="100000">
                  <a:schemeClr val="bg2"/>
                </a:gs>
              </a:gsLst>
              <a:lin ang="2700000" scaled="1"/>
            </a:gradFill>
            <a:ln w="9525">
              <a:noFill/>
              <a:round/>
              <a:headEnd/>
              <a:tailEnd/>
            </a:ln>
          </p:spPr>
          <p:txBody>
            <a:bodyPr/>
            <a:lstStyle/>
            <a:p>
              <a:pPr eaLnBrk="0" fontAlgn="base" hangingPunct="0">
                <a:spcBef>
                  <a:spcPct val="0"/>
                </a:spcBef>
                <a:spcAft>
                  <a:spcPct val="0"/>
                </a:spcAft>
                <a:defRPr/>
              </a:pPr>
              <a:endParaRPr lang="zh-CN" altLang="en-US">
                <a:solidFill>
                  <a:srgbClr val="FFFFFF"/>
                </a:solidFill>
                <a:effectLst>
                  <a:outerShdw blurRad="38100" dist="38100" dir="2700000" algn="tl">
                    <a:srgbClr val="000000">
                      <a:alpha val="43137"/>
                    </a:srgbClr>
                  </a:outerShdw>
                </a:effectLst>
                <a:latin typeface="Arial" charset="0"/>
              </a:endParaRPr>
            </a:p>
          </p:txBody>
        </p:sp>
        <p:sp>
          <p:nvSpPr>
            <p:cNvPr id="22" name="Freeform 20"/>
            <p:cNvSpPr>
              <a:spLocks/>
            </p:cNvSpPr>
            <p:nvPr/>
          </p:nvSpPr>
          <p:spPr bwMode="hidden">
            <a:xfrm>
              <a:off x="3160" y="1860"/>
              <a:ext cx="2162" cy="1934"/>
            </a:xfrm>
            <a:custGeom>
              <a:avLst/>
              <a:gdLst/>
              <a:ahLst/>
              <a:cxnLst>
                <a:cxn ang="0">
                  <a:pos x="1842" y="851"/>
                </a:cxn>
                <a:cxn ang="0">
                  <a:pos x="1937" y="1019"/>
                </a:cxn>
                <a:cxn ang="0">
                  <a:pos x="2051" y="1168"/>
                </a:cxn>
                <a:cxn ang="0">
                  <a:pos x="2117" y="1246"/>
                </a:cxn>
                <a:cxn ang="0">
                  <a:pos x="2153" y="1294"/>
                </a:cxn>
                <a:cxn ang="0">
                  <a:pos x="1889" y="977"/>
                </a:cxn>
                <a:cxn ang="0">
                  <a:pos x="1860" y="929"/>
                </a:cxn>
                <a:cxn ang="0">
                  <a:pos x="1782" y="1240"/>
                </a:cxn>
                <a:cxn ang="0">
                  <a:pos x="1770" y="1486"/>
                </a:cxn>
                <a:cxn ang="0">
                  <a:pos x="1818" y="1906"/>
                </a:cxn>
                <a:cxn ang="0">
                  <a:pos x="1788" y="1930"/>
                </a:cxn>
                <a:cxn ang="0">
                  <a:pos x="1746" y="1534"/>
                </a:cxn>
                <a:cxn ang="0">
                  <a:pos x="1728" y="1288"/>
                </a:cxn>
                <a:cxn ang="0">
                  <a:pos x="1764" y="1085"/>
                </a:cxn>
                <a:cxn ang="0">
                  <a:pos x="1770" y="875"/>
                </a:cxn>
                <a:cxn ang="0">
                  <a:pos x="1268" y="1007"/>
                </a:cxn>
                <a:cxn ang="0">
                  <a:pos x="825" y="1132"/>
                </a:cxn>
                <a:cxn ang="0">
                  <a:pos x="323" y="1312"/>
                </a:cxn>
                <a:cxn ang="0">
                  <a:pos x="18" y="1420"/>
                </a:cxn>
                <a:cxn ang="0">
                  <a:pos x="311" y="1282"/>
                </a:cxn>
                <a:cxn ang="0">
                  <a:pos x="682" y="1144"/>
                </a:cxn>
                <a:cxn ang="0">
                  <a:pos x="1022" y="1037"/>
                </a:cxn>
                <a:cxn ang="0">
                  <a:pos x="1411" y="929"/>
                </a:cxn>
                <a:cxn ang="0">
                  <a:pos x="1692" y="815"/>
                </a:cxn>
                <a:cxn ang="0">
                  <a:pos x="1333" y="623"/>
                </a:cxn>
                <a:cxn ang="0">
                  <a:pos x="861" y="515"/>
                </a:cxn>
                <a:cxn ang="0">
                  <a:pos x="227" y="161"/>
                </a:cxn>
                <a:cxn ang="0">
                  <a:pos x="0" y="83"/>
                </a:cxn>
                <a:cxn ang="0">
                  <a:pos x="329" y="179"/>
                </a:cxn>
                <a:cxn ang="0">
                  <a:pos x="712" y="383"/>
                </a:cxn>
                <a:cxn ang="0">
                  <a:pos x="933" y="491"/>
                </a:cxn>
                <a:cxn ang="0">
                  <a:pos x="1351" y="593"/>
                </a:cxn>
                <a:cxn ang="0">
                  <a:pos x="1650" y="743"/>
                </a:cxn>
                <a:cxn ang="0">
                  <a:pos x="1423" y="461"/>
                </a:cxn>
                <a:cxn ang="0">
                  <a:pos x="1286" y="191"/>
                </a:cxn>
                <a:cxn ang="0">
                  <a:pos x="1154" y="0"/>
                </a:cxn>
                <a:cxn ang="0">
                  <a:pos x="1339" y="215"/>
                </a:cxn>
                <a:cxn ang="0">
                  <a:pos x="1489" y="485"/>
                </a:cxn>
                <a:cxn ang="0">
                  <a:pos x="1746" y="803"/>
                </a:cxn>
                <a:cxn ang="0">
                  <a:pos x="1842" y="851"/>
                </a:cxn>
                <a:cxn ang="0">
                  <a:pos x="1842" y="851"/>
                </a:cxn>
              </a:cxnLst>
              <a:rect l="0" t="0" r="r" b="b"/>
              <a:pathLst>
                <a:path w="2153" h="1930">
                  <a:moveTo>
                    <a:pt x="1842" y="851"/>
                  </a:moveTo>
                  <a:lnTo>
                    <a:pt x="1937" y="1019"/>
                  </a:lnTo>
                  <a:lnTo>
                    <a:pt x="2051" y="1168"/>
                  </a:lnTo>
                  <a:lnTo>
                    <a:pt x="2117" y="1246"/>
                  </a:lnTo>
                  <a:lnTo>
                    <a:pt x="2153" y="1294"/>
                  </a:lnTo>
                  <a:lnTo>
                    <a:pt x="1889" y="977"/>
                  </a:lnTo>
                  <a:lnTo>
                    <a:pt x="1860" y="929"/>
                  </a:lnTo>
                  <a:lnTo>
                    <a:pt x="1782" y="1240"/>
                  </a:lnTo>
                  <a:lnTo>
                    <a:pt x="1770" y="1486"/>
                  </a:lnTo>
                  <a:lnTo>
                    <a:pt x="1818" y="1906"/>
                  </a:lnTo>
                  <a:lnTo>
                    <a:pt x="1788" y="1930"/>
                  </a:lnTo>
                  <a:lnTo>
                    <a:pt x="1746" y="1534"/>
                  </a:lnTo>
                  <a:lnTo>
                    <a:pt x="1728" y="1288"/>
                  </a:lnTo>
                  <a:lnTo>
                    <a:pt x="1764" y="1085"/>
                  </a:lnTo>
                  <a:lnTo>
                    <a:pt x="1770" y="875"/>
                  </a:lnTo>
                  <a:lnTo>
                    <a:pt x="1268" y="1007"/>
                  </a:lnTo>
                  <a:lnTo>
                    <a:pt x="825" y="1132"/>
                  </a:lnTo>
                  <a:lnTo>
                    <a:pt x="323" y="1312"/>
                  </a:lnTo>
                  <a:lnTo>
                    <a:pt x="18" y="1420"/>
                  </a:lnTo>
                  <a:lnTo>
                    <a:pt x="311" y="1282"/>
                  </a:lnTo>
                  <a:lnTo>
                    <a:pt x="682" y="1144"/>
                  </a:lnTo>
                  <a:lnTo>
                    <a:pt x="1022" y="1037"/>
                  </a:lnTo>
                  <a:lnTo>
                    <a:pt x="1411" y="929"/>
                  </a:lnTo>
                  <a:lnTo>
                    <a:pt x="1692" y="815"/>
                  </a:lnTo>
                  <a:lnTo>
                    <a:pt x="1333" y="623"/>
                  </a:lnTo>
                  <a:lnTo>
                    <a:pt x="861" y="515"/>
                  </a:lnTo>
                  <a:lnTo>
                    <a:pt x="227" y="161"/>
                  </a:lnTo>
                  <a:lnTo>
                    <a:pt x="0" y="83"/>
                  </a:lnTo>
                  <a:lnTo>
                    <a:pt x="329" y="179"/>
                  </a:lnTo>
                  <a:lnTo>
                    <a:pt x="712" y="383"/>
                  </a:lnTo>
                  <a:lnTo>
                    <a:pt x="933" y="491"/>
                  </a:lnTo>
                  <a:lnTo>
                    <a:pt x="1351" y="593"/>
                  </a:lnTo>
                  <a:lnTo>
                    <a:pt x="1650" y="743"/>
                  </a:lnTo>
                  <a:lnTo>
                    <a:pt x="1423" y="461"/>
                  </a:lnTo>
                  <a:lnTo>
                    <a:pt x="1286" y="191"/>
                  </a:lnTo>
                  <a:lnTo>
                    <a:pt x="1154" y="0"/>
                  </a:lnTo>
                  <a:lnTo>
                    <a:pt x="1339" y="215"/>
                  </a:lnTo>
                  <a:lnTo>
                    <a:pt x="1489" y="485"/>
                  </a:lnTo>
                  <a:lnTo>
                    <a:pt x="1746" y="803"/>
                  </a:lnTo>
                  <a:lnTo>
                    <a:pt x="1842" y="851"/>
                  </a:lnTo>
                  <a:lnTo>
                    <a:pt x="1842" y="851"/>
                  </a:lnTo>
                  <a:close/>
                </a:path>
              </a:pathLst>
            </a:custGeom>
            <a:gradFill rotWithShape="0">
              <a:gsLst>
                <a:gs pos="0">
                  <a:schemeClr val="accent2"/>
                </a:gs>
                <a:gs pos="100000">
                  <a:schemeClr val="bg1"/>
                </a:gs>
              </a:gsLst>
              <a:lin ang="5400000" scaled="1"/>
            </a:gradFill>
            <a:ln w="9525">
              <a:noFill/>
              <a:round/>
              <a:headEnd/>
              <a:tailEnd/>
            </a:ln>
          </p:spPr>
          <p:txBody>
            <a:bodyPr/>
            <a:lstStyle/>
            <a:p>
              <a:pPr eaLnBrk="0" fontAlgn="base" hangingPunct="0">
                <a:spcBef>
                  <a:spcPct val="0"/>
                </a:spcBef>
                <a:spcAft>
                  <a:spcPct val="0"/>
                </a:spcAft>
                <a:defRPr/>
              </a:pPr>
              <a:endParaRPr lang="zh-CN" altLang="en-US">
                <a:solidFill>
                  <a:srgbClr val="FFFFFF"/>
                </a:solidFill>
                <a:effectLst>
                  <a:outerShdw blurRad="38100" dist="38100" dir="2700000" algn="tl">
                    <a:srgbClr val="000000">
                      <a:alpha val="43137"/>
                    </a:srgbClr>
                  </a:outerShdw>
                </a:effectLst>
                <a:latin typeface="Arial" charset="0"/>
              </a:endParaRPr>
            </a:p>
          </p:txBody>
        </p:sp>
      </p:grpSp>
      <p:pic>
        <p:nvPicPr>
          <p:cNvPr id="23" name="Picture 2" descr="http://www.ppt123.net/beijing/UploadFiles_8374/201206/2012061221031882.jpg"/>
          <p:cNvPicPr>
            <a:picLocks noChangeAspect="1" noChangeArrowheads="1"/>
          </p:cNvPicPr>
          <p:nvPr userDrawn="1"/>
        </p:nvPicPr>
        <p:blipFill>
          <a:blip r:embed="rId2" cstate="print"/>
          <a:srcRect/>
          <a:stretch>
            <a:fillRect/>
          </a:stretch>
        </p:blipFill>
        <p:spPr bwMode="auto">
          <a:xfrm>
            <a:off x="0" y="0"/>
            <a:ext cx="9144000" cy="7010400"/>
          </a:xfrm>
          <a:prstGeom prst="rect">
            <a:avLst/>
          </a:prstGeom>
          <a:noFill/>
          <a:ln w="9525">
            <a:noFill/>
            <a:miter lim="800000"/>
            <a:headEnd/>
            <a:tailEnd/>
          </a:ln>
        </p:spPr>
      </p:pic>
      <p:pic>
        <p:nvPicPr>
          <p:cNvPr id="24" name="Picture 2" descr="http://down1.sucaitianxia.com/psd01/psd109/psds15334.jpg"/>
          <p:cNvPicPr>
            <a:picLocks noChangeAspect="1" noChangeArrowheads="1"/>
          </p:cNvPicPr>
          <p:nvPr userDrawn="1"/>
        </p:nvPicPr>
        <p:blipFill>
          <a:blip r:embed="rId3" cstate="print"/>
          <a:srcRect/>
          <a:stretch>
            <a:fillRect/>
          </a:stretch>
        </p:blipFill>
        <p:spPr bwMode="auto">
          <a:xfrm>
            <a:off x="0" y="0"/>
            <a:ext cx="9144000" cy="6858000"/>
          </a:xfrm>
          <a:prstGeom prst="rect">
            <a:avLst/>
          </a:prstGeom>
          <a:noFill/>
          <a:ln w="9525">
            <a:noFill/>
            <a:miter lim="800000"/>
            <a:headEnd/>
            <a:tailEnd/>
          </a:ln>
        </p:spPr>
      </p:pic>
      <p:sp>
        <p:nvSpPr>
          <p:cNvPr id="39957" name="Rectangle 21"/>
          <p:cNvSpPr>
            <a:spLocks noGrp="1" noChangeArrowheads="1"/>
          </p:cNvSpPr>
          <p:nvPr>
            <p:ph type="ctrTitle" sz="quarter"/>
          </p:nvPr>
        </p:nvSpPr>
        <p:spPr>
          <a:xfrm>
            <a:off x="685801" y="1828806"/>
            <a:ext cx="7772400" cy="1736725"/>
          </a:xfrm>
        </p:spPr>
        <p:txBody>
          <a:bodyPr/>
          <a:lstStyle>
            <a:lvl1pPr>
              <a:defRPr sz="5400"/>
            </a:lvl1pPr>
          </a:lstStyle>
          <a:p>
            <a:r>
              <a:rPr lang="zh-CN" altLang="en-US"/>
              <a:t>单击此处编辑母版标题样式</a:t>
            </a:r>
          </a:p>
        </p:txBody>
      </p:sp>
      <p:sp>
        <p:nvSpPr>
          <p:cNvPr id="39958" name="Rectangle 22"/>
          <p:cNvSpPr>
            <a:spLocks noGrp="1" noChangeArrowheads="1"/>
          </p:cNvSpPr>
          <p:nvPr>
            <p:ph type="subTitle" sz="quarter" idx="1"/>
          </p:nvPr>
        </p:nvSpPr>
        <p:spPr>
          <a:xfrm>
            <a:off x="1371601" y="3886200"/>
            <a:ext cx="6400800" cy="1752600"/>
          </a:xfrm>
        </p:spPr>
        <p:txBody>
          <a:bodyPr/>
          <a:lstStyle>
            <a:lvl1pPr marL="0" indent="0" algn="ctr">
              <a:buFont typeface="Wingdings" pitchFamily="2" charset="2"/>
              <a:buNone/>
              <a:defRPr/>
            </a:lvl1pPr>
          </a:lstStyle>
          <a:p>
            <a:r>
              <a:rPr lang="zh-CN" altLang="en-US"/>
              <a:t>单击此处编辑母版副标题样式</a:t>
            </a:r>
          </a:p>
        </p:txBody>
      </p:sp>
      <p:sp>
        <p:nvSpPr>
          <p:cNvPr id="25" name="Rectangle 23"/>
          <p:cNvSpPr>
            <a:spLocks noGrp="1" noChangeArrowheads="1"/>
          </p:cNvSpPr>
          <p:nvPr>
            <p:ph type="dt" sz="quarter" idx="10"/>
          </p:nvPr>
        </p:nvSpPr>
        <p:spPr/>
        <p:txBody>
          <a:bodyPr/>
          <a:lstStyle>
            <a:lvl1pPr>
              <a:defRPr/>
            </a:lvl1pPr>
          </a:lstStyle>
          <a:p>
            <a:pPr>
              <a:defRPr/>
            </a:pPr>
            <a:endParaRPr lang="en-US" altLang="zh-CN">
              <a:solidFill>
                <a:srgbClr val="FFFFFF"/>
              </a:solidFill>
            </a:endParaRPr>
          </a:p>
        </p:txBody>
      </p:sp>
      <p:sp>
        <p:nvSpPr>
          <p:cNvPr id="26" name="Rectangle 24"/>
          <p:cNvSpPr>
            <a:spLocks noGrp="1" noChangeArrowheads="1"/>
          </p:cNvSpPr>
          <p:nvPr>
            <p:ph type="ftr" sz="quarter" idx="11"/>
          </p:nvPr>
        </p:nvSpPr>
        <p:spPr/>
        <p:txBody>
          <a:bodyPr/>
          <a:lstStyle>
            <a:lvl1pPr>
              <a:defRPr/>
            </a:lvl1pPr>
          </a:lstStyle>
          <a:p>
            <a:pPr>
              <a:defRPr/>
            </a:pPr>
            <a:endParaRPr lang="en-US" altLang="zh-CN">
              <a:solidFill>
                <a:srgbClr val="FFFFFF"/>
              </a:solidFill>
            </a:endParaRPr>
          </a:p>
        </p:txBody>
      </p:sp>
      <p:sp>
        <p:nvSpPr>
          <p:cNvPr id="27" name="Rectangle 25"/>
          <p:cNvSpPr>
            <a:spLocks noGrp="1" noChangeArrowheads="1"/>
          </p:cNvSpPr>
          <p:nvPr>
            <p:ph type="sldNum" sz="quarter" idx="12"/>
          </p:nvPr>
        </p:nvSpPr>
        <p:spPr/>
        <p:txBody>
          <a:bodyPr/>
          <a:lstStyle>
            <a:lvl1pPr>
              <a:defRPr/>
            </a:lvl1pPr>
          </a:lstStyle>
          <a:p>
            <a:pPr>
              <a:defRPr/>
            </a:pPr>
            <a:fld id="{AF6408D3-7BBE-4440-BE10-45BA1EF7AF75}" type="slidenum">
              <a:rPr lang="en-US" altLang="zh-CN">
                <a:solidFill>
                  <a:srgbClr val="FFFFFF"/>
                </a:solidFill>
              </a:rPr>
              <a:pPr>
                <a:defRPr/>
              </a:pPr>
              <a:t>‹#›</a:t>
            </a:fld>
            <a:endParaRPr lang="en-US" altLang="zh-CN">
              <a:solidFill>
                <a:srgbClr val="FFFFFF"/>
              </a:solidFill>
            </a:endParaRPr>
          </a:p>
        </p:txBody>
      </p:sp>
    </p:spTree>
  </p:cSld>
  <p:clrMapOvr>
    <a:masterClrMapping/>
  </p:clrMapOvr>
  <p:transition spd="slow">
    <p:plus/>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pic>
        <p:nvPicPr>
          <p:cNvPr id="4" name="Picture 2" descr="http://www.ppt123.net/beijing/UploadFiles_8374/201206/2012060510272986.jpg"/>
          <p:cNvPicPr>
            <a:picLocks noChangeAspect="1" noChangeArrowheads="1"/>
          </p:cNvPicPr>
          <p:nvPr userDrawn="1"/>
        </p:nvPicPr>
        <p:blipFill>
          <a:blip r:embed="rId2" cstate="print"/>
          <a:srcRect/>
          <a:stretch>
            <a:fillRect/>
          </a:stretch>
        </p:blipFill>
        <p:spPr bwMode="auto">
          <a:xfrm>
            <a:off x="0" y="-228600"/>
            <a:ext cx="9144000" cy="7086600"/>
          </a:xfrm>
          <a:prstGeom prst="rect">
            <a:avLst/>
          </a:prstGeom>
          <a:noFill/>
          <a:ln w="9525">
            <a:noFill/>
            <a:miter lim="800000"/>
            <a:headEnd/>
            <a:tailEnd/>
          </a:ln>
        </p:spPr>
      </p:pic>
      <p:pic>
        <p:nvPicPr>
          <p:cNvPr id="5" name="Picture 2" descr="http://down1.sucaitianxia.com/psd01/psd109/psds15334.jpg"/>
          <p:cNvPicPr>
            <a:picLocks noChangeAspect="1" noChangeArrowheads="1"/>
          </p:cNvPicPr>
          <p:nvPr userDrawn="1"/>
        </p:nvPicPr>
        <p:blipFill>
          <a:blip r:embed="rId3" cstate="print"/>
          <a:srcRect/>
          <a:stretch>
            <a:fillRect/>
          </a:stretch>
        </p:blipFill>
        <p:spPr bwMode="auto">
          <a:xfrm>
            <a:off x="0" y="0"/>
            <a:ext cx="9144000" cy="6858000"/>
          </a:xfrm>
          <a:prstGeom prst="rect">
            <a:avLst/>
          </a:prstGeom>
          <a:noFill/>
          <a:ln w="9525">
            <a:noFill/>
            <a:miter lim="800000"/>
            <a:headEnd/>
            <a:tailEnd/>
          </a:ln>
        </p:spPr>
      </p:pic>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idx="1"/>
          </p:nvPr>
        </p:nvSpPr>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6" name="Rectangle 23"/>
          <p:cNvSpPr>
            <a:spLocks noGrp="1" noChangeArrowheads="1"/>
          </p:cNvSpPr>
          <p:nvPr>
            <p:ph type="dt" sz="half" idx="10"/>
          </p:nvPr>
        </p:nvSpPr>
        <p:spPr/>
        <p:txBody>
          <a:bodyPr/>
          <a:lstStyle>
            <a:lvl1pPr>
              <a:defRPr/>
            </a:lvl1pPr>
          </a:lstStyle>
          <a:p>
            <a:pPr>
              <a:defRPr/>
            </a:pPr>
            <a:r>
              <a:rPr lang="en-US" altLang="zh-CN">
                <a:solidFill>
                  <a:srgbClr val="FFFFFF"/>
                </a:solidFill>
              </a:rPr>
              <a:t>20111024</a:t>
            </a:r>
          </a:p>
        </p:txBody>
      </p:sp>
    </p:spTree>
  </p:cSld>
  <p:clrMapOvr>
    <a:masterClrMapping/>
  </p:clrMapOvr>
  <p:transition spd="slow">
    <p:plus/>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722316" y="4406907"/>
            <a:ext cx="7772400" cy="1362075"/>
          </a:xfrm>
        </p:spPr>
        <p:txBody>
          <a:bodyPr anchor="t"/>
          <a:lstStyle>
            <a:lvl1pPr algn="l">
              <a:defRPr sz="4100" b="1" cap="all"/>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722316" y="2906719"/>
            <a:ext cx="7772400" cy="1500187"/>
          </a:xfrm>
        </p:spPr>
        <p:txBody>
          <a:bodyPr anchor="b"/>
          <a:lstStyle>
            <a:lvl1pPr marL="0" indent="0">
              <a:buNone/>
              <a:defRPr sz="2000"/>
            </a:lvl1pPr>
            <a:lvl2pPr marL="456945" indent="0">
              <a:buNone/>
              <a:defRPr sz="1800"/>
            </a:lvl2pPr>
            <a:lvl3pPr marL="913890" indent="0">
              <a:buNone/>
              <a:defRPr sz="1600"/>
            </a:lvl3pPr>
            <a:lvl4pPr marL="1370836" indent="0">
              <a:buNone/>
              <a:defRPr sz="1400"/>
            </a:lvl4pPr>
            <a:lvl5pPr marL="1827781" indent="0">
              <a:buNone/>
              <a:defRPr sz="1400"/>
            </a:lvl5pPr>
            <a:lvl6pPr marL="2284726" indent="0">
              <a:buNone/>
              <a:defRPr sz="1400"/>
            </a:lvl6pPr>
            <a:lvl7pPr marL="2741672" indent="0">
              <a:buNone/>
              <a:defRPr sz="1400"/>
            </a:lvl7pPr>
            <a:lvl8pPr marL="3198616" indent="0">
              <a:buNone/>
              <a:defRPr sz="1400"/>
            </a:lvl8pPr>
            <a:lvl9pPr marL="3655563" indent="0">
              <a:buNone/>
              <a:defRPr sz="1400"/>
            </a:lvl9pPr>
          </a:lstStyle>
          <a:p>
            <a:pPr lvl="0"/>
            <a:r>
              <a:rPr lang="zh-CN" altLang="en-US" smtClean="0"/>
              <a:t>单击此处编辑母版文本样式</a:t>
            </a:r>
          </a:p>
        </p:txBody>
      </p:sp>
      <p:sp>
        <p:nvSpPr>
          <p:cNvPr id="4" name="Rectangle 23"/>
          <p:cNvSpPr>
            <a:spLocks noGrp="1" noChangeArrowheads="1"/>
          </p:cNvSpPr>
          <p:nvPr>
            <p:ph type="dt" sz="half" idx="10"/>
          </p:nvPr>
        </p:nvSpPr>
        <p:spPr>
          <a:ln/>
        </p:spPr>
        <p:txBody>
          <a:bodyPr/>
          <a:lstStyle>
            <a:lvl1pPr>
              <a:defRPr/>
            </a:lvl1pPr>
          </a:lstStyle>
          <a:p>
            <a:pPr>
              <a:defRPr/>
            </a:pPr>
            <a:r>
              <a:rPr lang="en-US" altLang="zh-CN">
                <a:solidFill>
                  <a:srgbClr val="FFFFFF"/>
                </a:solidFill>
              </a:rPr>
              <a:t>20111024</a:t>
            </a:r>
          </a:p>
        </p:txBody>
      </p:sp>
      <p:sp>
        <p:nvSpPr>
          <p:cNvPr id="5" name="Rectangle 24"/>
          <p:cNvSpPr>
            <a:spLocks noGrp="1" noChangeArrowheads="1"/>
          </p:cNvSpPr>
          <p:nvPr>
            <p:ph type="ftr" sz="quarter" idx="11"/>
          </p:nvPr>
        </p:nvSpPr>
        <p:spPr>
          <a:ln/>
        </p:spPr>
        <p:txBody>
          <a:bodyPr/>
          <a:lstStyle>
            <a:lvl1pPr>
              <a:defRPr/>
            </a:lvl1pPr>
          </a:lstStyle>
          <a:p>
            <a:pPr>
              <a:defRPr/>
            </a:pPr>
            <a:endParaRPr lang="en-US" altLang="zh-CN">
              <a:solidFill>
                <a:srgbClr val="FFFFFF"/>
              </a:solidFill>
            </a:endParaRPr>
          </a:p>
        </p:txBody>
      </p:sp>
      <p:sp>
        <p:nvSpPr>
          <p:cNvPr id="6" name="Rectangle 25"/>
          <p:cNvSpPr>
            <a:spLocks noGrp="1" noChangeArrowheads="1"/>
          </p:cNvSpPr>
          <p:nvPr>
            <p:ph type="sldNum" sz="quarter" idx="12"/>
          </p:nvPr>
        </p:nvSpPr>
        <p:spPr>
          <a:ln/>
        </p:spPr>
        <p:txBody>
          <a:bodyPr/>
          <a:lstStyle>
            <a:lvl1pPr>
              <a:defRPr/>
            </a:lvl1pPr>
          </a:lstStyle>
          <a:p>
            <a:pPr>
              <a:defRPr/>
            </a:pPr>
            <a:fld id="{B5FDC98F-04E0-4064-B073-C0C4981EF257}" type="slidenum">
              <a:rPr lang="en-US" altLang="zh-CN">
                <a:solidFill>
                  <a:srgbClr val="FFFFFF"/>
                </a:solidFill>
              </a:rPr>
              <a:pPr>
                <a:defRPr/>
              </a:pPr>
              <a:t>‹#›</a:t>
            </a:fld>
            <a:endParaRPr lang="en-US" altLang="zh-CN">
              <a:solidFill>
                <a:srgbClr val="FFFFFF"/>
              </a:solidFill>
            </a:endParaRPr>
          </a:p>
        </p:txBody>
      </p:sp>
    </p:spTree>
  </p:cSld>
  <p:clrMapOvr>
    <a:masterClrMapping/>
  </p:clrMapOvr>
  <p:transition spd="slow">
    <p:plus/>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sz="half" idx="1"/>
          </p:nvPr>
        </p:nvSpPr>
        <p:spPr>
          <a:xfrm>
            <a:off x="457200" y="1600204"/>
            <a:ext cx="4038600" cy="4530725"/>
          </a:xfrm>
        </p:spPr>
        <p:txBody>
          <a:bodyPr/>
          <a:lstStyle>
            <a:lvl1pPr>
              <a:defRPr sz="2800"/>
            </a:lvl1pPr>
            <a:lvl2pPr>
              <a:defRPr sz="25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内容占位符 3"/>
          <p:cNvSpPr>
            <a:spLocks noGrp="1"/>
          </p:cNvSpPr>
          <p:nvPr>
            <p:ph sz="half" idx="2"/>
          </p:nvPr>
        </p:nvSpPr>
        <p:spPr>
          <a:xfrm>
            <a:off x="4648200" y="1600204"/>
            <a:ext cx="4038600" cy="4530725"/>
          </a:xfrm>
        </p:spPr>
        <p:txBody>
          <a:bodyPr/>
          <a:lstStyle>
            <a:lvl1pPr>
              <a:defRPr sz="2800"/>
            </a:lvl1pPr>
            <a:lvl2pPr>
              <a:defRPr sz="25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Rectangle 23"/>
          <p:cNvSpPr>
            <a:spLocks noGrp="1" noChangeArrowheads="1"/>
          </p:cNvSpPr>
          <p:nvPr>
            <p:ph type="dt" sz="half" idx="10"/>
          </p:nvPr>
        </p:nvSpPr>
        <p:spPr>
          <a:ln/>
        </p:spPr>
        <p:txBody>
          <a:bodyPr/>
          <a:lstStyle>
            <a:lvl1pPr>
              <a:defRPr/>
            </a:lvl1pPr>
          </a:lstStyle>
          <a:p>
            <a:pPr>
              <a:defRPr/>
            </a:pPr>
            <a:r>
              <a:rPr lang="en-US" altLang="zh-CN">
                <a:solidFill>
                  <a:srgbClr val="FFFFFF"/>
                </a:solidFill>
              </a:rPr>
              <a:t>20111024</a:t>
            </a:r>
          </a:p>
        </p:txBody>
      </p:sp>
      <p:sp>
        <p:nvSpPr>
          <p:cNvPr id="6" name="Rectangle 24"/>
          <p:cNvSpPr>
            <a:spLocks noGrp="1" noChangeArrowheads="1"/>
          </p:cNvSpPr>
          <p:nvPr>
            <p:ph type="ftr" sz="quarter" idx="11"/>
          </p:nvPr>
        </p:nvSpPr>
        <p:spPr>
          <a:ln/>
        </p:spPr>
        <p:txBody>
          <a:bodyPr/>
          <a:lstStyle>
            <a:lvl1pPr>
              <a:defRPr/>
            </a:lvl1pPr>
          </a:lstStyle>
          <a:p>
            <a:pPr>
              <a:defRPr/>
            </a:pPr>
            <a:endParaRPr lang="en-US" altLang="zh-CN">
              <a:solidFill>
                <a:srgbClr val="FFFFFF"/>
              </a:solidFill>
            </a:endParaRPr>
          </a:p>
        </p:txBody>
      </p:sp>
      <p:sp>
        <p:nvSpPr>
          <p:cNvPr id="7" name="Rectangle 25"/>
          <p:cNvSpPr>
            <a:spLocks noGrp="1" noChangeArrowheads="1"/>
          </p:cNvSpPr>
          <p:nvPr>
            <p:ph type="sldNum" sz="quarter" idx="12"/>
          </p:nvPr>
        </p:nvSpPr>
        <p:spPr>
          <a:ln/>
        </p:spPr>
        <p:txBody>
          <a:bodyPr/>
          <a:lstStyle>
            <a:lvl1pPr>
              <a:defRPr/>
            </a:lvl1pPr>
          </a:lstStyle>
          <a:p>
            <a:pPr>
              <a:defRPr/>
            </a:pPr>
            <a:fld id="{988715AA-A31A-4BC1-B2C3-D5E3AEDCBB36}" type="slidenum">
              <a:rPr lang="en-US" altLang="zh-CN">
                <a:solidFill>
                  <a:srgbClr val="FFFFFF"/>
                </a:solidFill>
              </a:rPr>
              <a:pPr>
                <a:defRPr/>
              </a:pPr>
              <a:t>‹#›</a:t>
            </a:fld>
            <a:endParaRPr lang="en-US" altLang="zh-CN">
              <a:solidFill>
                <a:srgbClr val="FFFFFF"/>
              </a:solidFill>
            </a:endParaRPr>
          </a:p>
        </p:txBody>
      </p:sp>
    </p:spTree>
  </p:cSld>
  <p:clrMapOvr>
    <a:masterClrMapping/>
  </p:clrMapOvr>
  <p:transition spd="slow">
    <p:plus/>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457200" y="274639"/>
            <a:ext cx="8229600" cy="1143000"/>
          </a:xfrm>
        </p:spPr>
        <p:txBody>
          <a:bodyPr/>
          <a:lstStyle>
            <a:lvl1pPr>
              <a:defRPr/>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457203" y="1535120"/>
            <a:ext cx="4040188" cy="639763"/>
          </a:xfrm>
        </p:spPr>
        <p:txBody>
          <a:bodyPr anchor="b"/>
          <a:lstStyle>
            <a:lvl1pPr marL="0" indent="0">
              <a:buNone/>
              <a:defRPr sz="2500" b="1"/>
            </a:lvl1pPr>
            <a:lvl2pPr marL="456945" indent="0">
              <a:buNone/>
              <a:defRPr sz="2000" b="1"/>
            </a:lvl2pPr>
            <a:lvl3pPr marL="913890" indent="0">
              <a:buNone/>
              <a:defRPr sz="1800" b="1"/>
            </a:lvl3pPr>
            <a:lvl4pPr marL="1370836" indent="0">
              <a:buNone/>
              <a:defRPr sz="1600" b="1"/>
            </a:lvl4pPr>
            <a:lvl5pPr marL="1827781" indent="0">
              <a:buNone/>
              <a:defRPr sz="1600" b="1"/>
            </a:lvl5pPr>
            <a:lvl6pPr marL="2284726" indent="0">
              <a:buNone/>
              <a:defRPr sz="1600" b="1"/>
            </a:lvl6pPr>
            <a:lvl7pPr marL="2741672" indent="0">
              <a:buNone/>
              <a:defRPr sz="1600" b="1"/>
            </a:lvl7pPr>
            <a:lvl8pPr marL="3198616" indent="0">
              <a:buNone/>
              <a:defRPr sz="1600" b="1"/>
            </a:lvl8pPr>
            <a:lvl9pPr marL="3655563" indent="0">
              <a:buNone/>
              <a:defRPr sz="1600" b="1"/>
            </a:lvl9pPr>
          </a:lstStyle>
          <a:p>
            <a:pPr lvl="0"/>
            <a:r>
              <a:rPr lang="zh-CN" altLang="en-US" smtClean="0"/>
              <a:t>单击此处编辑母版文本样式</a:t>
            </a:r>
          </a:p>
        </p:txBody>
      </p:sp>
      <p:sp>
        <p:nvSpPr>
          <p:cNvPr id="4" name="内容占位符 3"/>
          <p:cNvSpPr>
            <a:spLocks noGrp="1"/>
          </p:cNvSpPr>
          <p:nvPr>
            <p:ph sz="half" idx="2"/>
          </p:nvPr>
        </p:nvSpPr>
        <p:spPr>
          <a:xfrm>
            <a:off x="457203" y="2174875"/>
            <a:ext cx="4040188" cy="3951288"/>
          </a:xfrm>
        </p:spPr>
        <p:txBody>
          <a:bodyPr/>
          <a:lstStyle>
            <a:lvl1pPr>
              <a:defRPr sz="25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文本占位符 4"/>
          <p:cNvSpPr>
            <a:spLocks noGrp="1"/>
          </p:cNvSpPr>
          <p:nvPr>
            <p:ph type="body" sz="quarter" idx="3"/>
          </p:nvPr>
        </p:nvSpPr>
        <p:spPr>
          <a:xfrm>
            <a:off x="4645042" y="1535120"/>
            <a:ext cx="4041775" cy="639763"/>
          </a:xfrm>
        </p:spPr>
        <p:txBody>
          <a:bodyPr anchor="b"/>
          <a:lstStyle>
            <a:lvl1pPr marL="0" indent="0">
              <a:buNone/>
              <a:defRPr sz="2500" b="1"/>
            </a:lvl1pPr>
            <a:lvl2pPr marL="456945" indent="0">
              <a:buNone/>
              <a:defRPr sz="2000" b="1"/>
            </a:lvl2pPr>
            <a:lvl3pPr marL="913890" indent="0">
              <a:buNone/>
              <a:defRPr sz="1800" b="1"/>
            </a:lvl3pPr>
            <a:lvl4pPr marL="1370836" indent="0">
              <a:buNone/>
              <a:defRPr sz="1600" b="1"/>
            </a:lvl4pPr>
            <a:lvl5pPr marL="1827781" indent="0">
              <a:buNone/>
              <a:defRPr sz="1600" b="1"/>
            </a:lvl5pPr>
            <a:lvl6pPr marL="2284726" indent="0">
              <a:buNone/>
              <a:defRPr sz="1600" b="1"/>
            </a:lvl6pPr>
            <a:lvl7pPr marL="2741672" indent="0">
              <a:buNone/>
              <a:defRPr sz="1600" b="1"/>
            </a:lvl7pPr>
            <a:lvl8pPr marL="3198616" indent="0">
              <a:buNone/>
              <a:defRPr sz="1600" b="1"/>
            </a:lvl8pPr>
            <a:lvl9pPr marL="3655563" indent="0">
              <a:buNone/>
              <a:defRPr sz="1600" b="1"/>
            </a:lvl9pPr>
          </a:lstStyle>
          <a:p>
            <a:pPr lvl="0"/>
            <a:r>
              <a:rPr lang="zh-CN" altLang="en-US" smtClean="0"/>
              <a:t>单击此处编辑母版文本样式</a:t>
            </a:r>
          </a:p>
        </p:txBody>
      </p:sp>
      <p:sp>
        <p:nvSpPr>
          <p:cNvPr id="6" name="内容占位符 5"/>
          <p:cNvSpPr>
            <a:spLocks noGrp="1"/>
          </p:cNvSpPr>
          <p:nvPr>
            <p:ph sz="quarter" idx="4"/>
          </p:nvPr>
        </p:nvSpPr>
        <p:spPr>
          <a:xfrm>
            <a:off x="4645042" y="2174875"/>
            <a:ext cx="4041775" cy="3951288"/>
          </a:xfrm>
        </p:spPr>
        <p:txBody>
          <a:bodyPr/>
          <a:lstStyle>
            <a:lvl1pPr>
              <a:defRPr sz="25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7" name="Rectangle 23"/>
          <p:cNvSpPr>
            <a:spLocks noGrp="1" noChangeArrowheads="1"/>
          </p:cNvSpPr>
          <p:nvPr>
            <p:ph type="dt" sz="half" idx="10"/>
          </p:nvPr>
        </p:nvSpPr>
        <p:spPr>
          <a:ln/>
        </p:spPr>
        <p:txBody>
          <a:bodyPr/>
          <a:lstStyle>
            <a:lvl1pPr>
              <a:defRPr/>
            </a:lvl1pPr>
          </a:lstStyle>
          <a:p>
            <a:pPr>
              <a:defRPr/>
            </a:pPr>
            <a:r>
              <a:rPr lang="en-US" altLang="zh-CN">
                <a:solidFill>
                  <a:srgbClr val="FFFFFF"/>
                </a:solidFill>
              </a:rPr>
              <a:t>20111024</a:t>
            </a:r>
          </a:p>
        </p:txBody>
      </p:sp>
      <p:sp>
        <p:nvSpPr>
          <p:cNvPr id="8" name="Rectangle 24"/>
          <p:cNvSpPr>
            <a:spLocks noGrp="1" noChangeArrowheads="1"/>
          </p:cNvSpPr>
          <p:nvPr>
            <p:ph type="ftr" sz="quarter" idx="11"/>
          </p:nvPr>
        </p:nvSpPr>
        <p:spPr>
          <a:ln/>
        </p:spPr>
        <p:txBody>
          <a:bodyPr/>
          <a:lstStyle>
            <a:lvl1pPr>
              <a:defRPr/>
            </a:lvl1pPr>
          </a:lstStyle>
          <a:p>
            <a:pPr>
              <a:defRPr/>
            </a:pPr>
            <a:endParaRPr lang="en-US" altLang="zh-CN">
              <a:solidFill>
                <a:srgbClr val="FFFFFF"/>
              </a:solidFill>
            </a:endParaRPr>
          </a:p>
        </p:txBody>
      </p:sp>
      <p:sp>
        <p:nvSpPr>
          <p:cNvPr id="9" name="Rectangle 25"/>
          <p:cNvSpPr>
            <a:spLocks noGrp="1" noChangeArrowheads="1"/>
          </p:cNvSpPr>
          <p:nvPr>
            <p:ph type="sldNum" sz="quarter" idx="12"/>
          </p:nvPr>
        </p:nvSpPr>
        <p:spPr>
          <a:ln/>
        </p:spPr>
        <p:txBody>
          <a:bodyPr/>
          <a:lstStyle>
            <a:lvl1pPr>
              <a:defRPr/>
            </a:lvl1pPr>
          </a:lstStyle>
          <a:p>
            <a:pPr>
              <a:defRPr/>
            </a:pPr>
            <a:fld id="{1CD32FA7-7419-4E79-A8EA-0C55A51E100A}" type="slidenum">
              <a:rPr lang="en-US" altLang="zh-CN">
                <a:solidFill>
                  <a:srgbClr val="FFFFFF"/>
                </a:solidFill>
              </a:rPr>
              <a:pPr>
                <a:defRPr/>
              </a:pPr>
              <a:t>‹#›</a:t>
            </a:fld>
            <a:endParaRPr lang="en-US" altLang="zh-CN">
              <a:solidFill>
                <a:srgbClr val="FFFFFF"/>
              </a:solidFill>
            </a:endParaRPr>
          </a:p>
        </p:txBody>
      </p:sp>
    </p:spTree>
  </p:cSld>
  <p:clrMapOvr>
    <a:masterClrMapping/>
  </p:clrMapOvr>
  <p:transition spd="slow">
    <p:plus/>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Rectangle 23"/>
          <p:cNvSpPr>
            <a:spLocks noGrp="1" noChangeArrowheads="1"/>
          </p:cNvSpPr>
          <p:nvPr>
            <p:ph type="dt" sz="half" idx="10"/>
          </p:nvPr>
        </p:nvSpPr>
        <p:spPr>
          <a:ln/>
        </p:spPr>
        <p:txBody>
          <a:bodyPr/>
          <a:lstStyle>
            <a:lvl1pPr>
              <a:defRPr/>
            </a:lvl1pPr>
          </a:lstStyle>
          <a:p>
            <a:pPr>
              <a:defRPr/>
            </a:pPr>
            <a:r>
              <a:rPr lang="en-US" altLang="zh-CN">
                <a:solidFill>
                  <a:srgbClr val="FFFFFF"/>
                </a:solidFill>
              </a:rPr>
              <a:t>20111024</a:t>
            </a:r>
          </a:p>
        </p:txBody>
      </p:sp>
      <p:sp>
        <p:nvSpPr>
          <p:cNvPr id="4" name="Rectangle 24"/>
          <p:cNvSpPr>
            <a:spLocks noGrp="1" noChangeArrowheads="1"/>
          </p:cNvSpPr>
          <p:nvPr>
            <p:ph type="ftr" sz="quarter" idx="11"/>
          </p:nvPr>
        </p:nvSpPr>
        <p:spPr>
          <a:ln/>
        </p:spPr>
        <p:txBody>
          <a:bodyPr/>
          <a:lstStyle>
            <a:lvl1pPr>
              <a:defRPr/>
            </a:lvl1pPr>
          </a:lstStyle>
          <a:p>
            <a:pPr>
              <a:defRPr/>
            </a:pPr>
            <a:endParaRPr lang="en-US" altLang="zh-CN">
              <a:solidFill>
                <a:srgbClr val="FFFFFF"/>
              </a:solidFill>
            </a:endParaRPr>
          </a:p>
        </p:txBody>
      </p:sp>
      <p:sp>
        <p:nvSpPr>
          <p:cNvPr id="5" name="Rectangle 25"/>
          <p:cNvSpPr>
            <a:spLocks noGrp="1" noChangeArrowheads="1"/>
          </p:cNvSpPr>
          <p:nvPr>
            <p:ph type="sldNum" sz="quarter" idx="12"/>
          </p:nvPr>
        </p:nvSpPr>
        <p:spPr>
          <a:ln/>
        </p:spPr>
        <p:txBody>
          <a:bodyPr/>
          <a:lstStyle>
            <a:lvl1pPr>
              <a:defRPr/>
            </a:lvl1pPr>
          </a:lstStyle>
          <a:p>
            <a:pPr>
              <a:defRPr/>
            </a:pPr>
            <a:fld id="{05ABD741-F09E-459E-A567-C19CC48C8BB5}" type="slidenum">
              <a:rPr lang="en-US" altLang="zh-CN">
                <a:solidFill>
                  <a:srgbClr val="FFFFFF"/>
                </a:solidFill>
              </a:rPr>
              <a:pPr>
                <a:defRPr/>
              </a:pPr>
              <a:t>‹#›</a:t>
            </a:fld>
            <a:endParaRPr lang="en-US" altLang="zh-CN">
              <a:solidFill>
                <a:srgbClr val="FFFFFF"/>
              </a:solidFill>
            </a:endParaRPr>
          </a:p>
        </p:txBody>
      </p:sp>
    </p:spTree>
  </p:cSld>
  <p:clrMapOvr>
    <a:masterClrMapping/>
  </p:clrMapOvr>
  <p:transition spd="slow">
    <p:plus/>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Rectangle 23"/>
          <p:cNvSpPr>
            <a:spLocks noGrp="1" noChangeArrowheads="1"/>
          </p:cNvSpPr>
          <p:nvPr>
            <p:ph type="dt" sz="half" idx="10"/>
          </p:nvPr>
        </p:nvSpPr>
        <p:spPr>
          <a:ln/>
        </p:spPr>
        <p:txBody>
          <a:bodyPr/>
          <a:lstStyle>
            <a:lvl1pPr>
              <a:defRPr/>
            </a:lvl1pPr>
          </a:lstStyle>
          <a:p>
            <a:pPr>
              <a:defRPr/>
            </a:pPr>
            <a:r>
              <a:rPr lang="en-US" altLang="zh-CN">
                <a:solidFill>
                  <a:srgbClr val="FFFFFF"/>
                </a:solidFill>
              </a:rPr>
              <a:t>20111024</a:t>
            </a:r>
          </a:p>
        </p:txBody>
      </p:sp>
      <p:sp>
        <p:nvSpPr>
          <p:cNvPr id="3" name="Rectangle 24"/>
          <p:cNvSpPr>
            <a:spLocks noGrp="1" noChangeArrowheads="1"/>
          </p:cNvSpPr>
          <p:nvPr>
            <p:ph type="ftr" sz="quarter" idx="11"/>
          </p:nvPr>
        </p:nvSpPr>
        <p:spPr>
          <a:ln/>
        </p:spPr>
        <p:txBody>
          <a:bodyPr/>
          <a:lstStyle>
            <a:lvl1pPr>
              <a:defRPr/>
            </a:lvl1pPr>
          </a:lstStyle>
          <a:p>
            <a:pPr>
              <a:defRPr/>
            </a:pPr>
            <a:endParaRPr lang="en-US" altLang="zh-CN">
              <a:solidFill>
                <a:srgbClr val="FFFFFF"/>
              </a:solidFill>
            </a:endParaRPr>
          </a:p>
        </p:txBody>
      </p:sp>
      <p:sp>
        <p:nvSpPr>
          <p:cNvPr id="4" name="Rectangle 25"/>
          <p:cNvSpPr>
            <a:spLocks noGrp="1" noChangeArrowheads="1"/>
          </p:cNvSpPr>
          <p:nvPr>
            <p:ph type="sldNum" sz="quarter" idx="12"/>
          </p:nvPr>
        </p:nvSpPr>
        <p:spPr>
          <a:ln/>
        </p:spPr>
        <p:txBody>
          <a:bodyPr/>
          <a:lstStyle>
            <a:lvl1pPr>
              <a:defRPr/>
            </a:lvl1pPr>
          </a:lstStyle>
          <a:p>
            <a:pPr>
              <a:defRPr/>
            </a:pPr>
            <a:fld id="{2F5AFA87-AFE5-468B-9C84-AC34A4324902}" type="slidenum">
              <a:rPr lang="en-US" altLang="zh-CN">
                <a:solidFill>
                  <a:srgbClr val="FFFFFF"/>
                </a:solidFill>
              </a:rPr>
              <a:pPr>
                <a:defRPr/>
              </a:pPr>
              <a:t>‹#›</a:t>
            </a:fld>
            <a:endParaRPr lang="en-US" altLang="zh-CN">
              <a:solidFill>
                <a:srgbClr val="FFFFFF"/>
              </a:solidFill>
            </a:endParaRPr>
          </a:p>
        </p:txBody>
      </p:sp>
    </p:spTree>
  </p:cSld>
  <p:clrMapOvr>
    <a:masterClrMapping/>
  </p:clrMapOvr>
  <p:transition spd="slow">
    <p:plus/>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722313" y="4406900"/>
            <a:ext cx="7772400" cy="1362075"/>
          </a:xfrm>
        </p:spPr>
        <p:txBody>
          <a:bodyPr anchor="t"/>
          <a:lstStyle>
            <a:lvl1pPr algn="l">
              <a:defRPr sz="4000" b="1" cap="all"/>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zh-CN" altLang="en-US" smtClean="0"/>
              <a:t>单击此处编辑母版文本样式</a:t>
            </a:r>
          </a:p>
        </p:txBody>
      </p:sp>
      <p:sp>
        <p:nvSpPr>
          <p:cNvPr id="4" name="日期占位符 3"/>
          <p:cNvSpPr>
            <a:spLocks noGrp="1"/>
          </p:cNvSpPr>
          <p:nvPr>
            <p:ph type="dt" sz="half" idx="10"/>
          </p:nvPr>
        </p:nvSpPr>
        <p:spPr/>
        <p:txBody>
          <a:bodyPr/>
          <a:lstStyle/>
          <a:p>
            <a:fld id="{530820CF-B880-4189-942D-D702A7CBA730}" type="datetimeFigureOut">
              <a:rPr lang="zh-CN" altLang="en-US" smtClean="0"/>
              <a:pPr/>
              <a:t>2017/12/7</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0C913308-F349-4B6D-A68A-DD1791B4A57B}" type="slidenum">
              <a:rPr lang="zh-CN" altLang="en-US" smtClean="0"/>
              <a:pPr/>
              <a:t>‹#›</a:t>
            </a:fld>
            <a:endParaRPr lang="zh-CN" altLang="en-US"/>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457219" y="273053"/>
            <a:ext cx="3008313" cy="1162051"/>
          </a:xfrm>
        </p:spPr>
        <p:txBody>
          <a:bodyPr anchor="b"/>
          <a:lstStyle>
            <a:lvl1pPr algn="l">
              <a:defRPr sz="2000" b="1"/>
            </a:lvl1pPr>
          </a:lstStyle>
          <a:p>
            <a:r>
              <a:rPr lang="zh-CN" altLang="en-US" smtClean="0"/>
              <a:t>单击此处编辑母版标题样式</a:t>
            </a:r>
            <a:endParaRPr lang="zh-CN" altLang="en-US"/>
          </a:p>
        </p:txBody>
      </p:sp>
      <p:sp>
        <p:nvSpPr>
          <p:cNvPr id="3" name="内容占位符 2"/>
          <p:cNvSpPr>
            <a:spLocks noGrp="1"/>
          </p:cNvSpPr>
          <p:nvPr>
            <p:ph idx="1"/>
          </p:nvPr>
        </p:nvSpPr>
        <p:spPr>
          <a:xfrm>
            <a:off x="3575050" y="273077"/>
            <a:ext cx="5111750" cy="5853115"/>
          </a:xfrm>
        </p:spPr>
        <p:txBody>
          <a:bodyPr/>
          <a:lstStyle>
            <a:lvl1pPr>
              <a:defRPr sz="3200"/>
            </a:lvl1pPr>
            <a:lvl2pPr>
              <a:defRPr sz="2800"/>
            </a:lvl2pPr>
            <a:lvl3pPr>
              <a:defRPr sz="2500"/>
            </a:lvl3pPr>
            <a:lvl4pPr>
              <a:defRPr sz="2000"/>
            </a:lvl4pPr>
            <a:lvl5pPr>
              <a:defRPr sz="2000"/>
            </a:lvl5pPr>
            <a:lvl6pPr>
              <a:defRPr sz="2000"/>
            </a:lvl6pPr>
            <a:lvl7pPr>
              <a:defRPr sz="2000"/>
            </a:lvl7pPr>
            <a:lvl8pPr>
              <a:defRPr sz="2000"/>
            </a:lvl8pPr>
            <a:lvl9pPr>
              <a:defRPr sz="20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文本占位符 3"/>
          <p:cNvSpPr>
            <a:spLocks noGrp="1"/>
          </p:cNvSpPr>
          <p:nvPr>
            <p:ph type="body" sz="half" idx="2"/>
          </p:nvPr>
        </p:nvSpPr>
        <p:spPr>
          <a:xfrm>
            <a:off x="457219" y="1435109"/>
            <a:ext cx="3008313" cy="4691063"/>
          </a:xfrm>
        </p:spPr>
        <p:txBody>
          <a:bodyPr/>
          <a:lstStyle>
            <a:lvl1pPr marL="0" indent="0">
              <a:buNone/>
              <a:defRPr sz="1400"/>
            </a:lvl1pPr>
            <a:lvl2pPr marL="456945" indent="0">
              <a:buNone/>
              <a:defRPr sz="1200"/>
            </a:lvl2pPr>
            <a:lvl3pPr marL="913890" indent="0">
              <a:buNone/>
              <a:defRPr sz="1000"/>
            </a:lvl3pPr>
            <a:lvl4pPr marL="1370836" indent="0">
              <a:buNone/>
              <a:defRPr sz="900"/>
            </a:lvl4pPr>
            <a:lvl5pPr marL="1827781" indent="0">
              <a:buNone/>
              <a:defRPr sz="900"/>
            </a:lvl5pPr>
            <a:lvl6pPr marL="2284726" indent="0">
              <a:buNone/>
              <a:defRPr sz="900"/>
            </a:lvl6pPr>
            <a:lvl7pPr marL="2741672" indent="0">
              <a:buNone/>
              <a:defRPr sz="900"/>
            </a:lvl7pPr>
            <a:lvl8pPr marL="3198616" indent="0">
              <a:buNone/>
              <a:defRPr sz="900"/>
            </a:lvl8pPr>
            <a:lvl9pPr marL="3655563" indent="0">
              <a:buNone/>
              <a:defRPr sz="900"/>
            </a:lvl9pPr>
          </a:lstStyle>
          <a:p>
            <a:pPr lvl="0"/>
            <a:r>
              <a:rPr lang="zh-CN" altLang="en-US" smtClean="0"/>
              <a:t>单击此处编辑母版文本样式</a:t>
            </a:r>
          </a:p>
        </p:txBody>
      </p:sp>
      <p:sp>
        <p:nvSpPr>
          <p:cNvPr id="5" name="Rectangle 23"/>
          <p:cNvSpPr>
            <a:spLocks noGrp="1" noChangeArrowheads="1"/>
          </p:cNvSpPr>
          <p:nvPr>
            <p:ph type="dt" sz="half" idx="10"/>
          </p:nvPr>
        </p:nvSpPr>
        <p:spPr>
          <a:ln/>
        </p:spPr>
        <p:txBody>
          <a:bodyPr/>
          <a:lstStyle>
            <a:lvl1pPr>
              <a:defRPr/>
            </a:lvl1pPr>
          </a:lstStyle>
          <a:p>
            <a:pPr>
              <a:defRPr/>
            </a:pPr>
            <a:r>
              <a:rPr lang="en-US" altLang="zh-CN">
                <a:solidFill>
                  <a:srgbClr val="FFFFFF"/>
                </a:solidFill>
              </a:rPr>
              <a:t>20111024</a:t>
            </a:r>
          </a:p>
        </p:txBody>
      </p:sp>
      <p:sp>
        <p:nvSpPr>
          <p:cNvPr id="6" name="Rectangle 24"/>
          <p:cNvSpPr>
            <a:spLocks noGrp="1" noChangeArrowheads="1"/>
          </p:cNvSpPr>
          <p:nvPr>
            <p:ph type="ftr" sz="quarter" idx="11"/>
          </p:nvPr>
        </p:nvSpPr>
        <p:spPr>
          <a:ln/>
        </p:spPr>
        <p:txBody>
          <a:bodyPr/>
          <a:lstStyle>
            <a:lvl1pPr>
              <a:defRPr/>
            </a:lvl1pPr>
          </a:lstStyle>
          <a:p>
            <a:pPr>
              <a:defRPr/>
            </a:pPr>
            <a:endParaRPr lang="en-US" altLang="zh-CN">
              <a:solidFill>
                <a:srgbClr val="FFFFFF"/>
              </a:solidFill>
            </a:endParaRPr>
          </a:p>
        </p:txBody>
      </p:sp>
      <p:sp>
        <p:nvSpPr>
          <p:cNvPr id="7" name="Rectangle 25"/>
          <p:cNvSpPr>
            <a:spLocks noGrp="1" noChangeArrowheads="1"/>
          </p:cNvSpPr>
          <p:nvPr>
            <p:ph type="sldNum" sz="quarter" idx="12"/>
          </p:nvPr>
        </p:nvSpPr>
        <p:spPr>
          <a:ln/>
        </p:spPr>
        <p:txBody>
          <a:bodyPr/>
          <a:lstStyle>
            <a:lvl1pPr>
              <a:defRPr/>
            </a:lvl1pPr>
          </a:lstStyle>
          <a:p>
            <a:pPr>
              <a:defRPr/>
            </a:pPr>
            <a:fld id="{7EC988CC-BFDA-4739-A06C-F813F56970A2}" type="slidenum">
              <a:rPr lang="en-US" altLang="zh-CN">
                <a:solidFill>
                  <a:srgbClr val="FFFFFF"/>
                </a:solidFill>
              </a:rPr>
              <a:pPr>
                <a:defRPr/>
              </a:pPr>
              <a:t>‹#›</a:t>
            </a:fld>
            <a:endParaRPr lang="en-US" altLang="zh-CN">
              <a:solidFill>
                <a:srgbClr val="FFFFFF"/>
              </a:solidFill>
            </a:endParaRPr>
          </a:p>
        </p:txBody>
      </p:sp>
    </p:spTree>
  </p:cSld>
  <p:clrMapOvr>
    <a:masterClrMapping/>
  </p:clrMapOvr>
  <p:transition spd="slow">
    <p:plus/>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1792288" y="4800607"/>
            <a:ext cx="5486400" cy="566739"/>
          </a:xfrm>
        </p:spPr>
        <p:txBody>
          <a:bodyPr anchor="b"/>
          <a:lstStyle>
            <a:lvl1pPr algn="l">
              <a:defRPr sz="2000" b="1"/>
            </a:lvl1pPr>
          </a:lstStyle>
          <a:p>
            <a:r>
              <a:rPr lang="zh-CN" altLang="en-US" smtClean="0"/>
              <a:t>单击此处编辑母版标题样式</a:t>
            </a:r>
            <a:endParaRPr lang="zh-CN" altLang="en-US"/>
          </a:p>
        </p:txBody>
      </p:sp>
      <p:sp>
        <p:nvSpPr>
          <p:cNvPr id="3" name="图片占位符 2"/>
          <p:cNvSpPr>
            <a:spLocks noGrp="1"/>
          </p:cNvSpPr>
          <p:nvPr>
            <p:ph type="pic" idx="1"/>
          </p:nvPr>
        </p:nvSpPr>
        <p:spPr>
          <a:xfrm>
            <a:off x="1792288" y="612775"/>
            <a:ext cx="5486400" cy="4114800"/>
          </a:xfrm>
        </p:spPr>
        <p:txBody>
          <a:bodyPr/>
          <a:lstStyle>
            <a:lvl1pPr marL="0" indent="0">
              <a:buNone/>
              <a:defRPr sz="3200"/>
            </a:lvl1pPr>
            <a:lvl2pPr marL="456945" indent="0">
              <a:buNone/>
              <a:defRPr sz="2800"/>
            </a:lvl2pPr>
            <a:lvl3pPr marL="913890" indent="0">
              <a:buNone/>
              <a:defRPr sz="2500"/>
            </a:lvl3pPr>
            <a:lvl4pPr marL="1370836" indent="0">
              <a:buNone/>
              <a:defRPr sz="2000"/>
            </a:lvl4pPr>
            <a:lvl5pPr marL="1827781" indent="0">
              <a:buNone/>
              <a:defRPr sz="2000"/>
            </a:lvl5pPr>
            <a:lvl6pPr marL="2284726" indent="0">
              <a:buNone/>
              <a:defRPr sz="2000"/>
            </a:lvl6pPr>
            <a:lvl7pPr marL="2741672" indent="0">
              <a:buNone/>
              <a:defRPr sz="2000"/>
            </a:lvl7pPr>
            <a:lvl8pPr marL="3198616" indent="0">
              <a:buNone/>
              <a:defRPr sz="2000"/>
            </a:lvl8pPr>
            <a:lvl9pPr marL="3655563" indent="0">
              <a:buNone/>
              <a:defRPr sz="2000"/>
            </a:lvl9pPr>
          </a:lstStyle>
          <a:p>
            <a:pPr lvl="0"/>
            <a:endParaRPr lang="zh-CN" altLang="en-US" noProof="0" smtClean="0"/>
          </a:p>
        </p:txBody>
      </p:sp>
      <p:sp>
        <p:nvSpPr>
          <p:cNvPr id="4" name="文本占位符 3"/>
          <p:cNvSpPr>
            <a:spLocks noGrp="1"/>
          </p:cNvSpPr>
          <p:nvPr>
            <p:ph type="body" sz="half" idx="2"/>
          </p:nvPr>
        </p:nvSpPr>
        <p:spPr>
          <a:xfrm>
            <a:off x="1792288" y="5367369"/>
            <a:ext cx="5486400" cy="804863"/>
          </a:xfrm>
        </p:spPr>
        <p:txBody>
          <a:bodyPr/>
          <a:lstStyle>
            <a:lvl1pPr marL="0" indent="0">
              <a:buNone/>
              <a:defRPr sz="1400"/>
            </a:lvl1pPr>
            <a:lvl2pPr marL="456945" indent="0">
              <a:buNone/>
              <a:defRPr sz="1200"/>
            </a:lvl2pPr>
            <a:lvl3pPr marL="913890" indent="0">
              <a:buNone/>
              <a:defRPr sz="1000"/>
            </a:lvl3pPr>
            <a:lvl4pPr marL="1370836" indent="0">
              <a:buNone/>
              <a:defRPr sz="900"/>
            </a:lvl4pPr>
            <a:lvl5pPr marL="1827781" indent="0">
              <a:buNone/>
              <a:defRPr sz="900"/>
            </a:lvl5pPr>
            <a:lvl6pPr marL="2284726" indent="0">
              <a:buNone/>
              <a:defRPr sz="900"/>
            </a:lvl6pPr>
            <a:lvl7pPr marL="2741672" indent="0">
              <a:buNone/>
              <a:defRPr sz="900"/>
            </a:lvl7pPr>
            <a:lvl8pPr marL="3198616" indent="0">
              <a:buNone/>
              <a:defRPr sz="900"/>
            </a:lvl8pPr>
            <a:lvl9pPr marL="3655563" indent="0">
              <a:buNone/>
              <a:defRPr sz="900"/>
            </a:lvl9pPr>
          </a:lstStyle>
          <a:p>
            <a:pPr lvl="0"/>
            <a:r>
              <a:rPr lang="zh-CN" altLang="en-US" smtClean="0"/>
              <a:t>单击此处编辑母版文本样式</a:t>
            </a:r>
          </a:p>
        </p:txBody>
      </p:sp>
      <p:sp>
        <p:nvSpPr>
          <p:cNvPr id="5" name="Rectangle 23"/>
          <p:cNvSpPr>
            <a:spLocks noGrp="1" noChangeArrowheads="1"/>
          </p:cNvSpPr>
          <p:nvPr>
            <p:ph type="dt" sz="half" idx="10"/>
          </p:nvPr>
        </p:nvSpPr>
        <p:spPr>
          <a:ln/>
        </p:spPr>
        <p:txBody>
          <a:bodyPr/>
          <a:lstStyle>
            <a:lvl1pPr>
              <a:defRPr/>
            </a:lvl1pPr>
          </a:lstStyle>
          <a:p>
            <a:pPr>
              <a:defRPr/>
            </a:pPr>
            <a:r>
              <a:rPr lang="en-US" altLang="zh-CN">
                <a:solidFill>
                  <a:srgbClr val="FFFFFF"/>
                </a:solidFill>
              </a:rPr>
              <a:t>20111024</a:t>
            </a:r>
          </a:p>
        </p:txBody>
      </p:sp>
      <p:sp>
        <p:nvSpPr>
          <p:cNvPr id="6" name="Rectangle 24"/>
          <p:cNvSpPr>
            <a:spLocks noGrp="1" noChangeArrowheads="1"/>
          </p:cNvSpPr>
          <p:nvPr>
            <p:ph type="ftr" sz="quarter" idx="11"/>
          </p:nvPr>
        </p:nvSpPr>
        <p:spPr>
          <a:ln/>
        </p:spPr>
        <p:txBody>
          <a:bodyPr/>
          <a:lstStyle>
            <a:lvl1pPr>
              <a:defRPr/>
            </a:lvl1pPr>
          </a:lstStyle>
          <a:p>
            <a:pPr>
              <a:defRPr/>
            </a:pPr>
            <a:endParaRPr lang="en-US" altLang="zh-CN">
              <a:solidFill>
                <a:srgbClr val="FFFFFF"/>
              </a:solidFill>
            </a:endParaRPr>
          </a:p>
        </p:txBody>
      </p:sp>
      <p:sp>
        <p:nvSpPr>
          <p:cNvPr id="7" name="Rectangle 25"/>
          <p:cNvSpPr>
            <a:spLocks noGrp="1" noChangeArrowheads="1"/>
          </p:cNvSpPr>
          <p:nvPr>
            <p:ph type="sldNum" sz="quarter" idx="12"/>
          </p:nvPr>
        </p:nvSpPr>
        <p:spPr>
          <a:ln/>
        </p:spPr>
        <p:txBody>
          <a:bodyPr/>
          <a:lstStyle>
            <a:lvl1pPr>
              <a:defRPr/>
            </a:lvl1pPr>
          </a:lstStyle>
          <a:p>
            <a:pPr>
              <a:defRPr/>
            </a:pPr>
            <a:fld id="{D69F2906-A284-4BFB-BEE3-E94C2C16C61C}" type="slidenum">
              <a:rPr lang="en-US" altLang="zh-CN">
                <a:solidFill>
                  <a:srgbClr val="FFFFFF"/>
                </a:solidFill>
              </a:rPr>
              <a:pPr>
                <a:defRPr/>
              </a:pPr>
              <a:t>‹#›</a:t>
            </a:fld>
            <a:endParaRPr lang="en-US" altLang="zh-CN">
              <a:solidFill>
                <a:srgbClr val="FFFFFF"/>
              </a:solidFill>
            </a:endParaRPr>
          </a:p>
        </p:txBody>
      </p:sp>
    </p:spTree>
  </p:cSld>
  <p:clrMapOvr>
    <a:masterClrMapping/>
  </p:clrMapOvr>
  <p:transition spd="slow">
    <p:plus/>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Rectangle 23"/>
          <p:cNvSpPr>
            <a:spLocks noGrp="1" noChangeArrowheads="1"/>
          </p:cNvSpPr>
          <p:nvPr>
            <p:ph type="dt" sz="half" idx="10"/>
          </p:nvPr>
        </p:nvSpPr>
        <p:spPr>
          <a:ln/>
        </p:spPr>
        <p:txBody>
          <a:bodyPr/>
          <a:lstStyle>
            <a:lvl1pPr>
              <a:defRPr/>
            </a:lvl1pPr>
          </a:lstStyle>
          <a:p>
            <a:pPr>
              <a:defRPr/>
            </a:pPr>
            <a:r>
              <a:rPr lang="en-US" altLang="zh-CN">
                <a:solidFill>
                  <a:srgbClr val="FFFFFF"/>
                </a:solidFill>
              </a:rPr>
              <a:t>20111024</a:t>
            </a:r>
          </a:p>
        </p:txBody>
      </p:sp>
      <p:sp>
        <p:nvSpPr>
          <p:cNvPr id="5" name="Rectangle 24"/>
          <p:cNvSpPr>
            <a:spLocks noGrp="1" noChangeArrowheads="1"/>
          </p:cNvSpPr>
          <p:nvPr>
            <p:ph type="ftr" sz="quarter" idx="11"/>
          </p:nvPr>
        </p:nvSpPr>
        <p:spPr>
          <a:ln/>
        </p:spPr>
        <p:txBody>
          <a:bodyPr/>
          <a:lstStyle>
            <a:lvl1pPr>
              <a:defRPr/>
            </a:lvl1pPr>
          </a:lstStyle>
          <a:p>
            <a:pPr>
              <a:defRPr/>
            </a:pPr>
            <a:endParaRPr lang="en-US" altLang="zh-CN">
              <a:solidFill>
                <a:srgbClr val="FFFFFF"/>
              </a:solidFill>
            </a:endParaRPr>
          </a:p>
        </p:txBody>
      </p:sp>
      <p:sp>
        <p:nvSpPr>
          <p:cNvPr id="6" name="Rectangle 25"/>
          <p:cNvSpPr>
            <a:spLocks noGrp="1" noChangeArrowheads="1"/>
          </p:cNvSpPr>
          <p:nvPr>
            <p:ph type="sldNum" sz="quarter" idx="12"/>
          </p:nvPr>
        </p:nvSpPr>
        <p:spPr>
          <a:ln/>
        </p:spPr>
        <p:txBody>
          <a:bodyPr/>
          <a:lstStyle>
            <a:lvl1pPr>
              <a:defRPr/>
            </a:lvl1pPr>
          </a:lstStyle>
          <a:p>
            <a:pPr>
              <a:defRPr/>
            </a:pPr>
            <a:fld id="{44457AF3-0B84-498A-8439-1D89B4AC7EBC}" type="slidenum">
              <a:rPr lang="en-US" altLang="zh-CN">
                <a:solidFill>
                  <a:srgbClr val="FFFFFF"/>
                </a:solidFill>
              </a:rPr>
              <a:pPr>
                <a:defRPr/>
              </a:pPr>
              <a:t>‹#›</a:t>
            </a:fld>
            <a:endParaRPr lang="en-US" altLang="zh-CN">
              <a:solidFill>
                <a:srgbClr val="FFFFFF"/>
              </a:solidFill>
            </a:endParaRPr>
          </a:p>
        </p:txBody>
      </p:sp>
    </p:spTree>
  </p:cSld>
  <p:clrMapOvr>
    <a:masterClrMapping/>
  </p:clrMapOvr>
  <p:transition spd="slow">
    <p:plus/>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type="vertTitleAndTx" preserve="1">
  <p:cSld name="垂直排列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6629400" y="277813"/>
            <a:ext cx="2057400" cy="5853112"/>
          </a:xfrm>
        </p:spPr>
        <p:txBody>
          <a:bodyPr vert="eaVert"/>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a:xfrm>
            <a:off x="457200" y="277813"/>
            <a:ext cx="6019800" cy="5853112"/>
          </a:xfrm>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Rectangle 23"/>
          <p:cNvSpPr>
            <a:spLocks noGrp="1" noChangeArrowheads="1"/>
          </p:cNvSpPr>
          <p:nvPr>
            <p:ph type="dt" sz="half" idx="10"/>
          </p:nvPr>
        </p:nvSpPr>
        <p:spPr>
          <a:ln/>
        </p:spPr>
        <p:txBody>
          <a:bodyPr/>
          <a:lstStyle>
            <a:lvl1pPr>
              <a:defRPr/>
            </a:lvl1pPr>
          </a:lstStyle>
          <a:p>
            <a:pPr>
              <a:defRPr/>
            </a:pPr>
            <a:r>
              <a:rPr lang="en-US" altLang="zh-CN">
                <a:solidFill>
                  <a:srgbClr val="FFFFFF"/>
                </a:solidFill>
              </a:rPr>
              <a:t>20111024</a:t>
            </a:r>
          </a:p>
        </p:txBody>
      </p:sp>
      <p:sp>
        <p:nvSpPr>
          <p:cNvPr id="5" name="Rectangle 24"/>
          <p:cNvSpPr>
            <a:spLocks noGrp="1" noChangeArrowheads="1"/>
          </p:cNvSpPr>
          <p:nvPr>
            <p:ph type="ftr" sz="quarter" idx="11"/>
          </p:nvPr>
        </p:nvSpPr>
        <p:spPr>
          <a:ln/>
        </p:spPr>
        <p:txBody>
          <a:bodyPr/>
          <a:lstStyle>
            <a:lvl1pPr>
              <a:defRPr/>
            </a:lvl1pPr>
          </a:lstStyle>
          <a:p>
            <a:pPr>
              <a:defRPr/>
            </a:pPr>
            <a:endParaRPr lang="en-US" altLang="zh-CN">
              <a:solidFill>
                <a:srgbClr val="FFFFFF"/>
              </a:solidFill>
            </a:endParaRPr>
          </a:p>
        </p:txBody>
      </p:sp>
      <p:sp>
        <p:nvSpPr>
          <p:cNvPr id="6" name="Rectangle 25"/>
          <p:cNvSpPr>
            <a:spLocks noGrp="1" noChangeArrowheads="1"/>
          </p:cNvSpPr>
          <p:nvPr>
            <p:ph type="sldNum" sz="quarter" idx="12"/>
          </p:nvPr>
        </p:nvSpPr>
        <p:spPr>
          <a:ln/>
        </p:spPr>
        <p:txBody>
          <a:bodyPr/>
          <a:lstStyle>
            <a:lvl1pPr>
              <a:defRPr/>
            </a:lvl1pPr>
          </a:lstStyle>
          <a:p>
            <a:pPr>
              <a:defRPr/>
            </a:pPr>
            <a:fld id="{1E12BF32-CE4A-483C-A37B-2F46C67AAE4C}" type="slidenum">
              <a:rPr lang="en-US" altLang="zh-CN">
                <a:solidFill>
                  <a:srgbClr val="FFFFFF"/>
                </a:solidFill>
              </a:rPr>
              <a:pPr>
                <a:defRPr/>
              </a:pPr>
              <a:t>‹#›</a:t>
            </a:fld>
            <a:endParaRPr lang="en-US" altLang="zh-CN">
              <a:solidFill>
                <a:srgbClr val="FFFFFF"/>
              </a:solidFill>
            </a:endParaRPr>
          </a:p>
        </p:txBody>
      </p:sp>
    </p:spTree>
  </p:cSld>
  <p:clrMapOvr>
    <a:masterClrMapping/>
  </p:clrMapOvr>
  <p:transition spd="slow">
    <p:plus/>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type="txAndObj" preserve="1">
  <p:cSld name="标题，文本与内容">
    <p:spTree>
      <p:nvGrpSpPr>
        <p:cNvPr id="1" name=""/>
        <p:cNvGrpSpPr/>
        <p:nvPr/>
      </p:nvGrpSpPr>
      <p:grpSpPr>
        <a:xfrm>
          <a:off x="0" y="0"/>
          <a:ext cx="0" cy="0"/>
          <a:chOff x="0" y="0"/>
          <a:chExt cx="0" cy="0"/>
        </a:xfrm>
      </p:grpSpPr>
      <p:sp>
        <p:nvSpPr>
          <p:cNvPr id="2" name="标题 1"/>
          <p:cNvSpPr>
            <a:spLocks noGrp="1"/>
          </p:cNvSpPr>
          <p:nvPr>
            <p:ph type="title"/>
          </p:nvPr>
        </p:nvSpPr>
        <p:spPr>
          <a:xfrm>
            <a:off x="457200" y="277815"/>
            <a:ext cx="8229600" cy="1143000"/>
          </a:xfrm>
        </p:spPr>
        <p:txBody>
          <a:bodyPr/>
          <a:lstStyle/>
          <a:p>
            <a:r>
              <a:rPr lang="zh-CN" altLang="en-US" smtClean="0"/>
              <a:t>单击此处编辑母版标题样式</a:t>
            </a:r>
            <a:endParaRPr lang="zh-CN" altLang="en-US"/>
          </a:p>
        </p:txBody>
      </p:sp>
      <p:sp>
        <p:nvSpPr>
          <p:cNvPr id="3" name="文本占位符 2"/>
          <p:cNvSpPr>
            <a:spLocks noGrp="1"/>
          </p:cNvSpPr>
          <p:nvPr>
            <p:ph type="body" sz="half" idx="1"/>
          </p:nvPr>
        </p:nvSpPr>
        <p:spPr>
          <a:xfrm>
            <a:off x="457200" y="1600204"/>
            <a:ext cx="4038600" cy="4530725"/>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内容占位符 3"/>
          <p:cNvSpPr>
            <a:spLocks noGrp="1"/>
          </p:cNvSpPr>
          <p:nvPr>
            <p:ph sz="half" idx="2"/>
          </p:nvPr>
        </p:nvSpPr>
        <p:spPr>
          <a:xfrm>
            <a:off x="4648200" y="1600204"/>
            <a:ext cx="4038600" cy="4530725"/>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Rectangle 23"/>
          <p:cNvSpPr>
            <a:spLocks noGrp="1" noChangeArrowheads="1"/>
          </p:cNvSpPr>
          <p:nvPr>
            <p:ph type="dt" sz="half" idx="10"/>
          </p:nvPr>
        </p:nvSpPr>
        <p:spPr>
          <a:ln/>
        </p:spPr>
        <p:txBody>
          <a:bodyPr/>
          <a:lstStyle>
            <a:lvl1pPr>
              <a:defRPr/>
            </a:lvl1pPr>
          </a:lstStyle>
          <a:p>
            <a:pPr>
              <a:defRPr/>
            </a:pPr>
            <a:r>
              <a:rPr lang="en-US" altLang="zh-CN">
                <a:solidFill>
                  <a:srgbClr val="FFFFFF"/>
                </a:solidFill>
              </a:rPr>
              <a:t>20111024</a:t>
            </a:r>
          </a:p>
        </p:txBody>
      </p:sp>
      <p:sp>
        <p:nvSpPr>
          <p:cNvPr id="6" name="Rectangle 24"/>
          <p:cNvSpPr>
            <a:spLocks noGrp="1" noChangeArrowheads="1"/>
          </p:cNvSpPr>
          <p:nvPr>
            <p:ph type="ftr" sz="quarter" idx="11"/>
          </p:nvPr>
        </p:nvSpPr>
        <p:spPr>
          <a:ln/>
        </p:spPr>
        <p:txBody>
          <a:bodyPr/>
          <a:lstStyle>
            <a:lvl1pPr>
              <a:defRPr/>
            </a:lvl1pPr>
          </a:lstStyle>
          <a:p>
            <a:pPr>
              <a:defRPr/>
            </a:pPr>
            <a:endParaRPr lang="en-US" altLang="zh-CN">
              <a:solidFill>
                <a:srgbClr val="FFFFFF"/>
              </a:solidFill>
            </a:endParaRPr>
          </a:p>
        </p:txBody>
      </p:sp>
      <p:sp>
        <p:nvSpPr>
          <p:cNvPr id="7" name="Rectangle 25"/>
          <p:cNvSpPr>
            <a:spLocks noGrp="1" noChangeArrowheads="1"/>
          </p:cNvSpPr>
          <p:nvPr>
            <p:ph type="sldNum" sz="quarter" idx="12"/>
          </p:nvPr>
        </p:nvSpPr>
        <p:spPr>
          <a:ln/>
        </p:spPr>
        <p:txBody>
          <a:bodyPr/>
          <a:lstStyle>
            <a:lvl1pPr>
              <a:defRPr/>
            </a:lvl1pPr>
          </a:lstStyle>
          <a:p>
            <a:pPr>
              <a:defRPr/>
            </a:pPr>
            <a:fld id="{C8C1F33F-50F3-4032-B8BB-C3B8AA5112F4}" type="slidenum">
              <a:rPr lang="en-US" altLang="zh-CN">
                <a:solidFill>
                  <a:srgbClr val="FFFFFF"/>
                </a:solidFill>
              </a:rPr>
              <a:pPr>
                <a:defRPr/>
              </a:pPr>
              <a:t>‹#›</a:t>
            </a:fld>
            <a:endParaRPr lang="en-US" altLang="zh-CN">
              <a:solidFill>
                <a:srgbClr val="FFFFFF"/>
              </a:solidFill>
            </a:endParaRPr>
          </a:p>
        </p:txBody>
      </p:sp>
    </p:spTree>
  </p:cSld>
  <p:clrMapOvr>
    <a:masterClrMapping/>
  </p:clrMapOvr>
  <p:transition spd="slow">
    <p:plus/>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type="objAndTwoObj" preserve="1">
  <p:cSld name="标题，一项大型内容和两项小型内容">
    <p:spTree>
      <p:nvGrpSpPr>
        <p:cNvPr id="1" name=""/>
        <p:cNvGrpSpPr/>
        <p:nvPr/>
      </p:nvGrpSpPr>
      <p:grpSpPr>
        <a:xfrm>
          <a:off x="0" y="0"/>
          <a:ext cx="0" cy="0"/>
          <a:chOff x="0" y="0"/>
          <a:chExt cx="0" cy="0"/>
        </a:xfrm>
      </p:grpSpPr>
      <p:sp>
        <p:nvSpPr>
          <p:cNvPr id="2" name="标题 1"/>
          <p:cNvSpPr>
            <a:spLocks noGrp="1"/>
          </p:cNvSpPr>
          <p:nvPr>
            <p:ph type="title"/>
          </p:nvPr>
        </p:nvSpPr>
        <p:spPr>
          <a:xfrm>
            <a:off x="457200" y="277815"/>
            <a:ext cx="8229600" cy="1143000"/>
          </a:xfrm>
        </p:spPr>
        <p:txBody>
          <a:bodyPr/>
          <a:lstStyle/>
          <a:p>
            <a:r>
              <a:rPr lang="zh-CN" altLang="en-US" smtClean="0"/>
              <a:t>单击此处编辑母版标题样式</a:t>
            </a:r>
            <a:endParaRPr lang="zh-CN" altLang="en-US"/>
          </a:p>
        </p:txBody>
      </p:sp>
      <p:sp>
        <p:nvSpPr>
          <p:cNvPr id="3" name="内容占位符 2"/>
          <p:cNvSpPr>
            <a:spLocks noGrp="1"/>
          </p:cNvSpPr>
          <p:nvPr>
            <p:ph sz="half" idx="1"/>
          </p:nvPr>
        </p:nvSpPr>
        <p:spPr>
          <a:xfrm>
            <a:off x="457200" y="1600204"/>
            <a:ext cx="4038600" cy="4530725"/>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内容占位符 3"/>
          <p:cNvSpPr>
            <a:spLocks noGrp="1"/>
          </p:cNvSpPr>
          <p:nvPr>
            <p:ph sz="quarter" idx="2"/>
          </p:nvPr>
        </p:nvSpPr>
        <p:spPr>
          <a:xfrm>
            <a:off x="4648200" y="1600207"/>
            <a:ext cx="4038600" cy="2189163"/>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内容占位符 4"/>
          <p:cNvSpPr>
            <a:spLocks noGrp="1"/>
          </p:cNvSpPr>
          <p:nvPr>
            <p:ph sz="quarter" idx="3"/>
          </p:nvPr>
        </p:nvSpPr>
        <p:spPr>
          <a:xfrm>
            <a:off x="4648200" y="3941772"/>
            <a:ext cx="4038600" cy="2189163"/>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6" name="Rectangle 23"/>
          <p:cNvSpPr>
            <a:spLocks noGrp="1" noChangeArrowheads="1"/>
          </p:cNvSpPr>
          <p:nvPr>
            <p:ph type="dt" sz="half" idx="10"/>
          </p:nvPr>
        </p:nvSpPr>
        <p:spPr>
          <a:ln/>
        </p:spPr>
        <p:txBody>
          <a:bodyPr/>
          <a:lstStyle>
            <a:lvl1pPr>
              <a:defRPr/>
            </a:lvl1pPr>
          </a:lstStyle>
          <a:p>
            <a:pPr>
              <a:defRPr/>
            </a:pPr>
            <a:r>
              <a:rPr lang="en-US" altLang="zh-CN">
                <a:solidFill>
                  <a:srgbClr val="FFFFFF"/>
                </a:solidFill>
              </a:rPr>
              <a:t>20111024</a:t>
            </a:r>
          </a:p>
        </p:txBody>
      </p:sp>
      <p:sp>
        <p:nvSpPr>
          <p:cNvPr id="7" name="Rectangle 24"/>
          <p:cNvSpPr>
            <a:spLocks noGrp="1" noChangeArrowheads="1"/>
          </p:cNvSpPr>
          <p:nvPr>
            <p:ph type="ftr" sz="quarter" idx="11"/>
          </p:nvPr>
        </p:nvSpPr>
        <p:spPr>
          <a:ln/>
        </p:spPr>
        <p:txBody>
          <a:bodyPr/>
          <a:lstStyle>
            <a:lvl1pPr>
              <a:defRPr/>
            </a:lvl1pPr>
          </a:lstStyle>
          <a:p>
            <a:pPr>
              <a:defRPr/>
            </a:pPr>
            <a:endParaRPr lang="en-US" altLang="zh-CN">
              <a:solidFill>
                <a:srgbClr val="FFFFFF"/>
              </a:solidFill>
            </a:endParaRPr>
          </a:p>
        </p:txBody>
      </p:sp>
      <p:sp>
        <p:nvSpPr>
          <p:cNvPr id="8" name="Rectangle 25"/>
          <p:cNvSpPr>
            <a:spLocks noGrp="1" noChangeArrowheads="1"/>
          </p:cNvSpPr>
          <p:nvPr>
            <p:ph type="sldNum" sz="quarter" idx="12"/>
          </p:nvPr>
        </p:nvSpPr>
        <p:spPr>
          <a:ln/>
        </p:spPr>
        <p:txBody>
          <a:bodyPr/>
          <a:lstStyle>
            <a:lvl1pPr>
              <a:defRPr/>
            </a:lvl1pPr>
          </a:lstStyle>
          <a:p>
            <a:pPr>
              <a:defRPr/>
            </a:pPr>
            <a:fld id="{4A45C8FA-DCBF-4715-8F7D-55DB49C60762}" type="slidenum">
              <a:rPr lang="en-US" altLang="zh-CN">
                <a:solidFill>
                  <a:srgbClr val="FFFFFF"/>
                </a:solidFill>
              </a:rPr>
              <a:pPr>
                <a:defRPr/>
              </a:pPr>
              <a:t>‹#›</a:t>
            </a:fld>
            <a:endParaRPr lang="en-US" altLang="zh-CN">
              <a:solidFill>
                <a:srgbClr val="FFFFFF"/>
              </a:solidFill>
            </a:endParaRPr>
          </a:p>
        </p:txBody>
      </p:sp>
    </p:spTree>
  </p:cSld>
  <p:clrMapOvr>
    <a:masterClrMapping/>
  </p:clrMapOvr>
  <p:transition spd="slow">
    <p:plus/>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type="dgm" preserve="1">
  <p:cSld name="标题和图示或组织结构图">
    <p:spTree>
      <p:nvGrpSpPr>
        <p:cNvPr id="1" name=""/>
        <p:cNvGrpSpPr/>
        <p:nvPr/>
      </p:nvGrpSpPr>
      <p:grpSpPr>
        <a:xfrm>
          <a:off x="0" y="0"/>
          <a:ext cx="0" cy="0"/>
          <a:chOff x="0" y="0"/>
          <a:chExt cx="0" cy="0"/>
        </a:xfrm>
      </p:grpSpPr>
      <p:sp>
        <p:nvSpPr>
          <p:cNvPr id="2" name="标题 1"/>
          <p:cNvSpPr>
            <a:spLocks noGrp="1"/>
          </p:cNvSpPr>
          <p:nvPr>
            <p:ph type="title"/>
          </p:nvPr>
        </p:nvSpPr>
        <p:spPr>
          <a:xfrm>
            <a:off x="457200" y="277815"/>
            <a:ext cx="8229600" cy="1143000"/>
          </a:xfrm>
        </p:spPr>
        <p:txBody>
          <a:bodyPr/>
          <a:lstStyle/>
          <a:p>
            <a:r>
              <a:rPr lang="zh-CN" altLang="en-US" smtClean="0"/>
              <a:t>单击此处编辑母版标题样式</a:t>
            </a:r>
            <a:endParaRPr lang="zh-CN" altLang="en-US"/>
          </a:p>
        </p:txBody>
      </p:sp>
      <p:sp>
        <p:nvSpPr>
          <p:cNvPr id="3" name="SmartArt 占位符 2"/>
          <p:cNvSpPr>
            <a:spLocks noGrp="1"/>
          </p:cNvSpPr>
          <p:nvPr>
            <p:ph type="dgm" idx="1"/>
          </p:nvPr>
        </p:nvSpPr>
        <p:spPr>
          <a:xfrm>
            <a:off x="457200" y="1600204"/>
            <a:ext cx="8229600" cy="4530725"/>
          </a:xfrm>
        </p:spPr>
        <p:txBody>
          <a:bodyPr/>
          <a:lstStyle/>
          <a:p>
            <a:pPr lvl="0"/>
            <a:endParaRPr lang="zh-CN" altLang="en-US" noProof="0" smtClean="0"/>
          </a:p>
        </p:txBody>
      </p:sp>
      <p:sp>
        <p:nvSpPr>
          <p:cNvPr id="4" name="Rectangle 23"/>
          <p:cNvSpPr>
            <a:spLocks noGrp="1" noChangeArrowheads="1"/>
          </p:cNvSpPr>
          <p:nvPr>
            <p:ph type="dt" sz="half" idx="10"/>
          </p:nvPr>
        </p:nvSpPr>
        <p:spPr>
          <a:ln/>
        </p:spPr>
        <p:txBody>
          <a:bodyPr/>
          <a:lstStyle>
            <a:lvl1pPr>
              <a:defRPr/>
            </a:lvl1pPr>
          </a:lstStyle>
          <a:p>
            <a:pPr>
              <a:defRPr/>
            </a:pPr>
            <a:r>
              <a:rPr lang="en-US" altLang="zh-CN">
                <a:solidFill>
                  <a:srgbClr val="FFFFFF"/>
                </a:solidFill>
              </a:rPr>
              <a:t>20111024</a:t>
            </a:r>
          </a:p>
        </p:txBody>
      </p:sp>
      <p:sp>
        <p:nvSpPr>
          <p:cNvPr id="5" name="Rectangle 24"/>
          <p:cNvSpPr>
            <a:spLocks noGrp="1" noChangeArrowheads="1"/>
          </p:cNvSpPr>
          <p:nvPr>
            <p:ph type="ftr" sz="quarter" idx="11"/>
          </p:nvPr>
        </p:nvSpPr>
        <p:spPr>
          <a:ln/>
        </p:spPr>
        <p:txBody>
          <a:bodyPr/>
          <a:lstStyle>
            <a:lvl1pPr>
              <a:defRPr/>
            </a:lvl1pPr>
          </a:lstStyle>
          <a:p>
            <a:pPr>
              <a:defRPr/>
            </a:pPr>
            <a:endParaRPr lang="en-US" altLang="zh-CN">
              <a:solidFill>
                <a:srgbClr val="FFFFFF"/>
              </a:solidFill>
            </a:endParaRPr>
          </a:p>
        </p:txBody>
      </p:sp>
      <p:sp>
        <p:nvSpPr>
          <p:cNvPr id="6" name="Rectangle 25"/>
          <p:cNvSpPr>
            <a:spLocks noGrp="1" noChangeArrowheads="1"/>
          </p:cNvSpPr>
          <p:nvPr>
            <p:ph type="sldNum" sz="quarter" idx="12"/>
          </p:nvPr>
        </p:nvSpPr>
        <p:spPr>
          <a:ln/>
        </p:spPr>
        <p:txBody>
          <a:bodyPr/>
          <a:lstStyle>
            <a:lvl1pPr>
              <a:defRPr/>
            </a:lvl1pPr>
          </a:lstStyle>
          <a:p>
            <a:pPr>
              <a:defRPr/>
            </a:pPr>
            <a:fld id="{F60AB81C-91F3-43AA-8A02-92DDC3880336}" type="slidenum">
              <a:rPr lang="en-US" altLang="zh-CN">
                <a:solidFill>
                  <a:srgbClr val="FFFFFF"/>
                </a:solidFill>
              </a:rPr>
              <a:pPr>
                <a:defRPr/>
              </a:pPr>
              <a:t>‹#›</a:t>
            </a:fld>
            <a:endParaRPr lang="en-US" altLang="zh-CN">
              <a:solidFill>
                <a:srgbClr val="FFFFFF"/>
              </a:solidFill>
            </a:endParaRPr>
          </a:p>
        </p:txBody>
      </p:sp>
    </p:spTree>
  </p:cSld>
  <p:clrMapOvr>
    <a:masterClrMapping/>
  </p:clrMapOvr>
  <p:transition spd="slow">
    <p:plus/>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type="txAndClipArt" preserve="1">
  <p:cSld name="标题，文本与剪贴画">
    <p:spTree>
      <p:nvGrpSpPr>
        <p:cNvPr id="1" name=""/>
        <p:cNvGrpSpPr/>
        <p:nvPr/>
      </p:nvGrpSpPr>
      <p:grpSpPr>
        <a:xfrm>
          <a:off x="0" y="0"/>
          <a:ext cx="0" cy="0"/>
          <a:chOff x="0" y="0"/>
          <a:chExt cx="0" cy="0"/>
        </a:xfrm>
      </p:grpSpPr>
      <p:sp>
        <p:nvSpPr>
          <p:cNvPr id="2" name="标题 1"/>
          <p:cNvSpPr>
            <a:spLocks noGrp="1"/>
          </p:cNvSpPr>
          <p:nvPr>
            <p:ph type="title"/>
          </p:nvPr>
        </p:nvSpPr>
        <p:spPr>
          <a:xfrm>
            <a:off x="457200" y="277815"/>
            <a:ext cx="8229600" cy="1143000"/>
          </a:xfrm>
        </p:spPr>
        <p:txBody>
          <a:bodyPr/>
          <a:lstStyle/>
          <a:p>
            <a:r>
              <a:rPr lang="zh-CN" altLang="en-US" smtClean="0"/>
              <a:t>单击此处编辑母版标题样式</a:t>
            </a:r>
            <a:endParaRPr lang="zh-CN" altLang="en-US"/>
          </a:p>
        </p:txBody>
      </p:sp>
      <p:sp>
        <p:nvSpPr>
          <p:cNvPr id="3" name="文本占位符 2"/>
          <p:cNvSpPr>
            <a:spLocks noGrp="1"/>
          </p:cNvSpPr>
          <p:nvPr>
            <p:ph type="body" sz="half" idx="1"/>
          </p:nvPr>
        </p:nvSpPr>
        <p:spPr>
          <a:xfrm>
            <a:off x="457200" y="1600204"/>
            <a:ext cx="4038600" cy="4530725"/>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剪贴画占位符 3"/>
          <p:cNvSpPr>
            <a:spLocks noGrp="1"/>
          </p:cNvSpPr>
          <p:nvPr>
            <p:ph type="clipArt" sz="half" idx="2"/>
          </p:nvPr>
        </p:nvSpPr>
        <p:spPr>
          <a:xfrm>
            <a:off x="4648200" y="1600204"/>
            <a:ext cx="4038600" cy="4530725"/>
          </a:xfrm>
        </p:spPr>
        <p:txBody>
          <a:bodyPr/>
          <a:lstStyle/>
          <a:p>
            <a:pPr lvl="0"/>
            <a:endParaRPr lang="zh-CN" altLang="en-US" noProof="0" smtClean="0"/>
          </a:p>
        </p:txBody>
      </p:sp>
      <p:sp>
        <p:nvSpPr>
          <p:cNvPr id="5" name="Rectangle 23"/>
          <p:cNvSpPr>
            <a:spLocks noGrp="1" noChangeArrowheads="1"/>
          </p:cNvSpPr>
          <p:nvPr>
            <p:ph type="dt" sz="half" idx="10"/>
          </p:nvPr>
        </p:nvSpPr>
        <p:spPr>
          <a:ln/>
        </p:spPr>
        <p:txBody>
          <a:bodyPr/>
          <a:lstStyle>
            <a:lvl1pPr>
              <a:defRPr/>
            </a:lvl1pPr>
          </a:lstStyle>
          <a:p>
            <a:pPr>
              <a:defRPr/>
            </a:pPr>
            <a:r>
              <a:rPr lang="en-US" altLang="zh-CN">
                <a:solidFill>
                  <a:srgbClr val="FFFFFF"/>
                </a:solidFill>
              </a:rPr>
              <a:t>20111024</a:t>
            </a:r>
          </a:p>
        </p:txBody>
      </p:sp>
      <p:sp>
        <p:nvSpPr>
          <p:cNvPr id="6" name="Rectangle 24"/>
          <p:cNvSpPr>
            <a:spLocks noGrp="1" noChangeArrowheads="1"/>
          </p:cNvSpPr>
          <p:nvPr>
            <p:ph type="ftr" sz="quarter" idx="11"/>
          </p:nvPr>
        </p:nvSpPr>
        <p:spPr>
          <a:ln/>
        </p:spPr>
        <p:txBody>
          <a:bodyPr/>
          <a:lstStyle>
            <a:lvl1pPr>
              <a:defRPr/>
            </a:lvl1pPr>
          </a:lstStyle>
          <a:p>
            <a:pPr>
              <a:defRPr/>
            </a:pPr>
            <a:endParaRPr lang="en-US" altLang="zh-CN">
              <a:solidFill>
                <a:srgbClr val="FFFFFF"/>
              </a:solidFill>
            </a:endParaRPr>
          </a:p>
        </p:txBody>
      </p:sp>
      <p:sp>
        <p:nvSpPr>
          <p:cNvPr id="7" name="Rectangle 25"/>
          <p:cNvSpPr>
            <a:spLocks noGrp="1" noChangeArrowheads="1"/>
          </p:cNvSpPr>
          <p:nvPr>
            <p:ph type="sldNum" sz="quarter" idx="12"/>
          </p:nvPr>
        </p:nvSpPr>
        <p:spPr>
          <a:ln/>
        </p:spPr>
        <p:txBody>
          <a:bodyPr/>
          <a:lstStyle>
            <a:lvl1pPr>
              <a:defRPr/>
            </a:lvl1pPr>
          </a:lstStyle>
          <a:p>
            <a:pPr>
              <a:defRPr/>
            </a:pPr>
            <a:fld id="{DA892ECE-550B-4A51-89B1-85E77F0EA85D}" type="slidenum">
              <a:rPr lang="en-US" altLang="zh-CN">
                <a:solidFill>
                  <a:srgbClr val="FFFFFF"/>
                </a:solidFill>
              </a:rPr>
              <a:pPr>
                <a:defRPr/>
              </a:pPr>
              <a:t>‹#›</a:t>
            </a:fld>
            <a:endParaRPr lang="en-US" altLang="zh-CN">
              <a:solidFill>
                <a:srgbClr val="FFFFFF"/>
              </a:solidFill>
            </a:endParaRPr>
          </a:p>
        </p:txBody>
      </p:sp>
    </p:spTree>
  </p:cSld>
  <p:clrMapOvr>
    <a:masterClrMapping/>
  </p:clrMapOvr>
  <p:transition spd="slow">
    <p:plus/>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685801" y="2130460"/>
            <a:ext cx="7772400" cy="1470025"/>
          </a:xfrm>
        </p:spPr>
        <p:txBody>
          <a:bodyPr/>
          <a:lstStyle/>
          <a:p>
            <a:r>
              <a:rPr lang="zh-CN" altLang="en-US" smtClean="0"/>
              <a:t>单击此处编辑母版标题样式</a:t>
            </a:r>
            <a:endParaRPr lang="zh-CN" altLang="en-US"/>
          </a:p>
        </p:txBody>
      </p:sp>
      <p:sp>
        <p:nvSpPr>
          <p:cNvPr id="3" name="副标题 2"/>
          <p:cNvSpPr>
            <a:spLocks noGrp="1"/>
          </p:cNvSpPr>
          <p:nvPr>
            <p:ph type="subTitle" idx="1"/>
          </p:nvPr>
        </p:nvSpPr>
        <p:spPr>
          <a:xfrm>
            <a:off x="1371601" y="3886200"/>
            <a:ext cx="6400800" cy="1752600"/>
          </a:xfrm>
        </p:spPr>
        <p:txBody>
          <a:bodyPr/>
          <a:lstStyle>
            <a:lvl1pPr marL="0" indent="0" algn="ctr">
              <a:buNone/>
              <a:defRPr>
                <a:solidFill>
                  <a:schemeClr val="tx1">
                    <a:tint val="75000"/>
                  </a:schemeClr>
                </a:solidFill>
              </a:defRPr>
            </a:lvl1pPr>
            <a:lvl2pPr marL="456945" indent="0" algn="ctr">
              <a:buNone/>
              <a:defRPr>
                <a:solidFill>
                  <a:schemeClr val="tx1">
                    <a:tint val="75000"/>
                  </a:schemeClr>
                </a:solidFill>
              </a:defRPr>
            </a:lvl2pPr>
            <a:lvl3pPr marL="913890" indent="0" algn="ctr">
              <a:buNone/>
              <a:defRPr>
                <a:solidFill>
                  <a:schemeClr val="tx1">
                    <a:tint val="75000"/>
                  </a:schemeClr>
                </a:solidFill>
              </a:defRPr>
            </a:lvl3pPr>
            <a:lvl4pPr marL="1370836" indent="0" algn="ctr">
              <a:buNone/>
              <a:defRPr>
                <a:solidFill>
                  <a:schemeClr val="tx1">
                    <a:tint val="75000"/>
                  </a:schemeClr>
                </a:solidFill>
              </a:defRPr>
            </a:lvl4pPr>
            <a:lvl5pPr marL="1827781" indent="0" algn="ctr">
              <a:buNone/>
              <a:defRPr>
                <a:solidFill>
                  <a:schemeClr val="tx1">
                    <a:tint val="75000"/>
                  </a:schemeClr>
                </a:solidFill>
              </a:defRPr>
            </a:lvl5pPr>
            <a:lvl6pPr marL="2284726" indent="0" algn="ctr">
              <a:buNone/>
              <a:defRPr>
                <a:solidFill>
                  <a:schemeClr val="tx1">
                    <a:tint val="75000"/>
                  </a:schemeClr>
                </a:solidFill>
              </a:defRPr>
            </a:lvl6pPr>
            <a:lvl7pPr marL="2741672" indent="0" algn="ctr">
              <a:buNone/>
              <a:defRPr>
                <a:solidFill>
                  <a:schemeClr val="tx1">
                    <a:tint val="75000"/>
                  </a:schemeClr>
                </a:solidFill>
              </a:defRPr>
            </a:lvl7pPr>
            <a:lvl8pPr marL="3198616" indent="0" algn="ctr">
              <a:buNone/>
              <a:defRPr>
                <a:solidFill>
                  <a:schemeClr val="tx1">
                    <a:tint val="75000"/>
                  </a:schemeClr>
                </a:solidFill>
              </a:defRPr>
            </a:lvl8pPr>
            <a:lvl9pPr marL="3655563" indent="0" algn="ctr">
              <a:buNone/>
              <a:defRPr>
                <a:solidFill>
                  <a:schemeClr val="tx1">
                    <a:tint val="75000"/>
                  </a:schemeClr>
                </a:solidFill>
              </a:defRPr>
            </a:lvl9pPr>
          </a:lstStyle>
          <a:p>
            <a:r>
              <a:rPr lang="zh-CN" altLang="en-US" smtClean="0"/>
              <a:t>单击此处编辑母版副标题样式</a:t>
            </a:r>
            <a:endParaRPr lang="zh-CN" altLang="en-US"/>
          </a:p>
        </p:txBody>
      </p:sp>
      <p:sp>
        <p:nvSpPr>
          <p:cNvPr id="4" name="日期占位符 3"/>
          <p:cNvSpPr>
            <a:spLocks noGrp="1"/>
          </p:cNvSpPr>
          <p:nvPr>
            <p:ph type="dt" sz="half" idx="10"/>
          </p:nvPr>
        </p:nvSpPr>
        <p:spPr/>
        <p:txBody>
          <a:bodyPr/>
          <a:lstStyle>
            <a:lvl1pPr fontAlgn="base">
              <a:spcBef>
                <a:spcPct val="0"/>
              </a:spcBef>
              <a:spcAft>
                <a:spcPct val="0"/>
              </a:spcAft>
              <a:defRPr>
                <a:latin typeface="黑体" pitchFamily="49" charset="-122"/>
              </a:defRPr>
            </a:lvl1pPr>
          </a:lstStyle>
          <a:p>
            <a:pPr>
              <a:defRPr/>
            </a:pPr>
            <a:fld id="{2BD4AD03-56AA-4072-A3C4-B662BC9C7A5B}" type="datetimeFigureOut">
              <a:rPr lang="zh-CN" altLang="en-US" smtClean="0"/>
              <a:pPr>
                <a:defRPr/>
              </a:pPr>
              <a:t>2017/12/7</a:t>
            </a:fld>
            <a:endParaRPr lang="zh-CN" altLang="en-US" dirty="0"/>
          </a:p>
        </p:txBody>
      </p:sp>
      <p:sp>
        <p:nvSpPr>
          <p:cNvPr id="5" name="页脚占位符 4"/>
          <p:cNvSpPr>
            <a:spLocks noGrp="1"/>
          </p:cNvSpPr>
          <p:nvPr>
            <p:ph type="ftr" sz="quarter" idx="11"/>
          </p:nvPr>
        </p:nvSpPr>
        <p:spPr/>
        <p:txBody>
          <a:bodyPr/>
          <a:lstStyle>
            <a:lvl1pPr fontAlgn="base">
              <a:spcBef>
                <a:spcPct val="0"/>
              </a:spcBef>
              <a:spcAft>
                <a:spcPct val="0"/>
              </a:spcAft>
              <a:defRPr>
                <a:latin typeface="黑体" pitchFamily="49" charset="-122"/>
              </a:defRPr>
            </a:lvl1pPr>
          </a:lstStyle>
          <a:p>
            <a:pPr>
              <a:defRPr/>
            </a:pPr>
            <a:endParaRPr lang="zh-CN" altLang="en-US" dirty="0"/>
          </a:p>
        </p:txBody>
      </p:sp>
      <p:sp>
        <p:nvSpPr>
          <p:cNvPr id="6" name="灯片编号占位符 5"/>
          <p:cNvSpPr>
            <a:spLocks noGrp="1"/>
          </p:cNvSpPr>
          <p:nvPr>
            <p:ph type="sldNum" sz="quarter" idx="12"/>
          </p:nvPr>
        </p:nvSpPr>
        <p:spPr/>
        <p:txBody>
          <a:bodyPr/>
          <a:lstStyle>
            <a:lvl1pPr fontAlgn="base">
              <a:spcBef>
                <a:spcPct val="0"/>
              </a:spcBef>
              <a:spcAft>
                <a:spcPct val="0"/>
              </a:spcAft>
              <a:defRPr>
                <a:latin typeface="黑体" pitchFamily="49" charset="-122"/>
              </a:defRPr>
            </a:lvl1pPr>
          </a:lstStyle>
          <a:p>
            <a:pPr>
              <a:defRPr/>
            </a:pPr>
            <a:fld id="{F3148D3D-3139-4546-8DFB-104D2611A7FB}" type="slidenum">
              <a:rPr lang="zh-CN" altLang="en-US" smtClean="0"/>
              <a:pPr>
                <a:defRPr/>
              </a:pPr>
              <a:t>‹#›</a:t>
            </a:fld>
            <a:endParaRPr lang="zh-CN" altLang="en-US" dirty="0"/>
          </a:p>
        </p:txBody>
      </p:sp>
    </p:spTree>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idx="1"/>
          </p:nvPr>
        </p:nvSpPr>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p:txBody>
          <a:bodyPr/>
          <a:lstStyle>
            <a:lvl1pPr fontAlgn="base">
              <a:spcBef>
                <a:spcPct val="0"/>
              </a:spcBef>
              <a:spcAft>
                <a:spcPct val="0"/>
              </a:spcAft>
              <a:defRPr>
                <a:latin typeface="黑体" pitchFamily="49" charset="-122"/>
              </a:defRPr>
            </a:lvl1pPr>
          </a:lstStyle>
          <a:p>
            <a:pPr>
              <a:defRPr/>
            </a:pPr>
            <a:fld id="{00B671EA-427E-4A28-B339-ACBBE37ADF99}" type="datetimeFigureOut">
              <a:rPr lang="zh-CN" altLang="en-US" smtClean="0"/>
              <a:pPr>
                <a:defRPr/>
              </a:pPr>
              <a:t>2017/12/7</a:t>
            </a:fld>
            <a:endParaRPr lang="zh-CN" altLang="en-US" dirty="0"/>
          </a:p>
        </p:txBody>
      </p:sp>
      <p:sp>
        <p:nvSpPr>
          <p:cNvPr id="5" name="页脚占位符 4"/>
          <p:cNvSpPr>
            <a:spLocks noGrp="1"/>
          </p:cNvSpPr>
          <p:nvPr>
            <p:ph type="ftr" sz="quarter" idx="11"/>
          </p:nvPr>
        </p:nvSpPr>
        <p:spPr/>
        <p:txBody>
          <a:bodyPr/>
          <a:lstStyle>
            <a:lvl1pPr fontAlgn="base">
              <a:spcBef>
                <a:spcPct val="0"/>
              </a:spcBef>
              <a:spcAft>
                <a:spcPct val="0"/>
              </a:spcAft>
              <a:defRPr>
                <a:latin typeface="黑体" pitchFamily="49" charset="-122"/>
              </a:defRPr>
            </a:lvl1pPr>
          </a:lstStyle>
          <a:p>
            <a:pPr>
              <a:defRPr/>
            </a:pPr>
            <a:endParaRPr lang="zh-CN" altLang="en-US" dirty="0"/>
          </a:p>
        </p:txBody>
      </p:sp>
      <p:sp>
        <p:nvSpPr>
          <p:cNvPr id="6" name="灯片编号占位符 5"/>
          <p:cNvSpPr>
            <a:spLocks noGrp="1"/>
          </p:cNvSpPr>
          <p:nvPr>
            <p:ph type="sldNum" sz="quarter" idx="12"/>
          </p:nvPr>
        </p:nvSpPr>
        <p:spPr/>
        <p:txBody>
          <a:bodyPr/>
          <a:lstStyle>
            <a:lvl1pPr fontAlgn="base">
              <a:spcBef>
                <a:spcPct val="0"/>
              </a:spcBef>
              <a:spcAft>
                <a:spcPct val="0"/>
              </a:spcAft>
              <a:defRPr>
                <a:latin typeface="黑体" pitchFamily="49" charset="-122"/>
              </a:defRPr>
            </a:lvl1pPr>
          </a:lstStyle>
          <a:p>
            <a:pPr>
              <a:defRPr/>
            </a:pPr>
            <a:fld id="{BBA3216C-3599-415A-8EFA-D4B4E71B81BB}" type="slidenum">
              <a:rPr lang="zh-CN" altLang="en-US" smtClean="0"/>
              <a:pPr>
                <a:defRPr/>
              </a:pPr>
              <a:t>‹#›</a:t>
            </a:fld>
            <a:endParaRPr lang="zh-CN" alt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内容占位符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日期占位符 4"/>
          <p:cNvSpPr>
            <a:spLocks noGrp="1"/>
          </p:cNvSpPr>
          <p:nvPr>
            <p:ph type="dt" sz="half" idx="10"/>
          </p:nvPr>
        </p:nvSpPr>
        <p:spPr/>
        <p:txBody>
          <a:bodyPr/>
          <a:lstStyle/>
          <a:p>
            <a:fld id="{530820CF-B880-4189-942D-D702A7CBA730}" type="datetimeFigureOut">
              <a:rPr lang="zh-CN" altLang="en-US" smtClean="0"/>
              <a:pPr/>
              <a:t>2017/12/7</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0C913308-F349-4B6D-A68A-DD1791B4A57B}" type="slidenum">
              <a:rPr lang="zh-CN" altLang="en-US" smtClean="0"/>
              <a:pPr/>
              <a:t>‹#›</a:t>
            </a:fld>
            <a:endParaRPr lang="zh-CN" altLang="en-US"/>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722316" y="4406907"/>
            <a:ext cx="7772400" cy="1362075"/>
          </a:xfrm>
        </p:spPr>
        <p:txBody>
          <a:bodyPr anchor="t"/>
          <a:lstStyle>
            <a:lvl1pPr algn="l">
              <a:defRPr sz="4100" b="1" cap="all"/>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722316" y="2906719"/>
            <a:ext cx="7772400" cy="1500187"/>
          </a:xfrm>
        </p:spPr>
        <p:txBody>
          <a:bodyPr anchor="b"/>
          <a:lstStyle>
            <a:lvl1pPr marL="0" indent="0">
              <a:buNone/>
              <a:defRPr sz="2000">
                <a:solidFill>
                  <a:schemeClr val="tx1">
                    <a:tint val="75000"/>
                  </a:schemeClr>
                </a:solidFill>
              </a:defRPr>
            </a:lvl1pPr>
            <a:lvl2pPr marL="456945" indent="0">
              <a:buNone/>
              <a:defRPr sz="1800">
                <a:solidFill>
                  <a:schemeClr val="tx1">
                    <a:tint val="75000"/>
                  </a:schemeClr>
                </a:solidFill>
              </a:defRPr>
            </a:lvl2pPr>
            <a:lvl3pPr marL="913890" indent="0">
              <a:buNone/>
              <a:defRPr sz="1600">
                <a:solidFill>
                  <a:schemeClr val="tx1">
                    <a:tint val="75000"/>
                  </a:schemeClr>
                </a:solidFill>
              </a:defRPr>
            </a:lvl3pPr>
            <a:lvl4pPr marL="1370836" indent="0">
              <a:buNone/>
              <a:defRPr sz="1400">
                <a:solidFill>
                  <a:schemeClr val="tx1">
                    <a:tint val="75000"/>
                  </a:schemeClr>
                </a:solidFill>
              </a:defRPr>
            </a:lvl4pPr>
            <a:lvl5pPr marL="1827781" indent="0">
              <a:buNone/>
              <a:defRPr sz="1400">
                <a:solidFill>
                  <a:schemeClr val="tx1">
                    <a:tint val="75000"/>
                  </a:schemeClr>
                </a:solidFill>
              </a:defRPr>
            </a:lvl5pPr>
            <a:lvl6pPr marL="2284726" indent="0">
              <a:buNone/>
              <a:defRPr sz="1400">
                <a:solidFill>
                  <a:schemeClr val="tx1">
                    <a:tint val="75000"/>
                  </a:schemeClr>
                </a:solidFill>
              </a:defRPr>
            </a:lvl6pPr>
            <a:lvl7pPr marL="2741672" indent="0">
              <a:buNone/>
              <a:defRPr sz="1400">
                <a:solidFill>
                  <a:schemeClr val="tx1">
                    <a:tint val="75000"/>
                  </a:schemeClr>
                </a:solidFill>
              </a:defRPr>
            </a:lvl7pPr>
            <a:lvl8pPr marL="3198616" indent="0">
              <a:buNone/>
              <a:defRPr sz="1400">
                <a:solidFill>
                  <a:schemeClr val="tx1">
                    <a:tint val="75000"/>
                  </a:schemeClr>
                </a:solidFill>
              </a:defRPr>
            </a:lvl8pPr>
            <a:lvl9pPr marL="3655563" indent="0">
              <a:buNone/>
              <a:defRPr sz="1400">
                <a:solidFill>
                  <a:schemeClr val="tx1">
                    <a:tint val="75000"/>
                  </a:schemeClr>
                </a:solidFill>
              </a:defRPr>
            </a:lvl9pPr>
          </a:lstStyle>
          <a:p>
            <a:pPr lvl="0"/>
            <a:r>
              <a:rPr lang="zh-CN" altLang="en-US" smtClean="0"/>
              <a:t>单击此处编辑母版文本样式</a:t>
            </a:r>
          </a:p>
        </p:txBody>
      </p:sp>
      <p:sp>
        <p:nvSpPr>
          <p:cNvPr id="4" name="日期占位符 3"/>
          <p:cNvSpPr>
            <a:spLocks noGrp="1"/>
          </p:cNvSpPr>
          <p:nvPr>
            <p:ph type="dt" sz="half" idx="10"/>
          </p:nvPr>
        </p:nvSpPr>
        <p:spPr/>
        <p:txBody>
          <a:bodyPr/>
          <a:lstStyle>
            <a:lvl1pPr fontAlgn="base">
              <a:spcBef>
                <a:spcPct val="0"/>
              </a:spcBef>
              <a:spcAft>
                <a:spcPct val="0"/>
              </a:spcAft>
              <a:defRPr>
                <a:latin typeface="黑体" pitchFamily="49" charset="-122"/>
              </a:defRPr>
            </a:lvl1pPr>
          </a:lstStyle>
          <a:p>
            <a:pPr>
              <a:defRPr/>
            </a:pPr>
            <a:fld id="{24632C5A-AAFB-4F0C-91CC-E9255C259995}" type="datetimeFigureOut">
              <a:rPr lang="zh-CN" altLang="en-US" smtClean="0"/>
              <a:pPr>
                <a:defRPr/>
              </a:pPr>
              <a:t>2017/12/7</a:t>
            </a:fld>
            <a:endParaRPr lang="zh-CN" altLang="en-US" dirty="0"/>
          </a:p>
        </p:txBody>
      </p:sp>
      <p:sp>
        <p:nvSpPr>
          <p:cNvPr id="5" name="页脚占位符 4"/>
          <p:cNvSpPr>
            <a:spLocks noGrp="1"/>
          </p:cNvSpPr>
          <p:nvPr>
            <p:ph type="ftr" sz="quarter" idx="11"/>
          </p:nvPr>
        </p:nvSpPr>
        <p:spPr/>
        <p:txBody>
          <a:bodyPr/>
          <a:lstStyle>
            <a:lvl1pPr fontAlgn="base">
              <a:spcBef>
                <a:spcPct val="0"/>
              </a:spcBef>
              <a:spcAft>
                <a:spcPct val="0"/>
              </a:spcAft>
              <a:defRPr>
                <a:latin typeface="黑体" pitchFamily="49" charset="-122"/>
              </a:defRPr>
            </a:lvl1pPr>
          </a:lstStyle>
          <a:p>
            <a:pPr>
              <a:defRPr/>
            </a:pPr>
            <a:endParaRPr lang="zh-CN" altLang="en-US" dirty="0"/>
          </a:p>
        </p:txBody>
      </p:sp>
      <p:sp>
        <p:nvSpPr>
          <p:cNvPr id="6" name="灯片编号占位符 5"/>
          <p:cNvSpPr>
            <a:spLocks noGrp="1"/>
          </p:cNvSpPr>
          <p:nvPr>
            <p:ph type="sldNum" sz="quarter" idx="12"/>
          </p:nvPr>
        </p:nvSpPr>
        <p:spPr/>
        <p:txBody>
          <a:bodyPr/>
          <a:lstStyle>
            <a:lvl1pPr fontAlgn="base">
              <a:spcBef>
                <a:spcPct val="0"/>
              </a:spcBef>
              <a:spcAft>
                <a:spcPct val="0"/>
              </a:spcAft>
              <a:defRPr>
                <a:latin typeface="黑体" pitchFamily="49" charset="-122"/>
              </a:defRPr>
            </a:lvl1pPr>
          </a:lstStyle>
          <a:p>
            <a:pPr>
              <a:defRPr/>
            </a:pPr>
            <a:fld id="{D7317FAC-9A35-4327-9539-9B96984E6AB7}" type="slidenum">
              <a:rPr lang="zh-CN" altLang="en-US" smtClean="0"/>
              <a:pPr>
                <a:defRPr/>
              </a:pPr>
              <a:t>‹#›</a:t>
            </a:fld>
            <a:endParaRPr lang="zh-CN" altLang="en-US" dirty="0"/>
          </a:p>
        </p:txBody>
      </p:sp>
    </p:spTree>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sz="half" idx="1"/>
          </p:nvPr>
        </p:nvSpPr>
        <p:spPr>
          <a:xfrm>
            <a:off x="457200" y="1600201"/>
            <a:ext cx="4038600" cy="4525963"/>
          </a:xfrm>
        </p:spPr>
        <p:txBody>
          <a:bodyPr/>
          <a:lstStyle>
            <a:lvl1pPr>
              <a:defRPr sz="2800"/>
            </a:lvl1pPr>
            <a:lvl2pPr>
              <a:defRPr sz="25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内容占位符 3"/>
          <p:cNvSpPr>
            <a:spLocks noGrp="1"/>
          </p:cNvSpPr>
          <p:nvPr>
            <p:ph sz="half" idx="2"/>
          </p:nvPr>
        </p:nvSpPr>
        <p:spPr>
          <a:xfrm>
            <a:off x="4648200" y="1600201"/>
            <a:ext cx="4038600" cy="4525963"/>
          </a:xfrm>
        </p:spPr>
        <p:txBody>
          <a:bodyPr/>
          <a:lstStyle>
            <a:lvl1pPr>
              <a:defRPr sz="2800"/>
            </a:lvl1pPr>
            <a:lvl2pPr>
              <a:defRPr sz="25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日期占位符 4"/>
          <p:cNvSpPr>
            <a:spLocks noGrp="1"/>
          </p:cNvSpPr>
          <p:nvPr>
            <p:ph type="dt" sz="half" idx="10"/>
          </p:nvPr>
        </p:nvSpPr>
        <p:spPr/>
        <p:txBody>
          <a:bodyPr/>
          <a:lstStyle>
            <a:lvl1pPr fontAlgn="base">
              <a:spcBef>
                <a:spcPct val="0"/>
              </a:spcBef>
              <a:spcAft>
                <a:spcPct val="0"/>
              </a:spcAft>
              <a:defRPr>
                <a:latin typeface="黑体" pitchFamily="49" charset="-122"/>
              </a:defRPr>
            </a:lvl1pPr>
          </a:lstStyle>
          <a:p>
            <a:pPr>
              <a:defRPr/>
            </a:pPr>
            <a:fld id="{2F72B1FF-DB81-451D-8E91-B005B4284870}" type="datetimeFigureOut">
              <a:rPr lang="zh-CN" altLang="en-US" smtClean="0"/>
              <a:pPr>
                <a:defRPr/>
              </a:pPr>
              <a:t>2017/12/7</a:t>
            </a:fld>
            <a:endParaRPr lang="zh-CN" altLang="en-US" dirty="0"/>
          </a:p>
        </p:txBody>
      </p:sp>
      <p:sp>
        <p:nvSpPr>
          <p:cNvPr id="6" name="页脚占位符 5"/>
          <p:cNvSpPr>
            <a:spLocks noGrp="1"/>
          </p:cNvSpPr>
          <p:nvPr>
            <p:ph type="ftr" sz="quarter" idx="11"/>
          </p:nvPr>
        </p:nvSpPr>
        <p:spPr/>
        <p:txBody>
          <a:bodyPr/>
          <a:lstStyle>
            <a:lvl1pPr fontAlgn="base">
              <a:spcBef>
                <a:spcPct val="0"/>
              </a:spcBef>
              <a:spcAft>
                <a:spcPct val="0"/>
              </a:spcAft>
              <a:defRPr>
                <a:latin typeface="黑体" pitchFamily="49" charset="-122"/>
              </a:defRPr>
            </a:lvl1pPr>
          </a:lstStyle>
          <a:p>
            <a:pPr>
              <a:defRPr/>
            </a:pPr>
            <a:endParaRPr lang="zh-CN" altLang="en-US" dirty="0"/>
          </a:p>
        </p:txBody>
      </p:sp>
      <p:sp>
        <p:nvSpPr>
          <p:cNvPr id="7" name="灯片编号占位符 6"/>
          <p:cNvSpPr>
            <a:spLocks noGrp="1"/>
          </p:cNvSpPr>
          <p:nvPr>
            <p:ph type="sldNum" sz="quarter" idx="12"/>
          </p:nvPr>
        </p:nvSpPr>
        <p:spPr/>
        <p:txBody>
          <a:bodyPr/>
          <a:lstStyle>
            <a:lvl1pPr fontAlgn="base">
              <a:spcBef>
                <a:spcPct val="0"/>
              </a:spcBef>
              <a:spcAft>
                <a:spcPct val="0"/>
              </a:spcAft>
              <a:defRPr>
                <a:latin typeface="黑体" pitchFamily="49" charset="-122"/>
              </a:defRPr>
            </a:lvl1pPr>
          </a:lstStyle>
          <a:p>
            <a:pPr>
              <a:defRPr/>
            </a:pPr>
            <a:fld id="{3D250C24-6EB5-4199-BEE3-C5C83D3651E0}" type="slidenum">
              <a:rPr lang="zh-CN" altLang="en-US" smtClean="0"/>
              <a:pPr>
                <a:defRPr/>
              </a:pPr>
              <a:t>‹#›</a:t>
            </a:fld>
            <a:endParaRPr lang="zh-CN" altLang="en-US" dirty="0"/>
          </a:p>
        </p:txBody>
      </p:sp>
    </p:spTree>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lvl1pPr>
              <a:defRPr/>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457203" y="1535120"/>
            <a:ext cx="4040188" cy="639763"/>
          </a:xfrm>
        </p:spPr>
        <p:txBody>
          <a:bodyPr anchor="b"/>
          <a:lstStyle>
            <a:lvl1pPr marL="0" indent="0">
              <a:buNone/>
              <a:defRPr sz="2500" b="1"/>
            </a:lvl1pPr>
            <a:lvl2pPr marL="456945" indent="0">
              <a:buNone/>
              <a:defRPr sz="2000" b="1"/>
            </a:lvl2pPr>
            <a:lvl3pPr marL="913890" indent="0">
              <a:buNone/>
              <a:defRPr sz="1800" b="1"/>
            </a:lvl3pPr>
            <a:lvl4pPr marL="1370836" indent="0">
              <a:buNone/>
              <a:defRPr sz="1600" b="1"/>
            </a:lvl4pPr>
            <a:lvl5pPr marL="1827781" indent="0">
              <a:buNone/>
              <a:defRPr sz="1600" b="1"/>
            </a:lvl5pPr>
            <a:lvl6pPr marL="2284726" indent="0">
              <a:buNone/>
              <a:defRPr sz="1600" b="1"/>
            </a:lvl6pPr>
            <a:lvl7pPr marL="2741672" indent="0">
              <a:buNone/>
              <a:defRPr sz="1600" b="1"/>
            </a:lvl7pPr>
            <a:lvl8pPr marL="3198616" indent="0">
              <a:buNone/>
              <a:defRPr sz="1600" b="1"/>
            </a:lvl8pPr>
            <a:lvl9pPr marL="3655563" indent="0">
              <a:buNone/>
              <a:defRPr sz="1600" b="1"/>
            </a:lvl9pPr>
          </a:lstStyle>
          <a:p>
            <a:pPr lvl="0"/>
            <a:r>
              <a:rPr lang="zh-CN" altLang="en-US" smtClean="0"/>
              <a:t>单击此处编辑母版文本样式</a:t>
            </a:r>
          </a:p>
        </p:txBody>
      </p:sp>
      <p:sp>
        <p:nvSpPr>
          <p:cNvPr id="4" name="内容占位符 3"/>
          <p:cNvSpPr>
            <a:spLocks noGrp="1"/>
          </p:cNvSpPr>
          <p:nvPr>
            <p:ph sz="half" idx="2"/>
          </p:nvPr>
        </p:nvSpPr>
        <p:spPr>
          <a:xfrm>
            <a:off x="457203" y="2174875"/>
            <a:ext cx="4040188" cy="3951288"/>
          </a:xfrm>
        </p:spPr>
        <p:txBody>
          <a:bodyPr/>
          <a:lstStyle>
            <a:lvl1pPr>
              <a:defRPr sz="25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文本占位符 4"/>
          <p:cNvSpPr>
            <a:spLocks noGrp="1"/>
          </p:cNvSpPr>
          <p:nvPr>
            <p:ph type="body" sz="quarter" idx="3"/>
          </p:nvPr>
        </p:nvSpPr>
        <p:spPr>
          <a:xfrm>
            <a:off x="4645042" y="1535120"/>
            <a:ext cx="4041775" cy="639763"/>
          </a:xfrm>
        </p:spPr>
        <p:txBody>
          <a:bodyPr anchor="b"/>
          <a:lstStyle>
            <a:lvl1pPr marL="0" indent="0">
              <a:buNone/>
              <a:defRPr sz="2500" b="1"/>
            </a:lvl1pPr>
            <a:lvl2pPr marL="456945" indent="0">
              <a:buNone/>
              <a:defRPr sz="2000" b="1"/>
            </a:lvl2pPr>
            <a:lvl3pPr marL="913890" indent="0">
              <a:buNone/>
              <a:defRPr sz="1800" b="1"/>
            </a:lvl3pPr>
            <a:lvl4pPr marL="1370836" indent="0">
              <a:buNone/>
              <a:defRPr sz="1600" b="1"/>
            </a:lvl4pPr>
            <a:lvl5pPr marL="1827781" indent="0">
              <a:buNone/>
              <a:defRPr sz="1600" b="1"/>
            </a:lvl5pPr>
            <a:lvl6pPr marL="2284726" indent="0">
              <a:buNone/>
              <a:defRPr sz="1600" b="1"/>
            </a:lvl6pPr>
            <a:lvl7pPr marL="2741672" indent="0">
              <a:buNone/>
              <a:defRPr sz="1600" b="1"/>
            </a:lvl7pPr>
            <a:lvl8pPr marL="3198616" indent="0">
              <a:buNone/>
              <a:defRPr sz="1600" b="1"/>
            </a:lvl8pPr>
            <a:lvl9pPr marL="3655563" indent="0">
              <a:buNone/>
              <a:defRPr sz="1600" b="1"/>
            </a:lvl9pPr>
          </a:lstStyle>
          <a:p>
            <a:pPr lvl="0"/>
            <a:r>
              <a:rPr lang="zh-CN" altLang="en-US" smtClean="0"/>
              <a:t>单击此处编辑母版文本样式</a:t>
            </a:r>
          </a:p>
        </p:txBody>
      </p:sp>
      <p:sp>
        <p:nvSpPr>
          <p:cNvPr id="6" name="内容占位符 5"/>
          <p:cNvSpPr>
            <a:spLocks noGrp="1"/>
          </p:cNvSpPr>
          <p:nvPr>
            <p:ph sz="quarter" idx="4"/>
          </p:nvPr>
        </p:nvSpPr>
        <p:spPr>
          <a:xfrm>
            <a:off x="4645042" y="2174875"/>
            <a:ext cx="4041775" cy="3951288"/>
          </a:xfrm>
        </p:spPr>
        <p:txBody>
          <a:bodyPr/>
          <a:lstStyle>
            <a:lvl1pPr>
              <a:defRPr sz="25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7" name="日期占位符 6"/>
          <p:cNvSpPr>
            <a:spLocks noGrp="1"/>
          </p:cNvSpPr>
          <p:nvPr>
            <p:ph type="dt" sz="half" idx="10"/>
          </p:nvPr>
        </p:nvSpPr>
        <p:spPr/>
        <p:txBody>
          <a:bodyPr/>
          <a:lstStyle>
            <a:lvl1pPr fontAlgn="base">
              <a:spcBef>
                <a:spcPct val="0"/>
              </a:spcBef>
              <a:spcAft>
                <a:spcPct val="0"/>
              </a:spcAft>
              <a:defRPr>
                <a:latin typeface="黑体" pitchFamily="49" charset="-122"/>
              </a:defRPr>
            </a:lvl1pPr>
          </a:lstStyle>
          <a:p>
            <a:pPr>
              <a:defRPr/>
            </a:pPr>
            <a:fld id="{6BA89BD3-4B61-4FE2-948C-FA0DE97DBD70}" type="datetimeFigureOut">
              <a:rPr lang="zh-CN" altLang="en-US" smtClean="0"/>
              <a:pPr>
                <a:defRPr/>
              </a:pPr>
              <a:t>2017/12/7</a:t>
            </a:fld>
            <a:endParaRPr lang="zh-CN" altLang="en-US" dirty="0"/>
          </a:p>
        </p:txBody>
      </p:sp>
      <p:sp>
        <p:nvSpPr>
          <p:cNvPr id="8" name="页脚占位符 7"/>
          <p:cNvSpPr>
            <a:spLocks noGrp="1"/>
          </p:cNvSpPr>
          <p:nvPr>
            <p:ph type="ftr" sz="quarter" idx="11"/>
          </p:nvPr>
        </p:nvSpPr>
        <p:spPr/>
        <p:txBody>
          <a:bodyPr/>
          <a:lstStyle>
            <a:lvl1pPr fontAlgn="base">
              <a:spcBef>
                <a:spcPct val="0"/>
              </a:spcBef>
              <a:spcAft>
                <a:spcPct val="0"/>
              </a:spcAft>
              <a:defRPr>
                <a:latin typeface="黑体" pitchFamily="49" charset="-122"/>
              </a:defRPr>
            </a:lvl1pPr>
          </a:lstStyle>
          <a:p>
            <a:pPr>
              <a:defRPr/>
            </a:pPr>
            <a:endParaRPr lang="zh-CN" altLang="en-US" dirty="0"/>
          </a:p>
        </p:txBody>
      </p:sp>
      <p:sp>
        <p:nvSpPr>
          <p:cNvPr id="9" name="灯片编号占位符 8"/>
          <p:cNvSpPr>
            <a:spLocks noGrp="1"/>
          </p:cNvSpPr>
          <p:nvPr>
            <p:ph type="sldNum" sz="quarter" idx="12"/>
          </p:nvPr>
        </p:nvSpPr>
        <p:spPr/>
        <p:txBody>
          <a:bodyPr/>
          <a:lstStyle>
            <a:lvl1pPr fontAlgn="base">
              <a:spcBef>
                <a:spcPct val="0"/>
              </a:spcBef>
              <a:spcAft>
                <a:spcPct val="0"/>
              </a:spcAft>
              <a:defRPr>
                <a:latin typeface="黑体" pitchFamily="49" charset="-122"/>
              </a:defRPr>
            </a:lvl1pPr>
          </a:lstStyle>
          <a:p>
            <a:pPr>
              <a:defRPr/>
            </a:pPr>
            <a:fld id="{B29EAECB-E9DA-4A2D-A2EE-093933D8C4CA}" type="slidenum">
              <a:rPr lang="zh-CN" altLang="en-US" smtClean="0"/>
              <a:pPr>
                <a:defRPr/>
              </a:pPr>
              <a:t>‹#›</a:t>
            </a:fld>
            <a:endParaRPr lang="zh-CN" altLang="en-US" dirty="0"/>
          </a:p>
        </p:txBody>
      </p:sp>
    </p:spTree>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日期占位符 2"/>
          <p:cNvSpPr>
            <a:spLocks noGrp="1"/>
          </p:cNvSpPr>
          <p:nvPr>
            <p:ph type="dt" sz="half" idx="10"/>
          </p:nvPr>
        </p:nvSpPr>
        <p:spPr/>
        <p:txBody>
          <a:bodyPr/>
          <a:lstStyle>
            <a:lvl1pPr fontAlgn="base">
              <a:spcBef>
                <a:spcPct val="0"/>
              </a:spcBef>
              <a:spcAft>
                <a:spcPct val="0"/>
              </a:spcAft>
              <a:defRPr>
                <a:latin typeface="黑体" pitchFamily="49" charset="-122"/>
              </a:defRPr>
            </a:lvl1pPr>
          </a:lstStyle>
          <a:p>
            <a:pPr>
              <a:defRPr/>
            </a:pPr>
            <a:fld id="{E40C0B5C-746C-42A2-8A82-7D1A73FC83C2}" type="datetimeFigureOut">
              <a:rPr lang="zh-CN" altLang="en-US" smtClean="0"/>
              <a:pPr>
                <a:defRPr/>
              </a:pPr>
              <a:t>2017/12/7</a:t>
            </a:fld>
            <a:endParaRPr lang="zh-CN" altLang="en-US" dirty="0"/>
          </a:p>
        </p:txBody>
      </p:sp>
      <p:sp>
        <p:nvSpPr>
          <p:cNvPr id="4" name="页脚占位符 3"/>
          <p:cNvSpPr>
            <a:spLocks noGrp="1"/>
          </p:cNvSpPr>
          <p:nvPr>
            <p:ph type="ftr" sz="quarter" idx="11"/>
          </p:nvPr>
        </p:nvSpPr>
        <p:spPr/>
        <p:txBody>
          <a:bodyPr/>
          <a:lstStyle>
            <a:lvl1pPr fontAlgn="base">
              <a:spcBef>
                <a:spcPct val="0"/>
              </a:spcBef>
              <a:spcAft>
                <a:spcPct val="0"/>
              </a:spcAft>
              <a:defRPr>
                <a:latin typeface="黑体" pitchFamily="49" charset="-122"/>
              </a:defRPr>
            </a:lvl1pPr>
          </a:lstStyle>
          <a:p>
            <a:pPr>
              <a:defRPr/>
            </a:pPr>
            <a:endParaRPr lang="zh-CN" altLang="en-US" dirty="0"/>
          </a:p>
        </p:txBody>
      </p:sp>
      <p:sp>
        <p:nvSpPr>
          <p:cNvPr id="5" name="灯片编号占位符 4"/>
          <p:cNvSpPr>
            <a:spLocks noGrp="1"/>
          </p:cNvSpPr>
          <p:nvPr>
            <p:ph type="sldNum" sz="quarter" idx="12"/>
          </p:nvPr>
        </p:nvSpPr>
        <p:spPr/>
        <p:txBody>
          <a:bodyPr/>
          <a:lstStyle>
            <a:lvl1pPr fontAlgn="base">
              <a:spcBef>
                <a:spcPct val="0"/>
              </a:spcBef>
              <a:spcAft>
                <a:spcPct val="0"/>
              </a:spcAft>
              <a:defRPr>
                <a:latin typeface="黑体" pitchFamily="49" charset="-122"/>
              </a:defRPr>
            </a:lvl1pPr>
          </a:lstStyle>
          <a:p>
            <a:pPr>
              <a:defRPr/>
            </a:pPr>
            <a:fld id="{787444AD-CB94-4E3C-9275-5C2107EA6A56}" type="slidenum">
              <a:rPr lang="zh-CN" altLang="en-US" smtClean="0"/>
              <a:pPr>
                <a:defRPr/>
              </a:pPr>
              <a:t>‹#›</a:t>
            </a:fld>
            <a:endParaRPr lang="zh-CN" altLang="en-US" dirty="0"/>
          </a:p>
        </p:txBody>
      </p:sp>
    </p:spTree>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lvl1pPr fontAlgn="base">
              <a:spcBef>
                <a:spcPct val="0"/>
              </a:spcBef>
              <a:spcAft>
                <a:spcPct val="0"/>
              </a:spcAft>
              <a:defRPr>
                <a:latin typeface="黑体" pitchFamily="49" charset="-122"/>
              </a:defRPr>
            </a:lvl1pPr>
          </a:lstStyle>
          <a:p>
            <a:pPr>
              <a:defRPr/>
            </a:pPr>
            <a:fld id="{3B17F642-A865-42DD-8BB8-4ECD646DBDC8}" type="datetimeFigureOut">
              <a:rPr lang="zh-CN" altLang="en-US" smtClean="0"/>
              <a:pPr>
                <a:defRPr/>
              </a:pPr>
              <a:t>2017/12/7</a:t>
            </a:fld>
            <a:endParaRPr lang="zh-CN" altLang="en-US" dirty="0"/>
          </a:p>
        </p:txBody>
      </p:sp>
      <p:sp>
        <p:nvSpPr>
          <p:cNvPr id="3" name="页脚占位符 2"/>
          <p:cNvSpPr>
            <a:spLocks noGrp="1"/>
          </p:cNvSpPr>
          <p:nvPr>
            <p:ph type="ftr" sz="quarter" idx="11"/>
          </p:nvPr>
        </p:nvSpPr>
        <p:spPr/>
        <p:txBody>
          <a:bodyPr/>
          <a:lstStyle>
            <a:lvl1pPr fontAlgn="base">
              <a:spcBef>
                <a:spcPct val="0"/>
              </a:spcBef>
              <a:spcAft>
                <a:spcPct val="0"/>
              </a:spcAft>
              <a:defRPr>
                <a:latin typeface="黑体" pitchFamily="49" charset="-122"/>
              </a:defRPr>
            </a:lvl1pPr>
          </a:lstStyle>
          <a:p>
            <a:pPr>
              <a:defRPr/>
            </a:pPr>
            <a:endParaRPr lang="zh-CN" altLang="en-US" dirty="0"/>
          </a:p>
        </p:txBody>
      </p:sp>
      <p:sp>
        <p:nvSpPr>
          <p:cNvPr id="4" name="灯片编号占位符 3"/>
          <p:cNvSpPr>
            <a:spLocks noGrp="1"/>
          </p:cNvSpPr>
          <p:nvPr>
            <p:ph type="sldNum" sz="quarter" idx="12"/>
          </p:nvPr>
        </p:nvSpPr>
        <p:spPr/>
        <p:txBody>
          <a:bodyPr/>
          <a:lstStyle>
            <a:lvl1pPr fontAlgn="base">
              <a:spcBef>
                <a:spcPct val="0"/>
              </a:spcBef>
              <a:spcAft>
                <a:spcPct val="0"/>
              </a:spcAft>
              <a:defRPr>
                <a:latin typeface="黑体" pitchFamily="49" charset="-122"/>
              </a:defRPr>
            </a:lvl1pPr>
          </a:lstStyle>
          <a:p>
            <a:pPr>
              <a:defRPr/>
            </a:pPr>
            <a:fld id="{5745D7D7-7B4E-40C0-A981-686840A0FC39}" type="slidenum">
              <a:rPr lang="zh-CN" altLang="en-US" smtClean="0"/>
              <a:pPr>
                <a:defRPr/>
              </a:pPr>
              <a:t>‹#›</a:t>
            </a:fld>
            <a:endParaRPr lang="zh-CN" altLang="en-US" dirty="0"/>
          </a:p>
        </p:txBody>
      </p:sp>
    </p:spTree>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457219" y="273053"/>
            <a:ext cx="3008313" cy="1162051"/>
          </a:xfrm>
        </p:spPr>
        <p:txBody>
          <a:bodyPr anchor="b"/>
          <a:lstStyle>
            <a:lvl1pPr algn="l">
              <a:defRPr sz="2000" b="1"/>
            </a:lvl1pPr>
          </a:lstStyle>
          <a:p>
            <a:r>
              <a:rPr lang="zh-CN" altLang="en-US" smtClean="0"/>
              <a:t>单击此处编辑母版标题样式</a:t>
            </a:r>
            <a:endParaRPr lang="zh-CN" altLang="en-US"/>
          </a:p>
        </p:txBody>
      </p:sp>
      <p:sp>
        <p:nvSpPr>
          <p:cNvPr id="3" name="内容占位符 2"/>
          <p:cNvSpPr>
            <a:spLocks noGrp="1"/>
          </p:cNvSpPr>
          <p:nvPr>
            <p:ph idx="1"/>
          </p:nvPr>
        </p:nvSpPr>
        <p:spPr>
          <a:xfrm>
            <a:off x="3575050" y="273083"/>
            <a:ext cx="5111750" cy="5853115"/>
          </a:xfrm>
        </p:spPr>
        <p:txBody>
          <a:bodyPr/>
          <a:lstStyle>
            <a:lvl1pPr>
              <a:defRPr sz="3200"/>
            </a:lvl1pPr>
            <a:lvl2pPr>
              <a:defRPr sz="2800"/>
            </a:lvl2pPr>
            <a:lvl3pPr>
              <a:defRPr sz="2500"/>
            </a:lvl3pPr>
            <a:lvl4pPr>
              <a:defRPr sz="2000"/>
            </a:lvl4pPr>
            <a:lvl5pPr>
              <a:defRPr sz="2000"/>
            </a:lvl5pPr>
            <a:lvl6pPr>
              <a:defRPr sz="2000"/>
            </a:lvl6pPr>
            <a:lvl7pPr>
              <a:defRPr sz="2000"/>
            </a:lvl7pPr>
            <a:lvl8pPr>
              <a:defRPr sz="2000"/>
            </a:lvl8pPr>
            <a:lvl9pPr>
              <a:defRPr sz="20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文本占位符 3"/>
          <p:cNvSpPr>
            <a:spLocks noGrp="1"/>
          </p:cNvSpPr>
          <p:nvPr>
            <p:ph type="body" sz="half" idx="2"/>
          </p:nvPr>
        </p:nvSpPr>
        <p:spPr>
          <a:xfrm>
            <a:off x="457219" y="1435109"/>
            <a:ext cx="3008313" cy="4691063"/>
          </a:xfrm>
        </p:spPr>
        <p:txBody>
          <a:bodyPr/>
          <a:lstStyle>
            <a:lvl1pPr marL="0" indent="0">
              <a:buNone/>
              <a:defRPr sz="1400"/>
            </a:lvl1pPr>
            <a:lvl2pPr marL="456945" indent="0">
              <a:buNone/>
              <a:defRPr sz="1200"/>
            </a:lvl2pPr>
            <a:lvl3pPr marL="913890" indent="0">
              <a:buNone/>
              <a:defRPr sz="1000"/>
            </a:lvl3pPr>
            <a:lvl4pPr marL="1370836" indent="0">
              <a:buNone/>
              <a:defRPr sz="900"/>
            </a:lvl4pPr>
            <a:lvl5pPr marL="1827781" indent="0">
              <a:buNone/>
              <a:defRPr sz="900"/>
            </a:lvl5pPr>
            <a:lvl6pPr marL="2284726" indent="0">
              <a:buNone/>
              <a:defRPr sz="900"/>
            </a:lvl6pPr>
            <a:lvl7pPr marL="2741672" indent="0">
              <a:buNone/>
              <a:defRPr sz="900"/>
            </a:lvl7pPr>
            <a:lvl8pPr marL="3198616" indent="0">
              <a:buNone/>
              <a:defRPr sz="900"/>
            </a:lvl8pPr>
            <a:lvl9pPr marL="3655563" indent="0">
              <a:buNone/>
              <a:defRPr sz="900"/>
            </a:lvl9pPr>
          </a:lstStyle>
          <a:p>
            <a:pPr lvl="0"/>
            <a:r>
              <a:rPr lang="zh-CN" altLang="en-US" smtClean="0"/>
              <a:t>单击此处编辑母版文本样式</a:t>
            </a:r>
          </a:p>
        </p:txBody>
      </p:sp>
      <p:sp>
        <p:nvSpPr>
          <p:cNvPr id="5" name="日期占位符 4"/>
          <p:cNvSpPr>
            <a:spLocks noGrp="1"/>
          </p:cNvSpPr>
          <p:nvPr>
            <p:ph type="dt" sz="half" idx="10"/>
          </p:nvPr>
        </p:nvSpPr>
        <p:spPr/>
        <p:txBody>
          <a:bodyPr/>
          <a:lstStyle>
            <a:lvl1pPr fontAlgn="base">
              <a:spcBef>
                <a:spcPct val="0"/>
              </a:spcBef>
              <a:spcAft>
                <a:spcPct val="0"/>
              </a:spcAft>
              <a:defRPr>
                <a:latin typeface="黑体" pitchFamily="49" charset="-122"/>
              </a:defRPr>
            </a:lvl1pPr>
          </a:lstStyle>
          <a:p>
            <a:pPr>
              <a:defRPr/>
            </a:pPr>
            <a:fld id="{DCC30264-F1F3-4E87-B11B-E7D4C458BDC1}" type="datetimeFigureOut">
              <a:rPr lang="zh-CN" altLang="en-US" smtClean="0"/>
              <a:pPr>
                <a:defRPr/>
              </a:pPr>
              <a:t>2017/12/7</a:t>
            </a:fld>
            <a:endParaRPr lang="zh-CN" altLang="en-US" dirty="0"/>
          </a:p>
        </p:txBody>
      </p:sp>
      <p:sp>
        <p:nvSpPr>
          <p:cNvPr id="6" name="页脚占位符 5"/>
          <p:cNvSpPr>
            <a:spLocks noGrp="1"/>
          </p:cNvSpPr>
          <p:nvPr>
            <p:ph type="ftr" sz="quarter" idx="11"/>
          </p:nvPr>
        </p:nvSpPr>
        <p:spPr/>
        <p:txBody>
          <a:bodyPr/>
          <a:lstStyle>
            <a:lvl1pPr fontAlgn="base">
              <a:spcBef>
                <a:spcPct val="0"/>
              </a:spcBef>
              <a:spcAft>
                <a:spcPct val="0"/>
              </a:spcAft>
              <a:defRPr>
                <a:latin typeface="黑体" pitchFamily="49" charset="-122"/>
              </a:defRPr>
            </a:lvl1pPr>
          </a:lstStyle>
          <a:p>
            <a:pPr>
              <a:defRPr/>
            </a:pPr>
            <a:endParaRPr lang="zh-CN" altLang="en-US" dirty="0"/>
          </a:p>
        </p:txBody>
      </p:sp>
      <p:sp>
        <p:nvSpPr>
          <p:cNvPr id="7" name="灯片编号占位符 6"/>
          <p:cNvSpPr>
            <a:spLocks noGrp="1"/>
          </p:cNvSpPr>
          <p:nvPr>
            <p:ph type="sldNum" sz="quarter" idx="12"/>
          </p:nvPr>
        </p:nvSpPr>
        <p:spPr/>
        <p:txBody>
          <a:bodyPr/>
          <a:lstStyle>
            <a:lvl1pPr fontAlgn="base">
              <a:spcBef>
                <a:spcPct val="0"/>
              </a:spcBef>
              <a:spcAft>
                <a:spcPct val="0"/>
              </a:spcAft>
              <a:defRPr>
                <a:latin typeface="黑体" pitchFamily="49" charset="-122"/>
              </a:defRPr>
            </a:lvl1pPr>
          </a:lstStyle>
          <a:p>
            <a:pPr>
              <a:defRPr/>
            </a:pPr>
            <a:fld id="{9FE68535-2BE9-4629-963F-3A04EF698648}" type="slidenum">
              <a:rPr lang="zh-CN" altLang="en-US" smtClean="0"/>
              <a:pPr>
                <a:defRPr/>
              </a:pPr>
              <a:t>‹#›</a:t>
            </a:fld>
            <a:endParaRPr lang="zh-CN" altLang="en-US" dirty="0"/>
          </a:p>
        </p:txBody>
      </p:sp>
    </p:spTree>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1792288" y="4800607"/>
            <a:ext cx="5486400" cy="566739"/>
          </a:xfrm>
        </p:spPr>
        <p:txBody>
          <a:bodyPr anchor="b"/>
          <a:lstStyle>
            <a:lvl1pPr algn="l">
              <a:defRPr sz="2000" b="1"/>
            </a:lvl1pPr>
          </a:lstStyle>
          <a:p>
            <a:r>
              <a:rPr lang="zh-CN" altLang="en-US" smtClean="0"/>
              <a:t>单击此处编辑母版标题样式</a:t>
            </a:r>
            <a:endParaRPr lang="zh-CN" altLang="en-US"/>
          </a:p>
        </p:txBody>
      </p:sp>
      <p:sp>
        <p:nvSpPr>
          <p:cNvPr id="3" name="图片占位符 2"/>
          <p:cNvSpPr>
            <a:spLocks noGrp="1"/>
          </p:cNvSpPr>
          <p:nvPr>
            <p:ph type="pic" idx="1"/>
          </p:nvPr>
        </p:nvSpPr>
        <p:spPr>
          <a:xfrm>
            <a:off x="1792288" y="612775"/>
            <a:ext cx="5486400" cy="4114800"/>
          </a:xfrm>
        </p:spPr>
        <p:txBody>
          <a:bodyPr rtlCol="0">
            <a:normAutofit/>
          </a:bodyPr>
          <a:lstStyle>
            <a:lvl1pPr marL="0" indent="0">
              <a:buNone/>
              <a:defRPr sz="3200"/>
            </a:lvl1pPr>
            <a:lvl2pPr marL="456945" indent="0">
              <a:buNone/>
              <a:defRPr sz="2800"/>
            </a:lvl2pPr>
            <a:lvl3pPr marL="913890" indent="0">
              <a:buNone/>
              <a:defRPr sz="2500"/>
            </a:lvl3pPr>
            <a:lvl4pPr marL="1370836" indent="0">
              <a:buNone/>
              <a:defRPr sz="2000"/>
            </a:lvl4pPr>
            <a:lvl5pPr marL="1827781" indent="0">
              <a:buNone/>
              <a:defRPr sz="2000"/>
            </a:lvl5pPr>
            <a:lvl6pPr marL="2284726" indent="0">
              <a:buNone/>
              <a:defRPr sz="2000"/>
            </a:lvl6pPr>
            <a:lvl7pPr marL="2741672" indent="0">
              <a:buNone/>
              <a:defRPr sz="2000"/>
            </a:lvl7pPr>
            <a:lvl8pPr marL="3198616" indent="0">
              <a:buNone/>
              <a:defRPr sz="2000"/>
            </a:lvl8pPr>
            <a:lvl9pPr marL="3655563" indent="0">
              <a:buNone/>
              <a:defRPr sz="2000"/>
            </a:lvl9pPr>
          </a:lstStyle>
          <a:p>
            <a:pPr lvl="0"/>
            <a:endParaRPr lang="zh-CN" altLang="en-US" noProof="0"/>
          </a:p>
        </p:txBody>
      </p:sp>
      <p:sp>
        <p:nvSpPr>
          <p:cNvPr id="4" name="文本占位符 3"/>
          <p:cNvSpPr>
            <a:spLocks noGrp="1"/>
          </p:cNvSpPr>
          <p:nvPr>
            <p:ph type="body" sz="half" idx="2"/>
          </p:nvPr>
        </p:nvSpPr>
        <p:spPr>
          <a:xfrm>
            <a:off x="1792288" y="5367373"/>
            <a:ext cx="5486400" cy="804863"/>
          </a:xfrm>
        </p:spPr>
        <p:txBody>
          <a:bodyPr/>
          <a:lstStyle>
            <a:lvl1pPr marL="0" indent="0">
              <a:buNone/>
              <a:defRPr sz="1400"/>
            </a:lvl1pPr>
            <a:lvl2pPr marL="456945" indent="0">
              <a:buNone/>
              <a:defRPr sz="1200"/>
            </a:lvl2pPr>
            <a:lvl3pPr marL="913890" indent="0">
              <a:buNone/>
              <a:defRPr sz="1000"/>
            </a:lvl3pPr>
            <a:lvl4pPr marL="1370836" indent="0">
              <a:buNone/>
              <a:defRPr sz="900"/>
            </a:lvl4pPr>
            <a:lvl5pPr marL="1827781" indent="0">
              <a:buNone/>
              <a:defRPr sz="900"/>
            </a:lvl5pPr>
            <a:lvl6pPr marL="2284726" indent="0">
              <a:buNone/>
              <a:defRPr sz="900"/>
            </a:lvl6pPr>
            <a:lvl7pPr marL="2741672" indent="0">
              <a:buNone/>
              <a:defRPr sz="900"/>
            </a:lvl7pPr>
            <a:lvl8pPr marL="3198616" indent="0">
              <a:buNone/>
              <a:defRPr sz="900"/>
            </a:lvl8pPr>
            <a:lvl9pPr marL="3655563" indent="0">
              <a:buNone/>
              <a:defRPr sz="900"/>
            </a:lvl9pPr>
          </a:lstStyle>
          <a:p>
            <a:pPr lvl="0"/>
            <a:r>
              <a:rPr lang="zh-CN" altLang="en-US" smtClean="0"/>
              <a:t>单击此处编辑母版文本样式</a:t>
            </a:r>
          </a:p>
        </p:txBody>
      </p:sp>
      <p:sp>
        <p:nvSpPr>
          <p:cNvPr id="5" name="日期占位符 4"/>
          <p:cNvSpPr>
            <a:spLocks noGrp="1"/>
          </p:cNvSpPr>
          <p:nvPr>
            <p:ph type="dt" sz="half" idx="10"/>
          </p:nvPr>
        </p:nvSpPr>
        <p:spPr/>
        <p:txBody>
          <a:bodyPr/>
          <a:lstStyle>
            <a:lvl1pPr fontAlgn="base">
              <a:spcBef>
                <a:spcPct val="0"/>
              </a:spcBef>
              <a:spcAft>
                <a:spcPct val="0"/>
              </a:spcAft>
              <a:defRPr>
                <a:latin typeface="黑体" pitchFamily="49" charset="-122"/>
              </a:defRPr>
            </a:lvl1pPr>
          </a:lstStyle>
          <a:p>
            <a:pPr>
              <a:defRPr/>
            </a:pPr>
            <a:fld id="{9DD4377C-9D97-427F-94CC-416011C24233}" type="datetimeFigureOut">
              <a:rPr lang="zh-CN" altLang="en-US" smtClean="0"/>
              <a:pPr>
                <a:defRPr/>
              </a:pPr>
              <a:t>2017/12/7</a:t>
            </a:fld>
            <a:endParaRPr lang="zh-CN" altLang="en-US" dirty="0"/>
          </a:p>
        </p:txBody>
      </p:sp>
      <p:sp>
        <p:nvSpPr>
          <p:cNvPr id="6" name="页脚占位符 5"/>
          <p:cNvSpPr>
            <a:spLocks noGrp="1"/>
          </p:cNvSpPr>
          <p:nvPr>
            <p:ph type="ftr" sz="quarter" idx="11"/>
          </p:nvPr>
        </p:nvSpPr>
        <p:spPr/>
        <p:txBody>
          <a:bodyPr/>
          <a:lstStyle>
            <a:lvl1pPr fontAlgn="base">
              <a:spcBef>
                <a:spcPct val="0"/>
              </a:spcBef>
              <a:spcAft>
                <a:spcPct val="0"/>
              </a:spcAft>
              <a:defRPr>
                <a:latin typeface="黑体" pitchFamily="49" charset="-122"/>
              </a:defRPr>
            </a:lvl1pPr>
          </a:lstStyle>
          <a:p>
            <a:pPr>
              <a:defRPr/>
            </a:pPr>
            <a:endParaRPr lang="zh-CN" altLang="en-US" dirty="0"/>
          </a:p>
        </p:txBody>
      </p:sp>
      <p:sp>
        <p:nvSpPr>
          <p:cNvPr id="7" name="灯片编号占位符 6"/>
          <p:cNvSpPr>
            <a:spLocks noGrp="1"/>
          </p:cNvSpPr>
          <p:nvPr>
            <p:ph type="sldNum" sz="quarter" idx="12"/>
          </p:nvPr>
        </p:nvSpPr>
        <p:spPr/>
        <p:txBody>
          <a:bodyPr/>
          <a:lstStyle>
            <a:lvl1pPr fontAlgn="base">
              <a:spcBef>
                <a:spcPct val="0"/>
              </a:spcBef>
              <a:spcAft>
                <a:spcPct val="0"/>
              </a:spcAft>
              <a:defRPr>
                <a:latin typeface="黑体" pitchFamily="49" charset="-122"/>
              </a:defRPr>
            </a:lvl1pPr>
          </a:lstStyle>
          <a:p>
            <a:pPr>
              <a:defRPr/>
            </a:pPr>
            <a:fld id="{A9338EEF-2BD7-43B2-A100-BFE646868FE1}" type="slidenum">
              <a:rPr lang="zh-CN" altLang="en-US" smtClean="0"/>
              <a:pPr>
                <a:defRPr/>
              </a:pPr>
              <a:t>‹#›</a:t>
            </a:fld>
            <a:endParaRPr lang="zh-CN" altLang="en-US" dirty="0"/>
          </a:p>
        </p:txBody>
      </p:sp>
    </p:spTree>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p:txBody>
          <a:bodyPr/>
          <a:lstStyle>
            <a:lvl1pPr fontAlgn="base">
              <a:spcBef>
                <a:spcPct val="0"/>
              </a:spcBef>
              <a:spcAft>
                <a:spcPct val="0"/>
              </a:spcAft>
              <a:defRPr>
                <a:latin typeface="黑体" pitchFamily="49" charset="-122"/>
              </a:defRPr>
            </a:lvl1pPr>
          </a:lstStyle>
          <a:p>
            <a:pPr>
              <a:defRPr/>
            </a:pPr>
            <a:fld id="{95DC49A3-B15B-4B45-BD16-99F069C4D6C2}" type="datetimeFigureOut">
              <a:rPr lang="zh-CN" altLang="en-US" smtClean="0"/>
              <a:pPr>
                <a:defRPr/>
              </a:pPr>
              <a:t>2017/12/7</a:t>
            </a:fld>
            <a:endParaRPr lang="zh-CN" altLang="en-US" dirty="0"/>
          </a:p>
        </p:txBody>
      </p:sp>
      <p:sp>
        <p:nvSpPr>
          <p:cNvPr id="5" name="页脚占位符 4"/>
          <p:cNvSpPr>
            <a:spLocks noGrp="1"/>
          </p:cNvSpPr>
          <p:nvPr>
            <p:ph type="ftr" sz="quarter" idx="11"/>
          </p:nvPr>
        </p:nvSpPr>
        <p:spPr/>
        <p:txBody>
          <a:bodyPr/>
          <a:lstStyle>
            <a:lvl1pPr fontAlgn="base">
              <a:spcBef>
                <a:spcPct val="0"/>
              </a:spcBef>
              <a:spcAft>
                <a:spcPct val="0"/>
              </a:spcAft>
              <a:defRPr>
                <a:latin typeface="黑体" pitchFamily="49" charset="-122"/>
              </a:defRPr>
            </a:lvl1pPr>
          </a:lstStyle>
          <a:p>
            <a:pPr>
              <a:defRPr/>
            </a:pPr>
            <a:endParaRPr lang="zh-CN" altLang="en-US" dirty="0"/>
          </a:p>
        </p:txBody>
      </p:sp>
      <p:sp>
        <p:nvSpPr>
          <p:cNvPr id="6" name="灯片编号占位符 5"/>
          <p:cNvSpPr>
            <a:spLocks noGrp="1"/>
          </p:cNvSpPr>
          <p:nvPr>
            <p:ph type="sldNum" sz="quarter" idx="12"/>
          </p:nvPr>
        </p:nvSpPr>
        <p:spPr/>
        <p:txBody>
          <a:bodyPr/>
          <a:lstStyle>
            <a:lvl1pPr fontAlgn="base">
              <a:spcBef>
                <a:spcPct val="0"/>
              </a:spcBef>
              <a:spcAft>
                <a:spcPct val="0"/>
              </a:spcAft>
              <a:defRPr>
                <a:latin typeface="黑体" pitchFamily="49" charset="-122"/>
              </a:defRPr>
            </a:lvl1pPr>
          </a:lstStyle>
          <a:p>
            <a:pPr>
              <a:defRPr/>
            </a:pPr>
            <a:fld id="{473275F6-0946-4348-B723-EB3847B12596}" type="slidenum">
              <a:rPr lang="zh-CN" altLang="en-US" smtClean="0"/>
              <a:pPr>
                <a:defRPr/>
              </a:pPr>
              <a:t>‹#›</a:t>
            </a:fld>
            <a:endParaRPr lang="zh-CN" altLang="en-US" dirty="0"/>
          </a:p>
        </p:txBody>
      </p:sp>
    </p:spTree>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vertTitleAndTx" preserve="1">
  <p:cSld name="垂直排列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6629400" y="274642"/>
            <a:ext cx="2057400" cy="5851524"/>
          </a:xfrm>
        </p:spPr>
        <p:txBody>
          <a:bodyPr vert="eaVert"/>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a:xfrm>
            <a:off x="457200" y="274642"/>
            <a:ext cx="6019800" cy="5851524"/>
          </a:xfrm>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p:txBody>
          <a:bodyPr/>
          <a:lstStyle>
            <a:lvl1pPr fontAlgn="base">
              <a:spcBef>
                <a:spcPct val="0"/>
              </a:spcBef>
              <a:spcAft>
                <a:spcPct val="0"/>
              </a:spcAft>
              <a:defRPr>
                <a:latin typeface="黑体" pitchFamily="49" charset="-122"/>
              </a:defRPr>
            </a:lvl1pPr>
          </a:lstStyle>
          <a:p>
            <a:pPr>
              <a:defRPr/>
            </a:pPr>
            <a:fld id="{0524A00F-4D92-41A2-A58B-31DE523E0B17}" type="datetimeFigureOut">
              <a:rPr lang="zh-CN" altLang="en-US" smtClean="0"/>
              <a:pPr>
                <a:defRPr/>
              </a:pPr>
              <a:t>2017/12/7</a:t>
            </a:fld>
            <a:endParaRPr lang="zh-CN" altLang="en-US" dirty="0"/>
          </a:p>
        </p:txBody>
      </p:sp>
      <p:sp>
        <p:nvSpPr>
          <p:cNvPr id="5" name="页脚占位符 4"/>
          <p:cNvSpPr>
            <a:spLocks noGrp="1"/>
          </p:cNvSpPr>
          <p:nvPr>
            <p:ph type="ftr" sz="quarter" idx="11"/>
          </p:nvPr>
        </p:nvSpPr>
        <p:spPr/>
        <p:txBody>
          <a:bodyPr/>
          <a:lstStyle>
            <a:lvl1pPr fontAlgn="base">
              <a:spcBef>
                <a:spcPct val="0"/>
              </a:spcBef>
              <a:spcAft>
                <a:spcPct val="0"/>
              </a:spcAft>
              <a:defRPr>
                <a:latin typeface="黑体" pitchFamily="49" charset="-122"/>
              </a:defRPr>
            </a:lvl1pPr>
          </a:lstStyle>
          <a:p>
            <a:pPr>
              <a:defRPr/>
            </a:pPr>
            <a:endParaRPr lang="zh-CN" altLang="en-US" dirty="0"/>
          </a:p>
        </p:txBody>
      </p:sp>
      <p:sp>
        <p:nvSpPr>
          <p:cNvPr id="6" name="灯片编号占位符 5"/>
          <p:cNvSpPr>
            <a:spLocks noGrp="1"/>
          </p:cNvSpPr>
          <p:nvPr>
            <p:ph type="sldNum" sz="quarter" idx="12"/>
          </p:nvPr>
        </p:nvSpPr>
        <p:spPr/>
        <p:txBody>
          <a:bodyPr/>
          <a:lstStyle>
            <a:lvl1pPr fontAlgn="base">
              <a:spcBef>
                <a:spcPct val="0"/>
              </a:spcBef>
              <a:spcAft>
                <a:spcPct val="0"/>
              </a:spcAft>
              <a:defRPr>
                <a:latin typeface="黑体" pitchFamily="49" charset="-122"/>
              </a:defRPr>
            </a:lvl1pPr>
          </a:lstStyle>
          <a:p>
            <a:pPr>
              <a:defRPr/>
            </a:pPr>
            <a:fld id="{A8E791B5-801F-4D21-88B4-237CE74F7283}" type="slidenum">
              <a:rPr lang="zh-CN" altLang="en-US" smtClean="0"/>
              <a:pPr>
                <a:defRPr/>
              </a:pPr>
              <a:t>‹#›</a:t>
            </a:fld>
            <a:endParaRPr lang="zh-CN" altLang="en-US" dirty="0"/>
          </a:p>
        </p:txBody>
      </p:sp>
    </p:spTree>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1_标题和内容">
    <p:spTree>
      <p:nvGrpSpPr>
        <p:cNvPr id="1" name=""/>
        <p:cNvGrpSpPr/>
        <p:nvPr/>
      </p:nvGrpSpPr>
      <p:grpSpPr>
        <a:xfrm>
          <a:off x="0" y="0"/>
          <a:ext cx="0" cy="0"/>
          <a:chOff x="0" y="0"/>
          <a:chExt cx="0" cy="0"/>
        </a:xfrm>
      </p:grpSpPr>
      <p:pic>
        <p:nvPicPr>
          <p:cNvPr id="2" name="图片 6" descr="3-1.png"/>
          <p:cNvPicPr>
            <a:picLocks noChangeAspect="1"/>
          </p:cNvPicPr>
          <p:nvPr userDrawn="1"/>
        </p:nvPicPr>
        <p:blipFill>
          <a:blip r:embed="rId2" cstate="print"/>
          <a:srcRect/>
          <a:stretch>
            <a:fillRect/>
          </a:stretch>
        </p:blipFill>
        <p:spPr bwMode="auto">
          <a:xfrm>
            <a:off x="1588" y="0"/>
            <a:ext cx="9140825" cy="6858000"/>
          </a:xfrm>
          <a:prstGeom prst="rect">
            <a:avLst/>
          </a:prstGeom>
          <a:noFill/>
          <a:ln w="9525">
            <a:noFill/>
            <a:miter lim="800000"/>
            <a:headEnd/>
            <a:tailEnd/>
          </a:ln>
        </p:spPr>
      </p:pic>
      <p:pic>
        <p:nvPicPr>
          <p:cNvPr id="3" name="图片 7" descr="3-2.png"/>
          <p:cNvPicPr>
            <a:picLocks/>
          </p:cNvPicPr>
          <p:nvPr userDrawn="1"/>
        </p:nvPicPr>
        <p:blipFill>
          <a:blip r:embed="rId3" cstate="print"/>
          <a:srcRect/>
          <a:stretch>
            <a:fillRect/>
          </a:stretch>
        </p:blipFill>
        <p:spPr bwMode="auto">
          <a:xfrm>
            <a:off x="1588" y="80963"/>
            <a:ext cx="9140825" cy="6588125"/>
          </a:xfrm>
          <a:prstGeom prst="rect">
            <a:avLst/>
          </a:prstGeom>
          <a:noFill/>
          <a:ln w="9525">
            <a:noFill/>
            <a:miter lim="800000"/>
            <a:headEnd/>
            <a:tailEnd/>
          </a:ln>
        </p:spPr>
      </p:pic>
      <p:pic>
        <p:nvPicPr>
          <p:cNvPr id="4" name="图片 8" descr="master03_image003.png"/>
          <p:cNvPicPr>
            <a:picLocks noChangeAspect="1"/>
          </p:cNvPicPr>
          <p:nvPr userDrawn="1"/>
        </p:nvPicPr>
        <p:blipFill>
          <a:blip r:embed="rId4" cstate="print"/>
          <a:srcRect/>
          <a:stretch>
            <a:fillRect/>
          </a:stretch>
        </p:blipFill>
        <p:spPr bwMode="auto">
          <a:xfrm>
            <a:off x="-36513" y="71438"/>
            <a:ext cx="1922463" cy="1341437"/>
          </a:xfrm>
          <a:prstGeom prst="rect">
            <a:avLst/>
          </a:prstGeom>
          <a:noFill/>
          <a:ln w="9525">
            <a:noFill/>
            <a:miter lim="800000"/>
            <a:headEnd/>
            <a:tailEnd/>
          </a:ln>
        </p:spPr>
      </p:pic>
      <p:pic>
        <p:nvPicPr>
          <p:cNvPr id="5" name="图片 9" descr="slide0001_image013.png"/>
          <p:cNvPicPr>
            <a:picLocks noChangeAspect="1"/>
          </p:cNvPicPr>
          <p:nvPr userDrawn="1"/>
        </p:nvPicPr>
        <p:blipFill>
          <a:blip r:embed="rId5" cstate="print"/>
          <a:srcRect/>
          <a:stretch>
            <a:fillRect/>
          </a:stretch>
        </p:blipFill>
        <p:spPr bwMode="auto">
          <a:xfrm>
            <a:off x="4572000" y="4292600"/>
            <a:ext cx="4608513" cy="2592388"/>
          </a:xfrm>
          <a:prstGeom prst="rect">
            <a:avLst/>
          </a:prstGeom>
          <a:noFill/>
          <a:ln w="9525">
            <a:noFill/>
            <a:miter lim="800000"/>
            <a:headEnd/>
            <a:tailEnd/>
          </a:ln>
        </p:spPr>
      </p:pic>
      <p:pic>
        <p:nvPicPr>
          <p:cNvPr id="6" name="图片 10" descr="杂志社logo带新网址（一点红）_副本.jpg"/>
          <p:cNvPicPr>
            <a:picLocks noChangeAspect="1"/>
          </p:cNvPicPr>
          <p:nvPr userDrawn="1"/>
        </p:nvPicPr>
        <p:blipFill>
          <a:blip r:embed="rId6" cstate="print">
            <a:clrChange>
              <a:clrFrom>
                <a:srgbClr val="FFFFFF"/>
              </a:clrFrom>
              <a:clrTo>
                <a:srgbClr val="FFFFFF">
                  <a:alpha val="0"/>
                </a:srgbClr>
              </a:clrTo>
            </a:clrChange>
          </a:blip>
          <a:srcRect/>
          <a:stretch>
            <a:fillRect/>
          </a:stretch>
        </p:blipFill>
        <p:spPr bwMode="auto">
          <a:xfrm>
            <a:off x="144463" y="6276975"/>
            <a:ext cx="2232025" cy="457200"/>
          </a:xfrm>
          <a:prstGeom prst="rect">
            <a:avLst/>
          </a:prstGeom>
          <a:noFill/>
          <a:ln w="9525">
            <a:noFill/>
            <a:miter lim="800000"/>
            <a:headEnd/>
            <a:tailEnd/>
          </a:ln>
        </p:spPr>
      </p:pic>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lvl1pPr>
              <a:defRPr/>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4" name="内容占位符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文本占位符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6" name="内容占位符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7" name="日期占位符 6"/>
          <p:cNvSpPr>
            <a:spLocks noGrp="1"/>
          </p:cNvSpPr>
          <p:nvPr>
            <p:ph type="dt" sz="half" idx="10"/>
          </p:nvPr>
        </p:nvSpPr>
        <p:spPr/>
        <p:txBody>
          <a:bodyPr/>
          <a:lstStyle/>
          <a:p>
            <a:fld id="{530820CF-B880-4189-942D-D702A7CBA730}" type="datetimeFigureOut">
              <a:rPr lang="zh-CN" altLang="en-US" smtClean="0"/>
              <a:pPr/>
              <a:t>2017/12/7</a:t>
            </a:fld>
            <a:endParaRPr lang="zh-CN" altLang="en-US"/>
          </a:p>
        </p:txBody>
      </p:sp>
      <p:sp>
        <p:nvSpPr>
          <p:cNvPr id="8" name="页脚占位符 7"/>
          <p:cNvSpPr>
            <a:spLocks noGrp="1"/>
          </p:cNvSpPr>
          <p:nvPr>
            <p:ph type="ftr" sz="quarter" idx="11"/>
          </p:nvPr>
        </p:nvSpPr>
        <p:spPr/>
        <p:txBody>
          <a:bodyPr/>
          <a:lstStyle/>
          <a:p>
            <a:endParaRPr lang="zh-CN" altLang="en-US"/>
          </a:p>
        </p:txBody>
      </p:sp>
      <p:sp>
        <p:nvSpPr>
          <p:cNvPr id="9" name="灯片编号占位符 8"/>
          <p:cNvSpPr>
            <a:spLocks noGrp="1"/>
          </p:cNvSpPr>
          <p:nvPr>
            <p:ph type="sldNum" sz="quarter" idx="12"/>
          </p:nvPr>
        </p:nvSpPr>
        <p:spPr/>
        <p:txBody>
          <a:bodyPr/>
          <a:lstStyle/>
          <a:p>
            <a:fld id="{0C913308-F349-4B6D-A68A-DD1791B4A57B}" type="slidenum">
              <a:rPr lang="zh-CN" altLang="en-US" smtClean="0"/>
              <a:pPr/>
              <a:t>‹#›</a:t>
            </a:fld>
            <a:endParaRPr lang="zh-CN" altLang="en-US"/>
          </a:p>
        </p:txBody>
      </p:sp>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6_标题和内容">
    <p:spTree>
      <p:nvGrpSpPr>
        <p:cNvPr id="1" name=""/>
        <p:cNvGrpSpPr/>
        <p:nvPr/>
      </p:nvGrpSpPr>
      <p:grpSpPr>
        <a:xfrm>
          <a:off x="0" y="0"/>
          <a:ext cx="0" cy="0"/>
          <a:chOff x="0" y="0"/>
          <a:chExt cx="0" cy="0"/>
        </a:xfrm>
      </p:grpSpPr>
      <p:pic>
        <p:nvPicPr>
          <p:cNvPr id="2" name="图片 6" descr="3-1.png"/>
          <p:cNvPicPr>
            <a:picLocks noChangeAspect="1"/>
          </p:cNvPicPr>
          <p:nvPr userDrawn="1"/>
        </p:nvPicPr>
        <p:blipFill>
          <a:blip r:embed="rId2" cstate="print"/>
          <a:srcRect/>
          <a:stretch>
            <a:fillRect/>
          </a:stretch>
        </p:blipFill>
        <p:spPr bwMode="auto">
          <a:xfrm>
            <a:off x="1588" y="0"/>
            <a:ext cx="9140825" cy="6858000"/>
          </a:xfrm>
          <a:prstGeom prst="rect">
            <a:avLst/>
          </a:prstGeom>
          <a:noFill/>
          <a:ln w="9525">
            <a:noFill/>
            <a:miter lim="800000"/>
            <a:headEnd/>
            <a:tailEnd/>
          </a:ln>
        </p:spPr>
      </p:pic>
      <p:pic>
        <p:nvPicPr>
          <p:cNvPr id="3" name="图片 7" descr="3-2.png"/>
          <p:cNvPicPr>
            <a:picLocks noChangeAspect="1"/>
          </p:cNvPicPr>
          <p:nvPr userDrawn="1"/>
        </p:nvPicPr>
        <p:blipFill>
          <a:blip r:embed="rId3" cstate="print"/>
          <a:srcRect/>
          <a:stretch>
            <a:fillRect/>
          </a:stretch>
        </p:blipFill>
        <p:spPr bwMode="auto">
          <a:xfrm>
            <a:off x="1588" y="-171450"/>
            <a:ext cx="9140825" cy="6985000"/>
          </a:xfrm>
          <a:prstGeom prst="rect">
            <a:avLst/>
          </a:prstGeom>
          <a:noFill/>
          <a:ln w="9525">
            <a:noFill/>
            <a:miter lim="800000"/>
            <a:headEnd/>
            <a:tailEnd/>
          </a:ln>
        </p:spPr>
      </p:pic>
      <p:pic>
        <p:nvPicPr>
          <p:cNvPr id="4" name="图片 8" descr="slide0001_image013.png"/>
          <p:cNvPicPr>
            <a:picLocks noChangeAspect="1"/>
          </p:cNvPicPr>
          <p:nvPr userDrawn="1"/>
        </p:nvPicPr>
        <p:blipFill>
          <a:blip r:embed="rId4" cstate="print"/>
          <a:srcRect/>
          <a:stretch>
            <a:fillRect/>
          </a:stretch>
        </p:blipFill>
        <p:spPr bwMode="auto">
          <a:xfrm>
            <a:off x="4572000" y="4292600"/>
            <a:ext cx="4608513" cy="2592388"/>
          </a:xfrm>
          <a:prstGeom prst="rect">
            <a:avLst/>
          </a:prstGeom>
          <a:noFill/>
          <a:ln w="9525">
            <a:noFill/>
            <a:miter lim="800000"/>
            <a:headEnd/>
            <a:tailEnd/>
          </a:ln>
        </p:spPr>
      </p:pic>
      <p:pic>
        <p:nvPicPr>
          <p:cNvPr id="5" name="图片 9" descr="杂志社logo带新网址（一点红）_副本.jpg"/>
          <p:cNvPicPr>
            <a:picLocks/>
          </p:cNvPicPr>
          <p:nvPr userDrawn="1"/>
        </p:nvPicPr>
        <p:blipFill>
          <a:blip r:embed="rId5" cstate="print">
            <a:clrChange>
              <a:clrFrom>
                <a:srgbClr val="FFFFFF"/>
              </a:clrFrom>
              <a:clrTo>
                <a:srgbClr val="FFFFFF">
                  <a:alpha val="0"/>
                </a:srgbClr>
              </a:clrTo>
            </a:clrChange>
          </a:blip>
          <a:srcRect/>
          <a:stretch>
            <a:fillRect/>
          </a:stretch>
        </p:blipFill>
        <p:spPr bwMode="auto">
          <a:xfrm>
            <a:off x="179388" y="6381750"/>
            <a:ext cx="2232025" cy="431800"/>
          </a:xfrm>
          <a:prstGeom prst="rect">
            <a:avLst/>
          </a:prstGeom>
          <a:noFill/>
          <a:ln w="9525">
            <a:noFill/>
            <a:miter lim="800000"/>
            <a:headEnd/>
            <a:tailEnd/>
          </a:ln>
        </p:spPr>
      </p:pic>
    </p:spTree>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5_标题和内容">
    <p:spTree>
      <p:nvGrpSpPr>
        <p:cNvPr id="1" name=""/>
        <p:cNvGrpSpPr/>
        <p:nvPr/>
      </p:nvGrpSpPr>
      <p:grpSpPr>
        <a:xfrm>
          <a:off x="0" y="0"/>
          <a:ext cx="0" cy="0"/>
          <a:chOff x="0" y="0"/>
          <a:chExt cx="0" cy="0"/>
        </a:xfrm>
      </p:grpSpPr>
      <p:pic>
        <p:nvPicPr>
          <p:cNvPr id="2" name="图片 6" descr="3-1.png"/>
          <p:cNvPicPr>
            <a:picLocks noChangeAspect="1"/>
          </p:cNvPicPr>
          <p:nvPr userDrawn="1"/>
        </p:nvPicPr>
        <p:blipFill>
          <a:blip r:embed="rId2" cstate="print"/>
          <a:srcRect/>
          <a:stretch>
            <a:fillRect/>
          </a:stretch>
        </p:blipFill>
        <p:spPr bwMode="auto">
          <a:xfrm>
            <a:off x="1588" y="0"/>
            <a:ext cx="9140825" cy="6858000"/>
          </a:xfrm>
          <a:prstGeom prst="rect">
            <a:avLst/>
          </a:prstGeom>
          <a:noFill/>
          <a:ln w="9525">
            <a:noFill/>
            <a:miter lim="800000"/>
            <a:headEnd/>
            <a:tailEnd/>
          </a:ln>
        </p:spPr>
      </p:pic>
      <p:pic>
        <p:nvPicPr>
          <p:cNvPr id="3" name="图片 7" descr="3-2.png"/>
          <p:cNvPicPr>
            <a:picLocks noChangeAspect="1"/>
          </p:cNvPicPr>
          <p:nvPr userDrawn="1"/>
        </p:nvPicPr>
        <p:blipFill>
          <a:blip r:embed="rId3" cstate="print"/>
          <a:srcRect/>
          <a:stretch>
            <a:fillRect/>
          </a:stretch>
        </p:blipFill>
        <p:spPr bwMode="auto">
          <a:xfrm>
            <a:off x="1588" y="-171450"/>
            <a:ext cx="9140825" cy="6985000"/>
          </a:xfrm>
          <a:prstGeom prst="rect">
            <a:avLst/>
          </a:prstGeom>
          <a:noFill/>
          <a:ln w="9525">
            <a:noFill/>
            <a:miter lim="800000"/>
            <a:headEnd/>
            <a:tailEnd/>
          </a:ln>
        </p:spPr>
      </p:pic>
      <p:pic>
        <p:nvPicPr>
          <p:cNvPr id="4" name="图片 8" descr="master03_image003.png"/>
          <p:cNvPicPr>
            <a:picLocks noChangeAspect="1"/>
          </p:cNvPicPr>
          <p:nvPr userDrawn="1"/>
        </p:nvPicPr>
        <p:blipFill>
          <a:blip r:embed="rId4" cstate="print"/>
          <a:srcRect/>
          <a:stretch>
            <a:fillRect/>
          </a:stretch>
        </p:blipFill>
        <p:spPr bwMode="auto">
          <a:xfrm>
            <a:off x="204788" y="71438"/>
            <a:ext cx="1439862" cy="1341437"/>
          </a:xfrm>
          <a:prstGeom prst="rect">
            <a:avLst/>
          </a:prstGeom>
          <a:noFill/>
          <a:ln w="9525">
            <a:noFill/>
            <a:miter lim="800000"/>
            <a:headEnd/>
            <a:tailEnd/>
          </a:ln>
        </p:spPr>
      </p:pic>
      <p:pic>
        <p:nvPicPr>
          <p:cNvPr id="5" name="图片 9" descr="slide0001_image013.png"/>
          <p:cNvPicPr>
            <a:picLocks noChangeAspect="1"/>
          </p:cNvPicPr>
          <p:nvPr userDrawn="1"/>
        </p:nvPicPr>
        <p:blipFill>
          <a:blip r:embed="rId5" cstate="print"/>
          <a:srcRect/>
          <a:stretch>
            <a:fillRect/>
          </a:stretch>
        </p:blipFill>
        <p:spPr bwMode="auto">
          <a:xfrm>
            <a:off x="4572000" y="4292600"/>
            <a:ext cx="4608513" cy="2592388"/>
          </a:xfrm>
          <a:prstGeom prst="rect">
            <a:avLst/>
          </a:prstGeom>
          <a:noFill/>
          <a:ln w="9525">
            <a:noFill/>
            <a:miter lim="800000"/>
            <a:headEnd/>
            <a:tailEnd/>
          </a:ln>
        </p:spPr>
      </p:pic>
      <p:pic>
        <p:nvPicPr>
          <p:cNvPr id="6" name="图片 10" descr="杂志社logo带新网址（一点红）_副本.jpg"/>
          <p:cNvPicPr>
            <a:picLocks noChangeAspect="1"/>
          </p:cNvPicPr>
          <p:nvPr userDrawn="1"/>
        </p:nvPicPr>
        <p:blipFill>
          <a:blip r:embed="rId6" cstate="print">
            <a:clrChange>
              <a:clrFrom>
                <a:srgbClr val="FFFFFF"/>
              </a:clrFrom>
              <a:clrTo>
                <a:srgbClr val="FFFFFF">
                  <a:alpha val="0"/>
                </a:srgbClr>
              </a:clrTo>
            </a:clrChange>
          </a:blip>
          <a:srcRect/>
          <a:stretch>
            <a:fillRect/>
          </a:stretch>
        </p:blipFill>
        <p:spPr bwMode="auto">
          <a:xfrm>
            <a:off x="71438" y="6381750"/>
            <a:ext cx="2268537" cy="463550"/>
          </a:xfrm>
          <a:prstGeom prst="rect">
            <a:avLst/>
          </a:prstGeom>
          <a:noFill/>
          <a:ln w="9525">
            <a:noFill/>
            <a:miter lim="800000"/>
            <a:headEnd/>
            <a:tailEnd/>
          </a:ln>
        </p:spPr>
      </p:pic>
    </p:spTree>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2_标题和内容">
    <p:spTree>
      <p:nvGrpSpPr>
        <p:cNvPr id="1" name=""/>
        <p:cNvGrpSpPr/>
        <p:nvPr/>
      </p:nvGrpSpPr>
      <p:grpSpPr>
        <a:xfrm>
          <a:off x="0" y="0"/>
          <a:ext cx="0" cy="0"/>
          <a:chOff x="0" y="0"/>
          <a:chExt cx="0" cy="0"/>
        </a:xfrm>
      </p:grpSpPr>
      <p:pic>
        <p:nvPicPr>
          <p:cNvPr id="2" name="图片 6" descr="3-1.png"/>
          <p:cNvPicPr>
            <a:picLocks noChangeAspect="1"/>
          </p:cNvPicPr>
          <p:nvPr userDrawn="1"/>
        </p:nvPicPr>
        <p:blipFill>
          <a:blip r:embed="rId2" cstate="print"/>
          <a:srcRect/>
          <a:stretch>
            <a:fillRect/>
          </a:stretch>
        </p:blipFill>
        <p:spPr bwMode="auto">
          <a:xfrm>
            <a:off x="1588" y="0"/>
            <a:ext cx="9140825" cy="6858000"/>
          </a:xfrm>
          <a:prstGeom prst="rect">
            <a:avLst/>
          </a:prstGeom>
          <a:noFill/>
          <a:ln w="9525">
            <a:noFill/>
            <a:miter lim="800000"/>
            <a:headEnd/>
            <a:tailEnd/>
          </a:ln>
        </p:spPr>
      </p:pic>
      <p:pic>
        <p:nvPicPr>
          <p:cNvPr id="3" name="图片 7" descr="3-2.png"/>
          <p:cNvPicPr>
            <a:picLocks noChangeAspect="1"/>
          </p:cNvPicPr>
          <p:nvPr userDrawn="1"/>
        </p:nvPicPr>
        <p:blipFill>
          <a:blip r:embed="rId3" cstate="print"/>
          <a:srcRect/>
          <a:stretch>
            <a:fillRect/>
          </a:stretch>
        </p:blipFill>
        <p:spPr bwMode="auto">
          <a:xfrm>
            <a:off x="1588" y="0"/>
            <a:ext cx="9140825" cy="6858000"/>
          </a:xfrm>
          <a:prstGeom prst="rect">
            <a:avLst/>
          </a:prstGeom>
          <a:noFill/>
          <a:ln w="9525">
            <a:noFill/>
            <a:miter lim="800000"/>
            <a:headEnd/>
            <a:tailEnd/>
          </a:ln>
        </p:spPr>
      </p:pic>
      <p:pic>
        <p:nvPicPr>
          <p:cNvPr id="4" name="图片 8" descr="slide0001_image013.png"/>
          <p:cNvPicPr>
            <a:picLocks noChangeAspect="1"/>
          </p:cNvPicPr>
          <p:nvPr userDrawn="1"/>
        </p:nvPicPr>
        <p:blipFill>
          <a:blip r:embed="rId4" cstate="print"/>
          <a:srcRect/>
          <a:stretch>
            <a:fillRect/>
          </a:stretch>
        </p:blipFill>
        <p:spPr bwMode="auto">
          <a:xfrm>
            <a:off x="4702175" y="4365625"/>
            <a:ext cx="4478338" cy="2519363"/>
          </a:xfrm>
          <a:prstGeom prst="rect">
            <a:avLst/>
          </a:prstGeom>
          <a:noFill/>
          <a:ln w="9525">
            <a:noFill/>
            <a:miter lim="800000"/>
            <a:headEnd/>
            <a:tailEnd/>
          </a:ln>
        </p:spPr>
      </p:pic>
      <p:pic>
        <p:nvPicPr>
          <p:cNvPr id="5" name="图片 9" descr="杂志社logo带新网址（一点红）_副本.jpg"/>
          <p:cNvPicPr>
            <a:picLocks noChangeAspect="1"/>
          </p:cNvPicPr>
          <p:nvPr userDrawn="1"/>
        </p:nvPicPr>
        <p:blipFill>
          <a:blip r:embed="rId5" cstate="print">
            <a:clrChange>
              <a:clrFrom>
                <a:srgbClr val="FFFFFF"/>
              </a:clrFrom>
              <a:clrTo>
                <a:srgbClr val="FFFFFF">
                  <a:alpha val="0"/>
                </a:srgbClr>
              </a:clrTo>
            </a:clrChange>
          </a:blip>
          <a:srcRect/>
          <a:stretch>
            <a:fillRect/>
          </a:stretch>
        </p:blipFill>
        <p:spPr bwMode="auto">
          <a:xfrm>
            <a:off x="0" y="6421438"/>
            <a:ext cx="2268538" cy="463550"/>
          </a:xfrm>
          <a:prstGeom prst="rect">
            <a:avLst/>
          </a:prstGeom>
          <a:noFill/>
          <a:ln w="9525">
            <a:noFill/>
            <a:miter lim="800000"/>
            <a:headEnd/>
            <a:tailEnd/>
          </a:ln>
        </p:spPr>
      </p:pic>
      <p:pic>
        <p:nvPicPr>
          <p:cNvPr id="6" name="图片 10" descr="master15_image005.png"/>
          <p:cNvPicPr>
            <a:picLocks noChangeAspect="1"/>
          </p:cNvPicPr>
          <p:nvPr userDrawn="1"/>
        </p:nvPicPr>
        <p:blipFill>
          <a:blip r:embed="rId6" cstate="print"/>
          <a:srcRect/>
          <a:stretch>
            <a:fillRect/>
          </a:stretch>
        </p:blipFill>
        <p:spPr bwMode="auto">
          <a:xfrm>
            <a:off x="179388" y="-26988"/>
            <a:ext cx="1778000" cy="1655763"/>
          </a:xfrm>
          <a:prstGeom prst="rect">
            <a:avLst/>
          </a:prstGeom>
          <a:noFill/>
          <a:ln w="9525">
            <a:noFill/>
            <a:miter lim="800000"/>
            <a:headEnd/>
            <a:tailEnd/>
          </a:ln>
        </p:spPr>
      </p:pic>
    </p:spTree>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4_标题和内容">
    <p:spTree>
      <p:nvGrpSpPr>
        <p:cNvPr id="1" name=""/>
        <p:cNvGrpSpPr/>
        <p:nvPr/>
      </p:nvGrpSpPr>
      <p:grpSpPr>
        <a:xfrm>
          <a:off x="0" y="0"/>
          <a:ext cx="0" cy="0"/>
          <a:chOff x="0" y="0"/>
          <a:chExt cx="0" cy="0"/>
        </a:xfrm>
      </p:grpSpPr>
      <p:pic>
        <p:nvPicPr>
          <p:cNvPr id="2" name="图片 6" descr="3-1.png"/>
          <p:cNvPicPr>
            <a:picLocks noChangeAspect="1"/>
          </p:cNvPicPr>
          <p:nvPr userDrawn="1"/>
        </p:nvPicPr>
        <p:blipFill>
          <a:blip r:embed="rId2" cstate="print"/>
          <a:srcRect/>
          <a:stretch>
            <a:fillRect/>
          </a:stretch>
        </p:blipFill>
        <p:spPr bwMode="auto">
          <a:xfrm>
            <a:off x="1588" y="0"/>
            <a:ext cx="9140825" cy="6858000"/>
          </a:xfrm>
          <a:prstGeom prst="rect">
            <a:avLst/>
          </a:prstGeom>
          <a:noFill/>
          <a:ln w="9525">
            <a:noFill/>
            <a:miter lim="800000"/>
            <a:headEnd/>
            <a:tailEnd/>
          </a:ln>
        </p:spPr>
      </p:pic>
      <p:pic>
        <p:nvPicPr>
          <p:cNvPr id="3" name="图片 7" descr="3-2.png"/>
          <p:cNvPicPr>
            <a:picLocks/>
          </p:cNvPicPr>
          <p:nvPr userDrawn="1"/>
        </p:nvPicPr>
        <p:blipFill>
          <a:blip r:embed="rId3" cstate="print"/>
          <a:srcRect/>
          <a:stretch>
            <a:fillRect/>
          </a:stretch>
        </p:blipFill>
        <p:spPr bwMode="auto">
          <a:xfrm>
            <a:off x="1588" y="0"/>
            <a:ext cx="9140825" cy="6732588"/>
          </a:xfrm>
          <a:prstGeom prst="rect">
            <a:avLst/>
          </a:prstGeom>
          <a:noFill/>
          <a:ln w="9525">
            <a:noFill/>
            <a:miter lim="800000"/>
            <a:headEnd/>
            <a:tailEnd/>
          </a:ln>
        </p:spPr>
      </p:pic>
      <p:pic>
        <p:nvPicPr>
          <p:cNvPr id="4" name="图片 8" descr="slide0001_image013.png"/>
          <p:cNvPicPr>
            <a:picLocks noChangeAspect="1"/>
          </p:cNvPicPr>
          <p:nvPr userDrawn="1"/>
        </p:nvPicPr>
        <p:blipFill>
          <a:blip r:embed="rId4" cstate="print"/>
          <a:srcRect/>
          <a:stretch>
            <a:fillRect/>
          </a:stretch>
        </p:blipFill>
        <p:spPr bwMode="auto">
          <a:xfrm>
            <a:off x="4702175" y="4365625"/>
            <a:ext cx="4478338" cy="2519363"/>
          </a:xfrm>
          <a:prstGeom prst="rect">
            <a:avLst/>
          </a:prstGeom>
          <a:noFill/>
          <a:ln w="9525">
            <a:noFill/>
            <a:miter lim="800000"/>
            <a:headEnd/>
            <a:tailEnd/>
          </a:ln>
        </p:spPr>
      </p:pic>
      <p:pic>
        <p:nvPicPr>
          <p:cNvPr id="5" name="图片 9" descr="杂志社logo带新网址（一点红）_副本.jpg"/>
          <p:cNvPicPr>
            <a:picLocks/>
          </p:cNvPicPr>
          <p:nvPr userDrawn="1"/>
        </p:nvPicPr>
        <p:blipFill>
          <a:blip r:embed="rId5" cstate="print">
            <a:clrChange>
              <a:clrFrom>
                <a:srgbClr val="FFFFFF"/>
              </a:clrFrom>
              <a:clrTo>
                <a:srgbClr val="FFFFFF">
                  <a:alpha val="0"/>
                </a:srgbClr>
              </a:clrTo>
            </a:clrChange>
          </a:blip>
          <a:srcRect/>
          <a:stretch>
            <a:fillRect/>
          </a:stretch>
        </p:blipFill>
        <p:spPr bwMode="auto">
          <a:xfrm>
            <a:off x="179388" y="6308725"/>
            <a:ext cx="2232025" cy="433388"/>
          </a:xfrm>
          <a:prstGeom prst="rect">
            <a:avLst/>
          </a:prstGeom>
          <a:noFill/>
          <a:ln w="9525">
            <a:noFill/>
            <a:miter lim="800000"/>
            <a:headEnd/>
            <a:tailEnd/>
          </a:ln>
        </p:spPr>
      </p:pic>
    </p:spTree>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3_标题和内容">
    <p:spTree>
      <p:nvGrpSpPr>
        <p:cNvPr id="1" name=""/>
        <p:cNvGrpSpPr/>
        <p:nvPr/>
      </p:nvGrpSpPr>
      <p:grpSpPr>
        <a:xfrm>
          <a:off x="0" y="0"/>
          <a:ext cx="0" cy="0"/>
          <a:chOff x="0" y="0"/>
          <a:chExt cx="0" cy="0"/>
        </a:xfrm>
      </p:grpSpPr>
      <p:pic>
        <p:nvPicPr>
          <p:cNvPr id="2" name="图片 6" descr="3-1.png"/>
          <p:cNvPicPr>
            <a:picLocks noChangeAspect="1"/>
          </p:cNvPicPr>
          <p:nvPr userDrawn="1"/>
        </p:nvPicPr>
        <p:blipFill>
          <a:blip r:embed="rId2" cstate="print"/>
          <a:srcRect/>
          <a:stretch>
            <a:fillRect/>
          </a:stretch>
        </p:blipFill>
        <p:spPr bwMode="auto">
          <a:xfrm>
            <a:off x="1588" y="0"/>
            <a:ext cx="9140825" cy="6858000"/>
          </a:xfrm>
          <a:prstGeom prst="rect">
            <a:avLst/>
          </a:prstGeom>
          <a:noFill/>
          <a:ln w="9525">
            <a:noFill/>
            <a:miter lim="800000"/>
            <a:headEnd/>
            <a:tailEnd/>
          </a:ln>
        </p:spPr>
      </p:pic>
      <p:pic>
        <p:nvPicPr>
          <p:cNvPr id="3" name="图片 7" descr="3-2.png"/>
          <p:cNvPicPr>
            <a:picLocks noChangeAspect="1"/>
          </p:cNvPicPr>
          <p:nvPr userDrawn="1"/>
        </p:nvPicPr>
        <p:blipFill>
          <a:blip r:embed="rId3" cstate="print"/>
          <a:srcRect/>
          <a:stretch>
            <a:fillRect/>
          </a:stretch>
        </p:blipFill>
        <p:spPr bwMode="auto">
          <a:xfrm>
            <a:off x="1588" y="0"/>
            <a:ext cx="9140825" cy="6858000"/>
          </a:xfrm>
          <a:prstGeom prst="rect">
            <a:avLst/>
          </a:prstGeom>
          <a:noFill/>
          <a:ln w="9525">
            <a:noFill/>
            <a:miter lim="800000"/>
            <a:headEnd/>
            <a:tailEnd/>
          </a:ln>
        </p:spPr>
      </p:pic>
      <p:pic>
        <p:nvPicPr>
          <p:cNvPr id="4" name="图片 8" descr="slide0001_image013.png"/>
          <p:cNvPicPr>
            <a:picLocks noChangeAspect="1"/>
          </p:cNvPicPr>
          <p:nvPr userDrawn="1"/>
        </p:nvPicPr>
        <p:blipFill>
          <a:blip r:embed="rId4" cstate="print"/>
          <a:srcRect/>
          <a:stretch>
            <a:fillRect/>
          </a:stretch>
        </p:blipFill>
        <p:spPr bwMode="auto">
          <a:xfrm>
            <a:off x="4829175" y="4437063"/>
            <a:ext cx="4351338" cy="2447925"/>
          </a:xfrm>
          <a:prstGeom prst="rect">
            <a:avLst/>
          </a:prstGeom>
          <a:noFill/>
          <a:ln w="9525">
            <a:noFill/>
            <a:miter lim="800000"/>
            <a:headEnd/>
            <a:tailEnd/>
          </a:ln>
        </p:spPr>
      </p:pic>
      <p:pic>
        <p:nvPicPr>
          <p:cNvPr id="5" name="图片 24" descr="logo.png"/>
          <p:cNvPicPr>
            <a:picLocks noChangeAspect="1"/>
          </p:cNvPicPr>
          <p:nvPr userDrawn="1"/>
        </p:nvPicPr>
        <p:blipFill>
          <a:blip r:embed="rId5" cstate="print"/>
          <a:srcRect/>
          <a:stretch>
            <a:fillRect/>
          </a:stretch>
        </p:blipFill>
        <p:spPr bwMode="auto">
          <a:xfrm>
            <a:off x="179388" y="122238"/>
            <a:ext cx="1944687" cy="498475"/>
          </a:xfrm>
          <a:prstGeom prst="rect">
            <a:avLst/>
          </a:prstGeom>
          <a:noFill/>
          <a:ln w="9525">
            <a:noFill/>
            <a:miter lim="800000"/>
            <a:headEnd/>
            <a:tailEnd/>
          </a:ln>
        </p:spPr>
      </p:pic>
    </p:spTree>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1_仅标题">
    <p:spTree>
      <p:nvGrpSpPr>
        <p:cNvPr id="1" name=""/>
        <p:cNvGrpSpPr/>
        <p:nvPr/>
      </p:nvGrpSpPr>
      <p:grpSpPr>
        <a:xfrm>
          <a:off x="0" y="0"/>
          <a:ext cx="0" cy="0"/>
          <a:chOff x="0" y="0"/>
          <a:chExt cx="0" cy="0"/>
        </a:xfrm>
      </p:grpSpPr>
      <p:pic>
        <p:nvPicPr>
          <p:cNvPr id="2" name="Picture 3" descr="C:\Documents and Settings\Administrator\桌面\PPT\杂志社logo带网址_副本.jpg"/>
          <p:cNvPicPr>
            <a:picLocks noChangeAspect="1" noChangeArrowheads="1"/>
          </p:cNvPicPr>
          <p:nvPr userDrawn="1"/>
        </p:nvPicPr>
        <p:blipFill>
          <a:blip r:embed="rId2" cstate="print">
            <a:clrChange>
              <a:clrFrom>
                <a:srgbClr val="FDFDFD"/>
              </a:clrFrom>
              <a:clrTo>
                <a:srgbClr val="FDFDFD">
                  <a:alpha val="0"/>
                </a:srgbClr>
              </a:clrTo>
            </a:clrChange>
          </a:blip>
          <a:srcRect/>
          <a:stretch>
            <a:fillRect/>
          </a:stretch>
        </p:blipFill>
        <p:spPr bwMode="auto">
          <a:xfrm>
            <a:off x="7451725" y="6381750"/>
            <a:ext cx="1665288" cy="355600"/>
          </a:xfrm>
          <a:prstGeom prst="rect">
            <a:avLst/>
          </a:prstGeom>
          <a:noFill/>
          <a:ln w="9525">
            <a:noFill/>
            <a:miter lim="800000"/>
            <a:headEnd/>
            <a:tailEnd/>
          </a:ln>
        </p:spPr>
      </p:pic>
    </p:spTree>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type="title" preserve="1">
  <p:cSld name="标题幻灯片">
    <p:bg bwMode="gray">
      <p:bgPr>
        <a:gradFill rotWithShape="0">
          <a:gsLst>
            <a:gs pos="0">
              <a:schemeClr val="accent1"/>
            </a:gs>
            <a:gs pos="100000">
              <a:schemeClr val="accent2"/>
            </a:gs>
          </a:gsLst>
          <a:lin ang="5400000" scaled="1"/>
        </a:gradFill>
        <a:effectLst/>
      </p:bgPr>
    </p:bg>
    <p:spTree>
      <p:nvGrpSpPr>
        <p:cNvPr id="1" name=""/>
        <p:cNvGrpSpPr/>
        <p:nvPr/>
      </p:nvGrpSpPr>
      <p:grpSpPr>
        <a:xfrm>
          <a:off x="0" y="0"/>
          <a:ext cx="0" cy="0"/>
          <a:chOff x="0" y="0"/>
          <a:chExt cx="0" cy="0"/>
        </a:xfrm>
      </p:grpSpPr>
      <p:pic>
        <p:nvPicPr>
          <p:cNvPr id="2" name="Picture 1366" descr="1"/>
          <p:cNvPicPr>
            <a:picLocks noChangeAspect="1" noChangeArrowheads="1"/>
          </p:cNvPicPr>
          <p:nvPr userDrawn="1"/>
        </p:nvPicPr>
        <p:blipFill>
          <a:blip r:embed="rId2" cstate="print">
            <a:clrChange>
              <a:clrFrom>
                <a:srgbClr val="000000"/>
              </a:clrFrom>
              <a:clrTo>
                <a:srgbClr val="000000">
                  <a:alpha val="0"/>
                </a:srgbClr>
              </a:clrTo>
            </a:clrChange>
          </a:blip>
          <a:srcRect/>
          <a:stretch>
            <a:fillRect/>
          </a:stretch>
        </p:blipFill>
        <p:spPr bwMode="auto">
          <a:xfrm>
            <a:off x="0" y="0"/>
            <a:ext cx="9144000" cy="5829300"/>
          </a:xfrm>
          <a:prstGeom prst="rect">
            <a:avLst/>
          </a:prstGeom>
          <a:noFill/>
          <a:ln w="9525">
            <a:noFill/>
            <a:miter lim="800000"/>
            <a:headEnd/>
            <a:tailEnd/>
          </a:ln>
        </p:spPr>
      </p:pic>
      <p:grpSp>
        <p:nvGrpSpPr>
          <p:cNvPr id="3" name="Group 1368"/>
          <p:cNvGrpSpPr>
            <a:grpSpLocks/>
          </p:cNvGrpSpPr>
          <p:nvPr userDrawn="1"/>
        </p:nvGrpSpPr>
        <p:grpSpPr bwMode="auto">
          <a:xfrm rot="21260164" flipH="1">
            <a:off x="-793750" y="3232150"/>
            <a:ext cx="10133013" cy="2905125"/>
            <a:chOff x="410" y="1808"/>
            <a:chExt cx="5784" cy="2512"/>
          </a:xfrm>
        </p:grpSpPr>
        <p:pic>
          <p:nvPicPr>
            <p:cNvPr id="4" name="Picture 1369" descr="light5"/>
            <p:cNvPicPr>
              <a:picLocks noChangeAspect="1" noChangeArrowheads="1"/>
            </p:cNvPicPr>
            <p:nvPr userDrawn="1"/>
          </p:nvPicPr>
          <p:blipFill>
            <a:blip r:embed="rId3" cstate="print"/>
            <a:srcRect b="85"/>
            <a:stretch>
              <a:fillRect/>
            </a:stretch>
          </p:blipFill>
          <p:spPr bwMode="blackGray">
            <a:xfrm rot="-207912">
              <a:off x="410" y="2146"/>
              <a:ext cx="4808" cy="2096"/>
            </a:xfrm>
            <a:prstGeom prst="rect">
              <a:avLst/>
            </a:prstGeom>
            <a:noFill/>
            <a:ln w="9525">
              <a:noFill/>
              <a:miter lim="800000"/>
              <a:headEnd/>
              <a:tailEnd/>
            </a:ln>
          </p:spPr>
        </p:pic>
        <p:pic>
          <p:nvPicPr>
            <p:cNvPr id="5" name="Picture 1370" descr="light5"/>
            <p:cNvPicPr>
              <a:picLocks noChangeAspect="1" noChangeArrowheads="1"/>
            </p:cNvPicPr>
            <p:nvPr userDrawn="1"/>
          </p:nvPicPr>
          <p:blipFill>
            <a:blip r:embed="rId3" cstate="print"/>
            <a:srcRect b="85"/>
            <a:stretch>
              <a:fillRect/>
            </a:stretch>
          </p:blipFill>
          <p:spPr bwMode="blackGray">
            <a:xfrm>
              <a:off x="434" y="1808"/>
              <a:ext cx="5760" cy="2512"/>
            </a:xfrm>
            <a:prstGeom prst="rect">
              <a:avLst/>
            </a:prstGeom>
            <a:noFill/>
            <a:ln w="9525">
              <a:noFill/>
              <a:miter lim="800000"/>
              <a:headEnd/>
              <a:tailEnd/>
            </a:ln>
          </p:spPr>
        </p:pic>
      </p:grpSp>
      <p:sp>
        <p:nvSpPr>
          <p:cNvPr id="6" name="Freeform 1161"/>
          <p:cNvSpPr>
            <a:spLocks/>
          </p:cNvSpPr>
          <p:nvPr/>
        </p:nvSpPr>
        <p:spPr bwMode="gray">
          <a:xfrm>
            <a:off x="819150" y="4592638"/>
            <a:ext cx="11113" cy="31750"/>
          </a:xfrm>
          <a:custGeom>
            <a:avLst/>
            <a:gdLst/>
            <a:ahLst/>
            <a:cxnLst>
              <a:cxn ang="0">
                <a:pos x="0" y="20"/>
              </a:cxn>
              <a:cxn ang="0">
                <a:pos x="7" y="0"/>
              </a:cxn>
              <a:cxn ang="0">
                <a:pos x="0" y="20"/>
              </a:cxn>
            </a:cxnLst>
            <a:rect l="0" t="0" r="r" b="b"/>
            <a:pathLst>
              <a:path w="7" h="20">
                <a:moveTo>
                  <a:pt x="0" y="20"/>
                </a:moveTo>
                <a:cubicBezTo>
                  <a:pt x="2" y="13"/>
                  <a:pt x="7" y="0"/>
                  <a:pt x="7" y="0"/>
                </a:cubicBezTo>
                <a:cubicBezTo>
                  <a:pt x="7" y="0"/>
                  <a:pt x="2" y="13"/>
                  <a:pt x="0" y="20"/>
                </a:cubicBezTo>
                <a:close/>
              </a:path>
            </a:pathLst>
          </a:custGeom>
          <a:gradFill rotWithShape="1">
            <a:gsLst>
              <a:gs pos="0">
                <a:schemeClr val="accent2"/>
              </a:gs>
              <a:gs pos="100000">
                <a:schemeClr val="accent2">
                  <a:gamma/>
                  <a:tint val="73725"/>
                  <a:invGamma/>
                </a:schemeClr>
              </a:gs>
            </a:gsLst>
            <a:lin ang="5400000" scaled="1"/>
          </a:gradFill>
          <a:ln w="9525" cap="flat" cmpd="sng">
            <a:noFill/>
            <a:prstDash val="solid"/>
            <a:round/>
            <a:headEnd/>
            <a:tailEnd/>
          </a:ln>
          <a:effectLst/>
        </p:spPr>
        <p:txBody>
          <a:bodyPr wrap="none" lIns="91389" tIns="45694" rIns="91389" bIns="45694" anchor="ctr"/>
          <a:lstStyle/>
          <a:p>
            <a:pPr eaLnBrk="0" fontAlgn="base" hangingPunct="0">
              <a:spcBef>
                <a:spcPct val="0"/>
              </a:spcBef>
              <a:spcAft>
                <a:spcPct val="0"/>
              </a:spcAft>
              <a:buSzPct val="100000"/>
              <a:buFont typeface="Times New Roman" pitchFamily="18" charset="0"/>
              <a:buNone/>
              <a:defRPr/>
            </a:pPr>
            <a:endParaRPr lang="zh-CN" altLang="en-US" sz="3600" dirty="0">
              <a:solidFill>
                <a:srgbClr val="1C1C1C"/>
              </a:solidFill>
              <a:effectLst>
                <a:outerShdw blurRad="38100" dist="38100" dir="2700000" algn="tl">
                  <a:srgbClr val="000000">
                    <a:alpha val="43137"/>
                  </a:srgbClr>
                </a:outerShdw>
              </a:effectLst>
              <a:ea typeface="宋体" pitchFamily="2" charset="-122"/>
            </a:endParaRPr>
          </a:p>
        </p:txBody>
      </p:sp>
      <p:pic>
        <p:nvPicPr>
          <p:cNvPr id="7" name="Picture 1332" descr="light5"/>
          <p:cNvPicPr>
            <a:picLocks noChangeAspect="1" noChangeArrowheads="1"/>
          </p:cNvPicPr>
          <p:nvPr/>
        </p:nvPicPr>
        <p:blipFill>
          <a:blip r:embed="rId4" cstate="print">
            <a:lum contrast="12000"/>
          </a:blip>
          <a:srcRect l="-432" b="32"/>
          <a:stretch>
            <a:fillRect/>
          </a:stretch>
        </p:blipFill>
        <p:spPr bwMode="gray">
          <a:xfrm>
            <a:off x="5327650" y="0"/>
            <a:ext cx="3802063" cy="6858000"/>
          </a:xfrm>
          <a:prstGeom prst="rect">
            <a:avLst/>
          </a:prstGeom>
          <a:noFill/>
          <a:ln w="9525">
            <a:noFill/>
            <a:miter lim="800000"/>
            <a:headEnd/>
            <a:tailEnd/>
          </a:ln>
        </p:spPr>
      </p:pic>
    </p:spTree>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328613" y="42867"/>
            <a:ext cx="8335962" cy="862012"/>
          </a:xfrm>
          <a:prstGeom prst="rect">
            <a:avLst/>
          </a:prstGeom>
        </p:spPr>
        <p:txBody>
          <a:bodyPr lIns="91389" tIns="45694" rIns="91389" bIns="45694"/>
          <a:lstStyle/>
          <a:p>
            <a:r>
              <a:rPr lang="zh-CN" altLang="en-US" smtClean="0"/>
              <a:t>单击此处编辑母版标题样式</a:t>
            </a:r>
            <a:endParaRPr lang="zh-CN" altLang="en-US"/>
          </a:p>
        </p:txBody>
      </p:sp>
      <p:sp>
        <p:nvSpPr>
          <p:cNvPr id="3" name="内容占位符 2"/>
          <p:cNvSpPr>
            <a:spLocks noGrp="1"/>
          </p:cNvSpPr>
          <p:nvPr>
            <p:ph idx="1"/>
          </p:nvPr>
        </p:nvSpPr>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页脚占位符 3"/>
          <p:cNvSpPr>
            <a:spLocks noGrp="1"/>
          </p:cNvSpPr>
          <p:nvPr>
            <p:ph type="ftr" sz="quarter" idx="10"/>
          </p:nvPr>
        </p:nvSpPr>
        <p:spPr>
          <a:xfrm>
            <a:off x="3124200" y="6245225"/>
            <a:ext cx="2895600" cy="476250"/>
          </a:xfrm>
          <a:prstGeom prst="rect">
            <a:avLst/>
          </a:prstGeom>
        </p:spPr>
        <p:txBody>
          <a:bodyPr lIns="91389" tIns="45694" rIns="91389" bIns="45694"/>
          <a:lstStyle>
            <a:lvl1pPr eaLnBrk="0" hangingPunct="0">
              <a:buSzPct val="100000"/>
              <a:buFont typeface="Times New Roman" pitchFamily="18" charset="0"/>
              <a:buNone/>
              <a:defRPr sz="3600">
                <a:solidFill>
                  <a:srgbClr val="1C1C1C"/>
                </a:solidFill>
                <a:latin typeface="Arial" charset="0"/>
                <a:ea typeface="宋体" pitchFamily="2" charset="-122"/>
              </a:defRPr>
            </a:lvl1pPr>
          </a:lstStyle>
          <a:p>
            <a:pPr fontAlgn="base">
              <a:spcBef>
                <a:spcPct val="0"/>
              </a:spcBef>
              <a:spcAft>
                <a:spcPct val="0"/>
              </a:spcAft>
              <a:defRPr/>
            </a:pPr>
            <a:endParaRPr lang="en-US" altLang="zh-CN">
              <a:effectLst>
                <a:outerShdw blurRad="38100" dist="38100" dir="2700000" algn="tl">
                  <a:srgbClr val="000000">
                    <a:alpha val="43137"/>
                  </a:srgbClr>
                </a:outerShdw>
              </a:effectLst>
            </a:endParaRPr>
          </a:p>
        </p:txBody>
      </p:sp>
      <p:sp>
        <p:nvSpPr>
          <p:cNvPr id="5" name="灯片编号占位符 4"/>
          <p:cNvSpPr>
            <a:spLocks noGrp="1"/>
          </p:cNvSpPr>
          <p:nvPr>
            <p:ph type="sldNum" sz="quarter" idx="11"/>
          </p:nvPr>
        </p:nvSpPr>
        <p:spPr>
          <a:xfrm>
            <a:off x="6553200" y="6245225"/>
            <a:ext cx="2133600" cy="476250"/>
          </a:xfrm>
          <a:prstGeom prst="rect">
            <a:avLst/>
          </a:prstGeom>
        </p:spPr>
        <p:txBody>
          <a:bodyPr lIns="91389" tIns="45694" rIns="91389" bIns="45694"/>
          <a:lstStyle>
            <a:lvl1pPr eaLnBrk="0" hangingPunct="0">
              <a:buSzPct val="100000"/>
              <a:buFont typeface="Times New Roman" pitchFamily="18" charset="0"/>
              <a:buNone/>
              <a:defRPr sz="3600">
                <a:solidFill>
                  <a:srgbClr val="1C1C1C"/>
                </a:solidFill>
                <a:latin typeface="Arial" charset="0"/>
                <a:ea typeface="宋体" pitchFamily="2" charset="-122"/>
              </a:defRPr>
            </a:lvl1pPr>
          </a:lstStyle>
          <a:p>
            <a:pPr fontAlgn="base">
              <a:spcBef>
                <a:spcPct val="0"/>
              </a:spcBef>
              <a:spcAft>
                <a:spcPct val="0"/>
              </a:spcAft>
              <a:defRPr/>
            </a:pPr>
            <a:fld id="{5D6C65C5-F6B2-4113-BAAC-D3C748F20117}" type="slidenum">
              <a:rPr lang="en-US" altLang="zh-CN">
                <a:effectLst>
                  <a:outerShdw blurRad="38100" dist="38100" dir="2700000" algn="tl">
                    <a:srgbClr val="000000">
                      <a:alpha val="43137"/>
                    </a:srgbClr>
                  </a:outerShdw>
                </a:effectLst>
              </a:rPr>
              <a:pPr fontAlgn="base">
                <a:spcBef>
                  <a:spcPct val="0"/>
                </a:spcBef>
                <a:spcAft>
                  <a:spcPct val="0"/>
                </a:spcAft>
                <a:defRPr/>
              </a:pPr>
              <a:t>‹#›</a:t>
            </a:fld>
            <a:endParaRPr lang="en-US" altLang="zh-CN">
              <a:effectLst>
                <a:outerShdw blurRad="38100" dist="38100" dir="2700000" algn="tl">
                  <a:srgbClr val="000000">
                    <a:alpha val="43137"/>
                  </a:srgbClr>
                </a:outerShdw>
              </a:effectLst>
            </a:endParaRPr>
          </a:p>
        </p:txBody>
      </p:sp>
      <p:sp>
        <p:nvSpPr>
          <p:cNvPr id="6" name="日期占位符 5"/>
          <p:cNvSpPr>
            <a:spLocks noGrp="1"/>
          </p:cNvSpPr>
          <p:nvPr>
            <p:ph type="dt" sz="half" idx="12"/>
          </p:nvPr>
        </p:nvSpPr>
        <p:spPr>
          <a:xfrm>
            <a:off x="457200" y="6245225"/>
            <a:ext cx="2133600" cy="476250"/>
          </a:xfrm>
          <a:prstGeom prst="rect">
            <a:avLst/>
          </a:prstGeom>
        </p:spPr>
        <p:txBody>
          <a:bodyPr lIns="91389" tIns="45694" rIns="91389" bIns="45694"/>
          <a:lstStyle>
            <a:lvl1pPr eaLnBrk="0" hangingPunct="0">
              <a:buSzPct val="100000"/>
              <a:buFont typeface="Times New Roman" pitchFamily="18" charset="0"/>
              <a:buNone/>
              <a:defRPr sz="3600">
                <a:solidFill>
                  <a:srgbClr val="1C1C1C"/>
                </a:solidFill>
                <a:latin typeface="Arial" charset="0"/>
                <a:ea typeface="宋体" pitchFamily="2" charset="-122"/>
              </a:defRPr>
            </a:lvl1pPr>
          </a:lstStyle>
          <a:p>
            <a:pPr fontAlgn="base">
              <a:spcBef>
                <a:spcPct val="0"/>
              </a:spcBef>
              <a:spcAft>
                <a:spcPct val="0"/>
              </a:spcAft>
              <a:defRPr/>
            </a:pPr>
            <a:endParaRPr lang="en-US" altLang="zh-CN">
              <a:effectLst>
                <a:outerShdw blurRad="38100" dist="38100" dir="2700000" algn="tl">
                  <a:srgbClr val="000000">
                    <a:alpha val="43137"/>
                  </a:srgbClr>
                </a:outerShdw>
              </a:effectLst>
            </a:endParaRPr>
          </a:p>
        </p:txBody>
      </p:sp>
    </p:spTree>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722316" y="4406907"/>
            <a:ext cx="7772400" cy="1362075"/>
          </a:xfrm>
          <a:prstGeom prst="rect">
            <a:avLst/>
          </a:prstGeom>
        </p:spPr>
        <p:txBody>
          <a:bodyPr lIns="91389" tIns="45694" rIns="91389" bIns="45694" anchor="t"/>
          <a:lstStyle>
            <a:lvl1pPr algn="l">
              <a:defRPr sz="4100" b="1" cap="all"/>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722316" y="2906719"/>
            <a:ext cx="7772400" cy="1500187"/>
          </a:xfrm>
        </p:spPr>
        <p:txBody>
          <a:bodyPr anchor="b"/>
          <a:lstStyle>
            <a:lvl1pPr marL="0" indent="0">
              <a:buNone/>
              <a:defRPr sz="2000"/>
            </a:lvl1pPr>
            <a:lvl2pPr marL="456945" indent="0">
              <a:buNone/>
              <a:defRPr sz="1800"/>
            </a:lvl2pPr>
            <a:lvl3pPr marL="913890" indent="0">
              <a:buNone/>
              <a:defRPr sz="1600"/>
            </a:lvl3pPr>
            <a:lvl4pPr marL="1370836" indent="0">
              <a:buNone/>
              <a:defRPr sz="1400"/>
            </a:lvl4pPr>
            <a:lvl5pPr marL="1827781" indent="0">
              <a:buNone/>
              <a:defRPr sz="1400"/>
            </a:lvl5pPr>
            <a:lvl6pPr marL="2284726" indent="0">
              <a:buNone/>
              <a:defRPr sz="1400"/>
            </a:lvl6pPr>
            <a:lvl7pPr marL="2741672" indent="0">
              <a:buNone/>
              <a:defRPr sz="1400"/>
            </a:lvl7pPr>
            <a:lvl8pPr marL="3198616" indent="0">
              <a:buNone/>
              <a:defRPr sz="1400"/>
            </a:lvl8pPr>
            <a:lvl9pPr marL="3655563" indent="0">
              <a:buNone/>
              <a:defRPr sz="1400"/>
            </a:lvl9pPr>
          </a:lstStyle>
          <a:p>
            <a:pPr lvl="0"/>
            <a:r>
              <a:rPr lang="zh-CN" altLang="en-US" smtClean="0"/>
              <a:t>单击此处编辑母版文本样式</a:t>
            </a:r>
          </a:p>
        </p:txBody>
      </p:sp>
      <p:sp>
        <p:nvSpPr>
          <p:cNvPr id="4" name="页脚占位符 3"/>
          <p:cNvSpPr>
            <a:spLocks noGrp="1"/>
          </p:cNvSpPr>
          <p:nvPr>
            <p:ph type="ftr" sz="quarter" idx="10"/>
          </p:nvPr>
        </p:nvSpPr>
        <p:spPr>
          <a:xfrm>
            <a:off x="3124200" y="6245225"/>
            <a:ext cx="2895600" cy="476250"/>
          </a:xfrm>
          <a:prstGeom prst="rect">
            <a:avLst/>
          </a:prstGeom>
        </p:spPr>
        <p:txBody>
          <a:bodyPr lIns="91389" tIns="45694" rIns="91389" bIns="45694"/>
          <a:lstStyle>
            <a:lvl1pPr eaLnBrk="0" hangingPunct="0">
              <a:buSzPct val="100000"/>
              <a:buFont typeface="Times New Roman" pitchFamily="18" charset="0"/>
              <a:buNone/>
              <a:defRPr sz="3600">
                <a:solidFill>
                  <a:srgbClr val="1C1C1C"/>
                </a:solidFill>
                <a:latin typeface="Arial" charset="0"/>
                <a:ea typeface="宋体" pitchFamily="2" charset="-122"/>
              </a:defRPr>
            </a:lvl1pPr>
          </a:lstStyle>
          <a:p>
            <a:pPr fontAlgn="base">
              <a:spcBef>
                <a:spcPct val="0"/>
              </a:spcBef>
              <a:spcAft>
                <a:spcPct val="0"/>
              </a:spcAft>
              <a:defRPr/>
            </a:pPr>
            <a:endParaRPr lang="en-US" altLang="zh-CN">
              <a:effectLst>
                <a:outerShdw blurRad="38100" dist="38100" dir="2700000" algn="tl">
                  <a:srgbClr val="000000">
                    <a:alpha val="43137"/>
                  </a:srgbClr>
                </a:outerShdw>
              </a:effectLst>
            </a:endParaRPr>
          </a:p>
        </p:txBody>
      </p:sp>
      <p:sp>
        <p:nvSpPr>
          <p:cNvPr id="5" name="灯片编号占位符 4"/>
          <p:cNvSpPr>
            <a:spLocks noGrp="1"/>
          </p:cNvSpPr>
          <p:nvPr>
            <p:ph type="sldNum" sz="quarter" idx="11"/>
          </p:nvPr>
        </p:nvSpPr>
        <p:spPr>
          <a:xfrm>
            <a:off x="6553200" y="6245225"/>
            <a:ext cx="2133600" cy="476250"/>
          </a:xfrm>
          <a:prstGeom prst="rect">
            <a:avLst/>
          </a:prstGeom>
        </p:spPr>
        <p:txBody>
          <a:bodyPr lIns="91389" tIns="45694" rIns="91389" bIns="45694"/>
          <a:lstStyle>
            <a:lvl1pPr eaLnBrk="0" hangingPunct="0">
              <a:buSzPct val="100000"/>
              <a:buFont typeface="Times New Roman" pitchFamily="18" charset="0"/>
              <a:buNone/>
              <a:defRPr sz="3600">
                <a:solidFill>
                  <a:srgbClr val="1C1C1C"/>
                </a:solidFill>
                <a:latin typeface="Arial" charset="0"/>
                <a:ea typeface="宋体" pitchFamily="2" charset="-122"/>
              </a:defRPr>
            </a:lvl1pPr>
          </a:lstStyle>
          <a:p>
            <a:pPr fontAlgn="base">
              <a:spcBef>
                <a:spcPct val="0"/>
              </a:spcBef>
              <a:spcAft>
                <a:spcPct val="0"/>
              </a:spcAft>
              <a:defRPr/>
            </a:pPr>
            <a:fld id="{FAB32524-56E2-456F-AD9E-9CB708CDA2B8}" type="slidenum">
              <a:rPr lang="en-US" altLang="zh-CN">
                <a:effectLst>
                  <a:outerShdw blurRad="38100" dist="38100" dir="2700000" algn="tl">
                    <a:srgbClr val="000000">
                      <a:alpha val="43137"/>
                    </a:srgbClr>
                  </a:outerShdw>
                </a:effectLst>
              </a:rPr>
              <a:pPr fontAlgn="base">
                <a:spcBef>
                  <a:spcPct val="0"/>
                </a:spcBef>
                <a:spcAft>
                  <a:spcPct val="0"/>
                </a:spcAft>
                <a:defRPr/>
              </a:pPr>
              <a:t>‹#›</a:t>
            </a:fld>
            <a:endParaRPr lang="en-US" altLang="zh-CN">
              <a:effectLst>
                <a:outerShdw blurRad="38100" dist="38100" dir="2700000" algn="tl">
                  <a:srgbClr val="000000">
                    <a:alpha val="43137"/>
                  </a:srgbClr>
                </a:outerShdw>
              </a:effectLst>
            </a:endParaRPr>
          </a:p>
        </p:txBody>
      </p:sp>
      <p:sp>
        <p:nvSpPr>
          <p:cNvPr id="6" name="日期占位符 5"/>
          <p:cNvSpPr>
            <a:spLocks noGrp="1"/>
          </p:cNvSpPr>
          <p:nvPr>
            <p:ph type="dt" sz="half" idx="12"/>
          </p:nvPr>
        </p:nvSpPr>
        <p:spPr>
          <a:xfrm>
            <a:off x="457200" y="6245225"/>
            <a:ext cx="2133600" cy="476250"/>
          </a:xfrm>
          <a:prstGeom prst="rect">
            <a:avLst/>
          </a:prstGeom>
        </p:spPr>
        <p:txBody>
          <a:bodyPr lIns="91389" tIns="45694" rIns="91389" bIns="45694"/>
          <a:lstStyle>
            <a:lvl1pPr eaLnBrk="0" hangingPunct="0">
              <a:buSzPct val="100000"/>
              <a:buFont typeface="Times New Roman" pitchFamily="18" charset="0"/>
              <a:buNone/>
              <a:defRPr sz="3600">
                <a:solidFill>
                  <a:srgbClr val="1C1C1C"/>
                </a:solidFill>
                <a:latin typeface="Arial" charset="0"/>
                <a:ea typeface="宋体" pitchFamily="2" charset="-122"/>
              </a:defRPr>
            </a:lvl1pPr>
          </a:lstStyle>
          <a:p>
            <a:pPr fontAlgn="base">
              <a:spcBef>
                <a:spcPct val="0"/>
              </a:spcBef>
              <a:spcAft>
                <a:spcPct val="0"/>
              </a:spcAft>
              <a:defRPr/>
            </a:pPr>
            <a:endParaRPr lang="en-US" altLang="zh-CN">
              <a:effectLst>
                <a:outerShdw blurRad="38100" dist="38100" dir="2700000" algn="tl">
                  <a:srgbClr val="000000">
                    <a:alpha val="43137"/>
                  </a:srgbClr>
                </a:outerShdw>
              </a:effectLst>
            </a:endParaRPr>
          </a:p>
        </p:txBody>
      </p:sp>
    </p:spTree>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a:xfrm>
            <a:off x="328613" y="42867"/>
            <a:ext cx="8335962" cy="862012"/>
          </a:xfrm>
          <a:prstGeom prst="rect">
            <a:avLst/>
          </a:prstGeom>
        </p:spPr>
        <p:txBody>
          <a:bodyPr lIns="91389" tIns="45694" rIns="91389" bIns="45694"/>
          <a:lstStyle/>
          <a:p>
            <a:r>
              <a:rPr lang="zh-CN" altLang="en-US" smtClean="0"/>
              <a:t>单击此处编辑母版标题样式</a:t>
            </a:r>
            <a:endParaRPr lang="zh-CN" altLang="en-US"/>
          </a:p>
        </p:txBody>
      </p:sp>
      <p:sp>
        <p:nvSpPr>
          <p:cNvPr id="3" name="内容占位符 2"/>
          <p:cNvSpPr>
            <a:spLocks noGrp="1"/>
          </p:cNvSpPr>
          <p:nvPr>
            <p:ph sz="half" idx="1"/>
          </p:nvPr>
        </p:nvSpPr>
        <p:spPr>
          <a:xfrm>
            <a:off x="457200" y="1328737"/>
            <a:ext cx="4038600" cy="4525963"/>
          </a:xfrm>
        </p:spPr>
        <p:txBody>
          <a:bodyPr/>
          <a:lstStyle>
            <a:lvl1pPr>
              <a:defRPr sz="2800"/>
            </a:lvl1pPr>
            <a:lvl2pPr>
              <a:defRPr sz="25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内容占位符 3"/>
          <p:cNvSpPr>
            <a:spLocks noGrp="1"/>
          </p:cNvSpPr>
          <p:nvPr>
            <p:ph sz="half" idx="2"/>
          </p:nvPr>
        </p:nvSpPr>
        <p:spPr>
          <a:xfrm>
            <a:off x="4648200" y="1328737"/>
            <a:ext cx="4038600" cy="4525963"/>
          </a:xfrm>
        </p:spPr>
        <p:txBody>
          <a:bodyPr/>
          <a:lstStyle>
            <a:lvl1pPr>
              <a:defRPr sz="2800"/>
            </a:lvl1pPr>
            <a:lvl2pPr>
              <a:defRPr sz="25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页脚占位符 4"/>
          <p:cNvSpPr>
            <a:spLocks noGrp="1"/>
          </p:cNvSpPr>
          <p:nvPr>
            <p:ph type="ftr" sz="quarter" idx="10"/>
          </p:nvPr>
        </p:nvSpPr>
        <p:spPr>
          <a:xfrm>
            <a:off x="3124200" y="6245225"/>
            <a:ext cx="2895600" cy="476250"/>
          </a:xfrm>
          <a:prstGeom prst="rect">
            <a:avLst/>
          </a:prstGeom>
        </p:spPr>
        <p:txBody>
          <a:bodyPr lIns="91389" tIns="45694" rIns="91389" bIns="45694"/>
          <a:lstStyle>
            <a:lvl1pPr eaLnBrk="0" hangingPunct="0">
              <a:buSzPct val="100000"/>
              <a:buFont typeface="Times New Roman" pitchFamily="18" charset="0"/>
              <a:buNone/>
              <a:defRPr sz="3600">
                <a:solidFill>
                  <a:srgbClr val="1C1C1C"/>
                </a:solidFill>
                <a:latin typeface="Arial" charset="0"/>
                <a:ea typeface="宋体" pitchFamily="2" charset="-122"/>
              </a:defRPr>
            </a:lvl1pPr>
          </a:lstStyle>
          <a:p>
            <a:pPr fontAlgn="base">
              <a:spcBef>
                <a:spcPct val="0"/>
              </a:spcBef>
              <a:spcAft>
                <a:spcPct val="0"/>
              </a:spcAft>
              <a:defRPr/>
            </a:pPr>
            <a:endParaRPr lang="en-US" altLang="zh-CN">
              <a:effectLst>
                <a:outerShdw blurRad="38100" dist="38100" dir="2700000" algn="tl">
                  <a:srgbClr val="000000">
                    <a:alpha val="43137"/>
                  </a:srgbClr>
                </a:outerShdw>
              </a:effectLst>
            </a:endParaRPr>
          </a:p>
        </p:txBody>
      </p:sp>
      <p:sp>
        <p:nvSpPr>
          <p:cNvPr id="6" name="灯片编号占位符 5"/>
          <p:cNvSpPr>
            <a:spLocks noGrp="1"/>
          </p:cNvSpPr>
          <p:nvPr>
            <p:ph type="sldNum" sz="quarter" idx="11"/>
          </p:nvPr>
        </p:nvSpPr>
        <p:spPr>
          <a:xfrm>
            <a:off x="6553200" y="6245225"/>
            <a:ext cx="2133600" cy="476250"/>
          </a:xfrm>
          <a:prstGeom prst="rect">
            <a:avLst/>
          </a:prstGeom>
        </p:spPr>
        <p:txBody>
          <a:bodyPr lIns="91389" tIns="45694" rIns="91389" bIns="45694"/>
          <a:lstStyle>
            <a:lvl1pPr eaLnBrk="0" hangingPunct="0">
              <a:buSzPct val="100000"/>
              <a:buFont typeface="Times New Roman" pitchFamily="18" charset="0"/>
              <a:buNone/>
              <a:defRPr sz="3600">
                <a:solidFill>
                  <a:srgbClr val="1C1C1C"/>
                </a:solidFill>
                <a:latin typeface="Arial" charset="0"/>
                <a:ea typeface="宋体" pitchFamily="2" charset="-122"/>
              </a:defRPr>
            </a:lvl1pPr>
          </a:lstStyle>
          <a:p>
            <a:pPr fontAlgn="base">
              <a:spcBef>
                <a:spcPct val="0"/>
              </a:spcBef>
              <a:spcAft>
                <a:spcPct val="0"/>
              </a:spcAft>
              <a:defRPr/>
            </a:pPr>
            <a:fld id="{E57B9360-0893-4BBD-B9CA-C15233F44242}" type="slidenum">
              <a:rPr lang="en-US" altLang="zh-CN">
                <a:effectLst>
                  <a:outerShdw blurRad="38100" dist="38100" dir="2700000" algn="tl">
                    <a:srgbClr val="000000">
                      <a:alpha val="43137"/>
                    </a:srgbClr>
                  </a:outerShdw>
                </a:effectLst>
              </a:rPr>
              <a:pPr fontAlgn="base">
                <a:spcBef>
                  <a:spcPct val="0"/>
                </a:spcBef>
                <a:spcAft>
                  <a:spcPct val="0"/>
                </a:spcAft>
                <a:defRPr/>
              </a:pPr>
              <a:t>‹#›</a:t>
            </a:fld>
            <a:endParaRPr lang="en-US" altLang="zh-CN">
              <a:effectLst>
                <a:outerShdw blurRad="38100" dist="38100" dir="2700000" algn="tl">
                  <a:srgbClr val="000000">
                    <a:alpha val="43137"/>
                  </a:srgbClr>
                </a:outerShdw>
              </a:effectLst>
            </a:endParaRPr>
          </a:p>
        </p:txBody>
      </p:sp>
      <p:sp>
        <p:nvSpPr>
          <p:cNvPr id="7" name="日期占位符 6"/>
          <p:cNvSpPr>
            <a:spLocks noGrp="1"/>
          </p:cNvSpPr>
          <p:nvPr>
            <p:ph type="dt" sz="half" idx="12"/>
          </p:nvPr>
        </p:nvSpPr>
        <p:spPr>
          <a:xfrm>
            <a:off x="457200" y="6245225"/>
            <a:ext cx="2133600" cy="476250"/>
          </a:xfrm>
          <a:prstGeom prst="rect">
            <a:avLst/>
          </a:prstGeom>
        </p:spPr>
        <p:txBody>
          <a:bodyPr lIns="91389" tIns="45694" rIns="91389" bIns="45694"/>
          <a:lstStyle>
            <a:lvl1pPr eaLnBrk="0" hangingPunct="0">
              <a:buSzPct val="100000"/>
              <a:buFont typeface="Times New Roman" pitchFamily="18" charset="0"/>
              <a:buNone/>
              <a:defRPr sz="3600">
                <a:solidFill>
                  <a:srgbClr val="1C1C1C"/>
                </a:solidFill>
                <a:latin typeface="Arial" charset="0"/>
                <a:ea typeface="宋体" pitchFamily="2" charset="-122"/>
              </a:defRPr>
            </a:lvl1pPr>
          </a:lstStyle>
          <a:p>
            <a:pPr fontAlgn="base">
              <a:spcBef>
                <a:spcPct val="0"/>
              </a:spcBef>
              <a:spcAft>
                <a:spcPct val="0"/>
              </a:spcAft>
              <a:defRPr/>
            </a:pPr>
            <a:endParaRPr lang="en-US" altLang="zh-CN">
              <a:effectLst>
                <a:outerShdw blurRad="38100" dist="38100" dir="2700000" algn="tl">
                  <a:srgbClr val="000000">
                    <a:alpha val="43137"/>
                  </a:srgbClr>
                </a:outerShdw>
              </a:effectLst>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日期占位符 2"/>
          <p:cNvSpPr>
            <a:spLocks noGrp="1"/>
          </p:cNvSpPr>
          <p:nvPr>
            <p:ph type="dt" sz="half" idx="10"/>
          </p:nvPr>
        </p:nvSpPr>
        <p:spPr/>
        <p:txBody>
          <a:bodyPr/>
          <a:lstStyle/>
          <a:p>
            <a:fld id="{530820CF-B880-4189-942D-D702A7CBA730}" type="datetimeFigureOut">
              <a:rPr lang="zh-CN" altLang="en-US" smtClean="0"/>
              <a:pPr/>
              <a:t>2017/12/7</a:t>
            </a:fld>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0C913308-F349-4B6D-A68A-DD1791B4A57B}" type="slidenum">
              <a:rPr lang="zh-CN" altLang="en-US" smtClean="0"/>
              <a:pPr/>
              <a:t>‹#›</a:t>
            </a:fld>
            <a:endParaRPr lang="zh-CN" altLang="en-US"/>
          </a:p>
        </p:txBody>
      </p:sp>
    </p:spTree>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457200" y="274639"/>
            <a:ext cx="8229600" cy="1143000"/>
          </a:xfrm>
          <a:prstGeom prst="rect">
            <a:avLst/>
          </a:prstGeom>
        </p:spPr>
        <p:txBody>
          <a:bodyPr lIns="91389" tIns="45694" rIns="91389" bIns="45694"/>
          <a:lstStyle>
            <a:lvl1pPr>
              <a:defRPr/>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457203" y="1535120"/>
            <a:ext cx="4040188" cy="639763"/>
          </a:xfrm>
        </p:spPr>
        <p:txBody>
          <a:bodyPr anchor="b"/>
          <a:lstStyle>
            <a:lvl1pPr marL="0" indent="0">
              <a:buNone/>
              <a:defRPr sz="2500" b="1"/>
            </a:lvl1pPr>
            <a:lvl2pPr marL="456945" indent="0">
              <a:buNone/>
              <a:defRPr sz="2000" b="1"/>
            </a:lvl2pPr>
            <a:lvl3pPr marL="913890" indent="0">
              <a:buNone/>
              <a:defRPr sz="1800" b="1"/>
            </a:lvl3pPr>
            <a:lvl4pPr marL="1370836" indent="0">
              <a:buNone/>
              <a:defRPr sz="1600" b="1"/>
            </a:lvl4pPr>
            <a:lvl5pPr marL="1827781" indent="0">
              <a:buNone/>
              <a:defRPr sz="1600" b="1"/>
            </a:lvl5pPr>
            <a:lvl6pPr marL="2284726" indent="0">
              <a:buNone/>
              <a:defRPr sz="1600" b="1"/>
            </a:lvl6pPr>
            <a:lvl7pPr marL="2741672" indent="0">
              <a:buNone/>
              <a:defRPr sz="1600" b="1"/>
            </a:lvl7pPr>
            <a:lvl8pPr marL="3198616" indent="0">
              <a:buNone/>
              <a:defRPr sz="1600" b="1"/>
            </a:lvl8pPr>
            <a:lvl9pPr marL="3655563" indent="0">
              <a:buNone/>
              <a:defRPr sz="1600" b="1"/>
            </a:lvl9pPr>
          </a:lstStyle>
          <a:p>
            <a:pPr lvl="0"/>
            <a:r>
              <a:rPr lang="zh-CN" altLang="en-US" smtClean="0"/>
              <a:t>单击此处编辑母版文本样式</a:t>
            </a:r>
          </a:p>
        </p:txBody>
      </p:sp>
      <p:sp>
        <p:nvSpPr>
          <p:cNvPr id="4" name="内容占位符 3"/>
          <p:cNvSpPr>
            <a:spLocks noGrp="1"/>
          </p:cNvSpPr>
          <p:nvPr>
            <p:ph sz="half" idx="2"/>
          </p:nvPr>
        </p:nvSpPr>
        <p:spPr>
          <a:xfrm>
            <a:off x="457203" y="2174875"/>
            <a:ext cx="4040188" cy="3951288"/>
          </a:xfrm>
        </p:spPr>
        <p:txBody>
          <a:bodyPr/>
          <a:lstStyle>
            <a:lvl1pPr>
              <a:defRPr sz="25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文本占位符 4"/>
          <p:cNvSpPr>
            <a:spLocks noGrp="1"/>
          </p:cNvSpPr>
          <p:nvPr>
            <p:ph type="body" sz="quarter" idx="3"/>
          </p:nvPr>
        </p:nvSpPr>
        <p:spPr>
          <a:xfrm>
            <a:off x="4645042" y="1535120"/>
            <a:ext cx="4041775" cy="639763"/>
          </a:xfrm>
        </p:spPr>
        <p:txBody>
          <a:bodyPr anchor="b"/>
          <a:lstStyle>
            <a:lvl1pPr marL="0" indent="0">
              <a:buNone/>
              <a:defRPr sz="2500" b="1"/>
            </a:lvl1pPr>
            <a:lvl2pPr marL="456945" indent="0">
              <a:buNone/>
              <a:defRPr sz="2000" b="1"/>
            </a:lvl2pPr>
            <a:lvl3pPr marL="913890" indent="0">
              <a:buNone/>
              <a:defRPr sz="1800" b="1"/>
            </a:lvl3pPr>
            <a:lvl4pPr marL="1370836" indent="0">
              <a:buNone/>
              <a:defRPr sz="1600" b="1"/>
            </a:lvl4pPr>
            <a:lvl5pPr marL="1827781" indent="0">
              <a:buNone/>
              <a:defRPr sz="1600" b="1"/>
            </a:lvl5pPr>
            <a:lvl6pPr marL="2284726" indent="0">
              <a:buNone/>
              <a:defRPr sz="1600" b="1"/>
            </a:lvl6pPr>
            <a:lvl7pPr marL="2741672" indent="0">
              <a:buNone/>
              <a:defRPr sz="1600" b="1"/>
            </a:lvl7pPr>
            <a:lvl8pPr marL="3198616" indent="0">
              <a:buNone/>
              <a:defRPr sz="1600" b="1"/>
            </a:lvl8pPr>
            <a:lvl9pPr marL="3655563" indent="0">
              <a:buNone/>
              <a:defRPr sz="1600" b="1"/>
            </a:lvl9pPr>
          </a:lstStyle>
          <a:p>
            <a:pPr lvl="0"/>
            <a:r>
              <a:rPr lang="zh-CN" altLang="en-US" smtClean="0"/>
              <a:t>单击此处编辑母版文本样式</a:t>
            </a:r>
          </a:p>
        </p:txBody>
      </p:sp>
      <p:sp>
        <p:nvSpPr>
          <p:cNvPr id="6" name="内容占位符 5"/>
          <p:cNvSpPr>
            <a:spLocks noGrp="1"/>
          </p:cNvSpPr>
          <p:nvPr>
            <p:ph sz="quarter" idx="4"/>
          </p:nvPr>
        </p:nvSpPr>
        <p:spPr>
          <a:xfrm>
            <a:off x="4645042" y="2174875"/>
            <a:ext cx="4041775" cy="3951288"/>
          </a:xfrm>
        </p:spPr>
        <p:txBody>
          <a:bodyPr/>
          <a:lstStyle>
            <a:lvl1pPr>
              <a:defRPr sz="25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7" name="页脚占位符 6"/>
          <p:cNvSpPr>
            <a:spLocks noGrp="1"/>
          </p:cNvSpPr>
          <p:nvPr>
            <p:ph type="ftr" sz="quarter" idx="10"/>
          </p:nvPr>
        </p:nvSpPr>
        <p:spPr>
          <a:xfrm>
            <a:off x="3124200" y="6245225"/>
            <a:ext cx="2895600" cy="476250"/>
          </a:xfrm>
          <a:prstGeom prst="rect">
            <a:avLst/>
          </a:prstGeom>
        </p:spPr>
        <p:txBody>
          <a:bodyPr lIns="91389" tIns="45694" rIns="91389" bIns="45694"/>
          <a:lstStyle>
            <a:lvl1pPr eaLnBrk="0" hangingPunct="0">
              <a:buSzPct val="100000"/>
              <a:buFont typeface="Times New Roman" pitchFamily="18" charset="0"/>
              <a:buNone/>
              <a:defRPr sz="3600">
                <a:solidFill>
                  <a:srgbClr val="1C1C1C"/>
                </a:solidFill>
                <a:latin typeface="Arial" charset="0"/>
                <a:ea typeface="宋体" pitchFamily="2" charset="-122"/>
              </a:defRPr>
            </a:lvl1pPr>
          </a:lstStyle>
          <a:p>
            <a:pPr fontAlgn="base">
              <a:spcBef>
                <a:spcPct val="0"/>
              </a:spcBef>
              <a:spcAft>
                <a:spcPct val="0"/>
              </a:spcAft>
              <a:defRPr/>
            </a:pPr>
            <a:endParaRPr lang="en-US" altLang="zh-CN">
              <a:effectLst>
                <a:outerShdw blurRad="38100" dist="38100" dir="2700000" algn="tl">
                  <a:srgbClr val="000000">
                    <a:alpha val="43137"/>
                  </a:srgbClr>
                </a:outerShdw>
              </a:effectLst>
            </a:endParaRPr>
          </a:p>
        </p:txBody>
      </p:sp>
      <p:sp>
        <p:nvSpPr>
          <p:cNvPr id="8" name="灯片编号占位符 7"/>
          <p:cNvSpPr>
            <a:spLocks noGrp="1"/>
          </p:cNvSpPr>
          <p:nvPr>
            <p:ph type="sldNum" sz="quarter" idx="11"/>
          </p:nvPr>
        </p:nvSpPr>
        <p:spPr>
          <a:xfrm>
            <a:off x="6553200" y="6245225"/>
            <a:ext cx="2133600" cy="476250"/>
          </a:xfrm>
          <a:prstGeom prst="rect">
            <a:avLst/>
          </a:prstGeom>
        </p:spPr>
        <p:txBody>
          <a:bodyPr lIns="91389" tIns="45694" rIns="91389" bIns="45694"/>
          <a:lstStyle>
            <a:lvl1pPr eaLnBrk="0" hangingPunct="0">
              <a:buSzPct val="100000"/>
              <a:buFont typeface="Times New Roman" pitchFamily="18" charset="0"/>
              <a:buNone/>
              <a:defRPr sz="3600">
                <a:solidFill>
                  <a:srgbClr val="1C1C1C"/>
                </a:solidFill>
                <a:latin typeface="Arial" charset="0"/>
                <a:ea typeface="宋体" pitchFamily="2" charset="-122"/>
              </a:defRPr>
            </a:lvl1pPr>
          </a:lstStyle>
          <a:p>
            <a:pPr fontAlgn="base">
              <a:spcBef>
                <a:spcPct val="0"/>
              </a:spcBef>
              <a:spcAft>
                <a:spcPct val="0"/>
              </a:spcAft>
              <a:defRPr/>
            </a:pPr>
            <a:fld id="{47EF210E-BAFB-471A-9AC3-E9A0AD1EA6EA}" type="slidenum">
              <a:rPr lang="en-US" altLang="zh-CN">
                <a:effectLst>
                  <a:outerShdw blurRad="38100" dist="38100" dir="2700000" algn="tl">
                    <a:srgbClr val="000000">
                      <a:alpha val="43137"/>
                    </a:srgbClr>
                  </a:outerShdw>
                </a:effectLst>
              </a:rPr>
              <a:pPr fontAlgn="base">
                <a:spcBef>
                  <a:spcPct val="0"/>
                </a:spcBef>
                <a:spcAft>
                  <a:spcPct val="0"/>
                </a:spcAft>
                <a:defRPr/>
              </a:pPr>
              <a:t>‹#›</a:t>
            </a:fld>
            <a:endParaRPr lang="en-US" altLang="zh-CN">
              <a:effectLst>
                <a:outerShdw blurRad="38100" dist="38100" dir="2700000" algn="tl">
                  <a:srgbClr val="000000">
                    <a:alpha val="43137"/>
                  </a:srgbClr>
                </a:outerShdw>
              </a:effectLst>
            </a:endParaRPr>
          </a:p>
        </p:txBody>
      </p:sp>
      <p:sp>
        <p:nvSpPr>
          <p:cNvPr id="9" name="日期占位符 8"/>
          <p:cNvSpPr>
            <a:spLocks noGrp="1"/>
          </p:cNvSpPr>
          <p:nvPr>
            <p:ph type="dt" sz="half" idx="12"/>
          </p:nvPr>
        </p:nvSpPr>
        <p:spPr>
          <a:xfrm>
            <a:off x="457200" y="6245225"/>
            <a:ext cx="2133600" cy="476250"/>
          </a:xfrm>
          <a:prstGeom prst="rect">
            <a:avLst/>
          </a:prstGeom>
        </p:spPr>
        <p:txBody>
          <a:bodyPr lIns="91389" tIns="45694" rIns="91389" bIns="45694"/>
          <a:lstStyle>
            <a:lvl1pPr eaLnBrk="0" hangingPunct="0">
              <a:buSzPct val="100000"/>
              <a:buFont typeface="Times New Roman" pitchFamily="18" charset="0"/>
              <a:buNone/>
              <a:defRPr sz="3600">
                <a:solidFill>
                  <a:srgbClr val="1C1C1C"/>
                </a:solidFill>
                <a:latin typeface="Arial" charset="0"/>
                <a:ea typeface="宋体" pitchFamily="2" charset="-122"/>
              </a:defRPr>
            </a:lvl1pPr>
          </a:lstStyle>
          <a:p>
            <a:pPr fontAlgn="base">
              <a:spcBef>
                <a:spcPct val="0"/>
              </a:spcBef>
              <a:spcAft>
                <a:spcPct val="0"/>
              </a:spcAft>
              <a:defRPr/>
            </a:pPr>
            <a:endParaRPr lang="en-US" altLang="zh-CN">
              <a:effectLst>
                <a:outerShdw blurRad="38100" dist="38100" dir="2700000" algn="tl">
                  <a:srgbClr val="000000">
                    <a:alpha val="43137"/>
                  </a:srgbClr>
                </a:outerShdw>
              </a:effectLst>
            </a:endParaRPr>
          </a:p>
        </p:txBody>
      </p:sp>
    </p:spTree>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a:xfrm>
            <a:off x="328613" y="42867"/>
            <a:ext cx="8335962" cy="862012"/>
          </a:xfrm>
          <a:prstGeom prst="rect">
            <a:avLst/>
          </a:prstGeom>
        </p:spPr>
        <p:txBody>
          <a:bodyPr lIns="91389" tIns="45694" rIns="91389" bIns="45694"/>
          <a:lstStyle/>
          <a:p>
            <a:r>
              <a:rPr lang="zh-CN" altLang="en-US" smtClean="0"/>
              <a:t>单击此处编辑母版标题样式</a:t>
            </a:r>
            <a:endParaRPr lang="zh-CN" altLang="en-US"/>
          </a:p>
        </p:txBody>
      </p:sp>
      <p:sp>
        <p:nvSpPr>
          <p:cNvPr id="3" name="页脚占位符 2"/>
          <p:cNvSpPr>
            <a:spLocks noGrp="1"/>
          </p:cNvSpPr>
          <p:nvPr>
            <p:ph type="ftr" sz="quarter" idx="10"/>
          </p:nvPr>
        </p:nvSpPr>
        <p:spPr>
          <a:xfrm>
            <a:off x="3124200" y="6245225"/>
            <a:ext cx="2895600" cy="476250"/>
          </a:xfrm>
          <a:prstGeom prst="rect">
            <a:avLst/>
          </a:prstGeom>
        </p:spPr>
        <p:txBody>
          <a:bodyPr lIns="91389" tIns="45694" rIns="91389" bIns="45694"/>
          <a:lstStyle>
            <a:lvl1pPr eaLnBrk="0" hangingPunct="0">
              <a:buSzPct val="100000"/>
              <a:buFont typeface="Times New Roman" pitchFamily="18" charset="0"/>
              <a:buNone/>
              <a:defRPr sz="3600">
                <a:solidFill>
                  <a:srgbClr val="1C1C1C"/>
                </a:solidFill>
                <a:latin typeface="Arial" charset="0"/>
                <a:ea typeface="宋体" pitchFamily="2" charset="-122"/>
              </a:defRPr>
            </a:lvl1pPr>
          </a:lstStyle>
          <a:p>
            <a:pPr fontAlgn="base">
              <a:spcBef>
                <a:spcPct val="0"/>
              </a:spcBef>
              <a:spcAft>
                <a:spcPct val="0"/>
              </a:spcAft>
              <a:defRPr/>
            </a:pPr>
            <a:endParaRPr lang="en-US" altLang="zh-CN">
              <a:effectLst>
                <a:outerShdw blurRad="38100" dist="38100" dir="2700000" algn="tl">
                  <a:srgbClr val="000000">
                    <a:alpha val="43137"/>
                  </a:srgbClr>
                </a:outerShdw>
              </a:effectLst>
            </a:endParaRPr>
          </a:p>
        </p:txBody>
      </p:sp>
      <p:sp>
        <p:nvSpPr>
          <p:cNvPr id="4" name="灯片编号占位符 3"/>
          <p:cNvSpPr>
            <a:spLocks noGrp="1"/>
          </p:cNvSpPr>
          <p:nvPr>
            <p:ph type="sldNum" sz="quarter" idx="11"/>
          </p:nvPr>
        </p:nvSpPr>
        <p:spPr>
          <a:xfrm>
            <a:off x="6553200" y="6245225"/>
            <a:ext cx="2133600" cy="476250"/>
          </a:xfrm>
          <a:prstGeom prst="rect">
            <a:avLst/>
          </a:prstGeom>
        </p:spPr>
        <p:txBody>
          <a:bodyPr lIns="91389" tIns="45694" rIns="91389" bIns="45694"/>
          <a:lstStyle>
            <a:lvl1pPr eaLnBrk="0" hangingPunct="0">
              <a:buSzPct val="100000"/>
              <a:buFont typeface="Times New Roman" pitchFamily="18" charset="0"/>
              <a:buNone/>
              <a:defRPr sz="3600">
                <a:solidFill>
                  <a:srgbClr val="1C1C1C"/>
                </a:solidFill>
                <a:latin typeface="Arial" charset="0"/>
                <a:ea typeface="宋体" pitchFamily="2" charset="-122"/>
              </a:defRPr>
            </a:lvl1pPr>
          </a:lstStyle>
          <a:p>
            <a:pPr fontAlgn="base">
              <a:spcBef>
                <a:spcPct val="0"/>
              </a:spcBef>
              <a:spcAft>
                <a:spcPct val="0"/>
              </a:spcAft>
              <a:defRPr/>
            </a:pPr>
            <a:fld id="{0F1FC82B-1643-453B-B6E0-3CC97310CF7B}" type="slidenum">
              <a:rPr lang="en-US" altLang="zh-CN">
                <a:effectLst>
                  <a:outerShdw blurRad="38100" dist="38100" dir="2700000" algn="tl">
                    <a:srgbClr val="000000">
                      <a:alpha val="43137"/>
                    </a:srgbClr>
                  </a:outerShdw>
                </a:effectLst>
              </a:rPr>
              <a:pPr fontAlgn="base">
                <a:spcBef>
                  <a:spcPct val="0"/>
                </a:spcBef>
                <a:spcAft>
                  <a:spcPct val="0"/>
                </a:spcAft>
                <a:defRPr/>
              </a:pPr>
              <a:t>‹#›</a:t>
            </a:fld>
            <a:endParaRPr lang="en-US" altLang="zh-CN">
              <a:effectLst>
                <a:outerShdw blurRad="38100" dist="38100" dir="2700000" algn="tl">
                  <a:srgbClr val="000000">
                    <a:alpha val="43137"/>
                  </a:srgbClr>
                </a:outerShdw>
              </a:effectLst>
            </a:endParaRPr>
          </a:p>
        </p:txBody>
      </p:sp>
      <p:sp>
        <p:nvSpPr>
          <p:cNvPr id="5" name="日期占位符 4"/>
          <p:cNvSpPr>
            <a:spLocks noGrp="1"/>
          </p:cNvSpPr>
          <p:nvPr>
            <p:ph type="dt" sz="half" idx="12"/>
          </p:nvPr>
        </p:nvSpPr>
        <p:spPr>
          <a:xfrm>
            <a:off x="457200" y="6245225"/>
            <a:ext cx="2133600" cy="476250"/>
          </a:xfrm>
          <a:prstGeom prst="rect">
            <a:avLst/>
          </a:prstGeom>
        </p:spPr>
        <p:txBody>
          <a:bodyPr lIns="91389" tIns="45694" rIns="91389" bIns="45694"/>
          <a:lstStyle>
            <a:lvl1pPr eaLnBrk="0" hangingPunct="0">
              <a:buSzPct val="100000"/>
              <a:buFont typeface="Times New Roman" pitchFamily="18" charset="0"/>
              <a:buNone/>
              <a:defRPr sz="3600">
                <a:solidFill>
                  <a:srgbClr val="1C1C1C"/>
                </a:solidFill>
                <a:latin typeface="Arial" charset="0"/>
                <a:ea typeface="宋体" pitchFamily="2" charset="-122"/>
              </a:defRPr>
            </a:lvl1pPr>
          </a:lstStyle>
          <a:p>
            <a:pPr fontAlgn="base">
              <a:spcBef>
                <a:spcPct val="0"/>
              </a:spcBef>
              <a:spcAft>
                <a:spcPct val="0"/>
              </a:spcAft>
              <a:defRPr/>
            </a:pPr>
            <a:endParaRPr lang="en-US" altLang="zh-CN">
              <a:effectLst>
                <a:outerShdw blurRad="38100" dist="38100" dir="2700000" algn="tl">
                  <a:srgbClr val="000000">
                    <a:alpha val="43137"/>
                  </a:srgbClr>
                </a:outerShdw>
              </a:effectLst>
            </a:endParaRPr>
          </a:p>
        </p:txBody>
      </p:sp>
    </p:spTree>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页脚占位符 1"/>
          <p:cNvSpPr>
            <a:spLocks noGrp="1"/>
          </p:cNvSpPr>
          <p:nvPr>
            <p:ph type="ftr" sz="quarter" idx="10"/>
          </p:nvPr>
        </p:nvSpPr>
        <p:spPr>
          <a:xfrm>
            <a:off x="3124200" y="6245225"/>
            <a:ext cx="2895600" cy="476250"/>
          </a:xfrm>
          <a:prstGeom prst="rect">
            <a:avLst/>
          </a:prstGeom>
        </p:spPr>
        <p:txBody>
          <a:bodyPr lIns="91389" tIns="45694" rIns="91389" bIns="45694"/>
          <a:lstStyle>
            <a:lvl1pPr eaLnBrk="0" hangingPunct="0">
              <a:buSzPct val="100000"/>
              <a:buFont typeface="Times New Roman" pitchFamily="18" charset="0"/>
              <a:buNone/>
              <a:defRPr sz="3600">
                <a:solidFill>
                  <a:srgbClr val="1C1C1C"/>
                </a:solidFill>
                <a:latin typeface="Arial" charset="0"/>
                <a:ea typeface="宋体" pitchFamily="2" charset="-122"/>
              </a:defRPr>
            </a:lvl1pPr>
          </a:lstStyle>
          <a:p>
            <a:pPr fontAlgn="base">
              <a:spcBef>
                <a:spcPct val="0"/>
              </a:spcBef>
              <a:spcAft>
                <a:spcPct val="0"/>
              </a:spcAft>
              <a:defRPr/>
            </a:pPr>
            <a:endParaRPr lang="en-US" altLang="zh-CN">
              <a:effectLst>
                <a:outerShdw blurRad="38100" dist="38100" dir="2700000" algn="tl">
                  <a:srgbClr val="000000">
                    <a:alpha val="43137"/>
                  </a:srgbClr>
                </a:outerShdw>
              </a:effectLst>
            </a:endParaRPr>
          </a:p>
        </p:txBody>
      </p:sp>
      <p:sp>
        <p:nvSpPr>
          <p:cNvPr id="3" name="灯片编号占位符 2"/>
          <p:cNvSpPr>
            <a:spLocks noGrp="1"/>
          </p:cNvSpPr>
          <p:nvPr>
            <p:ph type="sldNum" sz="quarter" idx="11"/>
          </p:nvPr>
        </p:nvSpPr>
        <p:spPr>
          <a:xfrm>
            <a:off x="6400800" y="5410200"/>
            <a:ext cx="2133600" cy="476250"/>
          </a:xfrm>
          <a:prstGeom prst="rect">
            <a:avLst/>
          </a:prstGeom>
        </p:spPr>
        <p:txBody>
          <a:bodyPr lIns="91389" tIns="45694" rIns="91389" bIns="45694"/>
          <a:lstStyle>
            <a:lvl1pPr eaLnBrk="0" hangingPunct="0">
              <a:buSzPct val="100000"/>
              <a:buFont typeface="Times New Roman" pitchFamily="18" charset="0"/>
              <a:buNone/>
              <a:defRPr sz="3600">
                <a:solidFill>
                  <a:srgbClr val="1C1C1C"/>
                </a:solidFill>
                <a:latin typeface="Arial" charset="0"/>
                <a:ea typeface="宋体" pitchFamily="2" charset="-122"/>
              </a:defRPr>
            </a:lvl1pPr>
          </a:lstStyle>
          <a:p>
            <a:pPr fontAlgn="base">
              <a:spcBef>
                <a:spcPct val="0"/>
              </a:spcBef>
              <a:spcAft>
                <a:spcPct val="0"/>
              </a:spcAft>
              <a:defRPr/>
            </a:pPr>
            <a:fld id="{7841F77C-1E44-4CA9-8AA7-4999F3065A66}" type="slidenum">
              <a:rPr lang="en-US" altLang="zh-CN">
                <a:effectLst>
                  <a:outerShdw blurRad="38100" dist="38100" dir="2700000" algn="tl">
                    <a:srgbClr val="000000">
                      <a:alpha val="43137"/>
                    </a:srgbClr>
                  </a:outerShdw>
                </a:effectLst>
              </a:rPr>
              <a:pPr fontAlgn="base">
                <a:spcBef>
                  <a:spcPct val="0"/>
                </a:spcBef>
                <a:spcAft>
                  <a:spcPct val="0"/>
                </a:spcAft>
                <a:defRPr/>
              </a:pPr>
              <a:t>‹#›</a:t>
            </a:fld>
            <a:endParaRPr lang="en-US" altLang="zh-CN">
              <a:effectLst>
                <a:outerShdw blurRad="38100" dist="38100" dir="2700000" algn="tl">
                  <a:srgbClr val="000000">
                    <a:alpha val="43137"/>
                  </a:srgbClr>
                </a:outerShdw>
              </a:effectLst>
            </a:endParaRPr>
          </a:p>
        </p:txBody>
      </p:sp>
      <p:sp>
        <p:nvSpPr>
          <p:cNvPr id="4" name="日期占位符 3"/>
          <p:cNvSpPr>
            <a:spLocks noGrp="1"/>
          </p:cNvSpPr>
          <p:nvPr>
            <p:ph type="dt" sz="half" idx="12"/>
          </p:nvPr>
        </p:nvSpPr>
        <p:spPr>
          <a:xfrm>
            <a:off x="457200" y="6245225"/>
            <a:ext cx="2133600" cy="476250"/>
          </a:xfrm>
          <a:prstGeom prst="rect">
            <a:avLst/>
          </a:prstGeom>
        </p:spPr>
        <p:txBody>
          <a:bodyPr lIns="91389" tIns="45694" rIns="91389" bIns="45694"/>
          <a:lstStyle>
            <a:lvl1pPr eaLnBrk="0" hangingPunct="0">
              <a:buSzPct val="100000"/>
              <a:buFont typeface="Times New Roman" pitchFamily="18" charset="0"/>
              <a:buNone/>
              <a:defRPr sz="3600">
                <a:solidFill>
                  <a:srgbClr val="1C1C1C"/>
                </a:solidFill>
                <a:latin typeface="Arial" charset="0"/>
                <a:ea typeface="宋体" pitchFamily="2" charset="-122"/>
              </a:defRPr>
            </a:lvl1pPr>
          </a:lstStyle>
          <a:p>
            <a:pPr fontAlgn="base">
              <a:spcBef>
                <a:spcPct val="0"/>
              </a:spcBef>
              <a:spcAft>
                <a:spcPct val="0"/>
              </a:spcAft>
              <a:defRPr/>
            </a:pPr>
            <a:endParaRPr lang="en-US" altLang="zh-CN">
              <a:effectLst>
                <a:outerShdw blurRad="38100" dist="38100" dir="2700000" algn="tl">
                  <a:srgbClr val="000000">
                    <a:alpha val="43137"/>
                  </a:srgbClr>
                </a:outerShdw>
              </a:effectLst>
            </a:endParaRPr>
          </a:p>
        </p:txBody>
      </p:sp>
    </p:spTree>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457219" y="273053"/>
            <a:ext cx="3008313" cy="1162051"/>
          </a:xfrm>
          <a:prstGeom prst="rect">
            <a:avLst/>
          </a:prstGeom>
        </p:spPr>
        <p:txBody>
          <a:bodyPr lIns="91389" tIns="45694" rIns="91389" bIns="45694" anchor="b"/>
          <a:lstStyle>
            <a:lvl1pPr algn="l">
              <a:defRPr sz="2000" b="1"/>
            </a:lvl1pPr>
          </a:lstStyle>
          <a:p>
            <a:r>
              <a:rPr lang="zh-CN" altLang="en-US" smtClean="0"/>
              <a:t>单击此处编辑母版标题样式</a:t>
            </a:r>
            <a:endParaRPr lang="zh-CN" altLang="en-US"/>
          </a:p>
        </p:txBody>
      </p:sp>
      <p:sp>
        <p:nvSpPr>
          <p:cNvPr id="3" name="内容占位符 2"/>
          <p:cNvSpPr>
            <a:spLocks noGrp="1"/>
          </p:cNvSpPr>
          <p:nvPr>
            <p:ph idx="1"/>
          </p:nvPr>
        </p:nvSpPr>
        <p:spPr>
          <a:xfrm>
            <a:off x="3575050" y="273077"/>
            <a:ext cx="5111750" cy="5853115"/>
          </a:xfrm>
        </p:spPr>
        <p:txBody>
          <a:bodyPr/>
          <a:lstStyle>
            <a:lvl1pPr>
              <a:defRPr sz="3200"/>
            </a:lvl1pPr>
            <a:lvl2pPr>
              <a:defRPr sz="2800"/>
            </a:lvl2pPr>
            <a:lvl3pPr>
              <a:defRPr sz="2500"/>
            </a:lvl3pPr>
            <a:lvl4pPr>
              <a:defRPr sz="2000"/>
            </a:lvl4pPr>
            <a:lvl5pPr>
              <a:defRPr sz="2000"/>
            </a:lvl5pPr>
            <a:lvl6pPr>
              <a:defRPr sz="2000"/>
            </a:lvl6pPr>
            <a:lvl7pPr>
              <a:defRPr sz="2000"/>
            </a:lvl7pPr>
            <a:lvl8pPr>
              <a:defRPr sz="2000"/>
            </a:lvl8pPr>
            <a:lvl9pPr>
              <a:defRPr sz="20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文本占位符 3"/>
          <p:cNvSpPr>
            <a:spLocks noGrp="1"/>
          </p:cNvSpPr>
          <p:nvPr>
            <p:ph type="body" sz="half" idx="2"/>
          </p:nvPr>
        </p:nvSpPr>
        <p:spPr>
          <a:xfrm>
            <a:off x="457219" y="1435109"/>
            <a:ext cx="3008313" cy="4691063"/>
          </a:xfrm>
        </p:spPr>
        <p:txBody>
          <a:bodyPr/>
          <a:lstStyle>
            <a:lvl1pPr marL="0" indent="0">
              <a:buNone/>
              <a:defRPr sz="1400"/>
            </a:lvl1pPr>
            <a:lvl2pPr marL="456945" indent="0">
              <a:buNone/>
              <a:defRPr sz="1200"/>
            </a:lvl2pPr>
            <a:lvl3pPr marL="913890" indent="0">
              <a:buNone/>
              <a:defRPr sz="1000"/>
            </a:lvl3pPr>
            <a:lvl4pPr marL="1370836" indent="0">
              <a:buNone/>
              <a:defRPr sz="900"/>
            </a:lvl4pPr>
            <a:lvl5pPr marL="1827781" indent="0">
              <a:buNone/>
              <a:defRPr sz="900"/>
            </a:lvl5pPr>
            <a:lvl6pPr marL="2284726" indent="0">
              <a:buNone/>
              <a:defRPr sz="900"/>
            </a:lvl6pPr>
            <a:lvl7pPr marL="2741672" indent="0">
              <a:buNone/>
              <a:defRPr sz="900"/>
            </a:lvl7pPr>
            <a:lvl8pPr marL="3198616" indent="0">
              <a:buNone/>
              <a:defRPr sz="900"/>
            </a:lvl8pPr>
            <a:lvl9pPr marL="3655563" indent="0">
              <a:buNone/>
              <a:defRPr sz="900"/>
            </a:lvl9pPr>
          </a:lstStyle>
          <a:p>
            <a:pPr lvl="0"/>
            <a:r>
              <a:rPr lang="zh-CN" altLang="en-US" smtClean="0"/>
              <a:t>单击此处编辑母版文本样式</a:t>
            </a:r>
          </a:p>
        </p:txBody>
      </p:sp>
      <p:sp>
        <p:nvSpPr>
          <p:cNvPr id="5" name="页脚占位符 4"/>
          <p:cNvSpPr>
            <a:spLocks noGrp="1"/>
          </p:cNvSpPr>
          <p:nvPr>
            <p:ph type="ftr" sz="quarter" idx="10"/>
          </p:nvPr>
        </p:nvSpPr>
        <p:spPr>
          <a:xfrm>
            <a:off x="3124200" y="6245225"/>
            <a:ext cx="2895600" cy="476250"/>
          </a:xfrm>
          <a:prstGeom prst="rect">
            <a:avLst/>
          </a:prstGeom>
        </p:spPr>
        <p:txBody>
          <a:bodyPr lIns="91389" tIns="45694" rIns="91389" bIns="45694"/>
          <a:lstStyle>
            <a:lvl1pPr eaLnBrk="0" hangingPunct="0">
              <a:buSzPct val="100000"/>
              <a:buFont typeface="Times New Roman" pitchFamily="18" charset="0"/>
              <a:buNone/>
              <a:defRPr sz="3600">
                <a:solidFill>
                  <a:srgbClr val="1C1C1C"/>
                </a:solidFill>
                <a:latin typeface="Arial" charset="0"/>
                <a:ea typeface="宋体" pitchFamily="2" charset="-122"/>
              </a:defRPr>
            </a:lvl1pPr>
          </a:lstStyle>
          <a:p>
            <a:pPr fontAlgn="base">
              <a:spcBef>
                <a:spcPct val="0"/>
              </a:spcBef>
              <a:spcAft>
                <a:spcPct val="0"/>
              </a:spcAft>
              <a:defRPr/>
            </a:pPr>
            <a:endParaRPr lang="en-US" altLang="zh-CN">
              <a:effectLst>
                <a:outerShdw blurRad="38100" dist="38100" dir="2700000" algn="tl">
                  <a:srgbClr val="000000">
                    <a:alpha val="43137"/>
                  </a:srgbClr>
                </a:outerShdw>
              </a:effectLst>
            </a:endParaRPr>
          </a:p>
        </p:txBody>
      </p:sp>
      <p:sp>
        <p:nvSpPr>
          <p:cNvPr id="6" name="灯片编号占位符 5"/>
          <p:cNvSpPr>
            <a:spLocks noGrp="1"/>
          </p:cNvSpPr>
          <p:nvPr>
            <p:ph type="sldNum" sz="quarter" idx="11"/>
          </p:nvPr>
        </p:nvSpPr>
        <p:spPr>
          <a:xfrm>
            <a:off x="6553200" y="6245225"/>
            <a:ext cx="2133600" cy="476250"/>
          </a:xfrm>
          <a:prstGeom prst="rect">
            <a:avLst/>
          </a:prstGeom>
        </p:spPr>
        <p:txBody>
          <a:bodyPr lIns="91389" tIns="45694" rIns="91389" bIns="45694"/>
          <a:lstStyle>
            <a:lvl1pPr eaLnBrk="0" hangingPunct="0">
              <a:buSzPct val="100000"/>
              <a:buFont typeface="Times New Roman" pitchFamily="18" charset="0"/>
              <a:buNone/>
              <a:defRPr sz="3600">
                <a:solidFill>
                  <a:srgbClr val="1C1C1C"/>
                </a:solidFill>
                <a:latin typeface="Arial" charset="0"/>
                <a:ea typeface="宋体" pitchFamily="2" charset="-122"/>
              </a:defRPr>
            </a:lvl1pPr>
          </a:lstStyle>
          <a:p>
            <a:pPr fontAlgn="base">
              <a:spcBef>
                <a:spcPct val="0"/>
              </a:spcBef>
              <a:spcAft>
                <a:spcPct val="0"/>
              </a:spcAft>
              <a:defRPr/>
            </a:pPr>
            <a:fld id="{5093D7E6-CB57-42BD-8147-DDA3312D94EE}" type="slidenum">
              <a:rPr lang="en-US" altLang="zh-CN">
                <a:effectLst>
                  <a:outerShdw blurRad="38100" dist="38100" dir="2700000" algn="tl">
                    <a:srgbClr val="000000">
                      <a:alpha val="43137"/>
                    </a:srgbClr>
                  </a:outerShdw>
                </a:effectLst>
              </a:rPr>
              <a:pPr fontAlgn="base">
                <a:spcBef>
                  <a:spcPct val="0"/>
                </a:spcBef>
                <a:spcAft>
                  <a:spcPct val="0"/>
                </a:spcAft>
                <a:defRPr/>
              </a:pPr>
              <a:t>‹#›</a:t>
            </a:fld>
            <a:endParaRPr lang="en-US" altLang="zh-CN">
              <a:effectLst>
                <a:outerShdw blurRad="38100" dist="38100" dir="2700000" algn="tl">
                  <a:srgbClr val="000000">
                    <a:alpha val="43137"/>
                  </a:srgbClr>
                </a:outerShdw>
              </a:effectLst>
            </a:endParaRPr>
          </a:p>
        </p:txBody>
      </p:sp>
      <p:sp>
        <p:nvSpPr>
          <p:cNvPr id="7" name="日期占位符 6"/>
          <p:cNvSpPr>
            <a:spLocks noGrp="1"/>
          </p:cNvSpPr>
          <p:nvPr>
            <p:ph type="dt" sz="half" idx="12"/>
          </p:nvPr>
        </p:nvSpPr>
        <p:spPr>
          <a:xfrm>
            <a:off x="457200" y="6245225"/>
            <a:ext cx="2133600" cy="476250"/>
          </a:xfrm>
          <a:prstGeom prst="rect">
            <a:avLst/>
          </a:prstGeom>
        </p:spPr>
        <p:txBody>
          <a:bodyPr lIns="91389" tIns="45694" rIns="91389" bIns="45694"/>
          <a:lstStyle>
            <a:lvl1pPr eaLnBrk="0" hangingPunct="0">
              <a:buSzPct val="100000"/>
              <a:buFont typeface="Times New Roman" pitchFamily="18" charset="0"/>
              <a:buNone/>
              <a:defRPr sz="3600">
                <a:solidFill>
                  <a:srgbClr val="1C1C1C"/>
                </a:solidFill>
                <a:latin typeface="Arial" charset="0"/>
                <a:ea typeface="宋体" pitchFamily="2" charset="-122"/>
              </a:defRPr>
            </a:lvl1pPr>
          </a:lstStyle>
          <a:p>
            <a:pPr fontAlgn="base">
              <a:spcBef>
                <a:spcPct val="0"/>
              </a:spcBef>
              <a:spcAft>
                <a:spcPct val="0"/>
              </a:spcAft>
              <a:defRPr/>
            </a:pPr>
            <a:endParaRPr lang="en-US" altLang="zh-CN">
              <a:effectLst>
                <a:outerShdw blurRad="38100" dist="38100" dir="2700000" algn="tl">
                  <a:srgbClr val="000000">
                    <a:alpha val="43137"/>
                  </a:srgbClr>
                </a:outerShdw>
              </a:effectLst>
            </a:endParaRPr>
          </a:p>
        </p:txBody>
      </p:sp>
    </p:spTree>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1792288" y="4800607"/>
            <a:ext cx="5486400" cy="566739"/>
          </a:xfrm>
          <a:prstGeom prst="rect">
            <a:avLst/>
          </a:prstGeom>
        </p:spPr>
        <p:txBody>
          <a:bodyPr lIns="91389" tIns="45694" rIns="91389" bIns="45694" anchor="b"/>
          <a:lstStyle>
            <a:lvl1pPr algn="l">
              <a:defRPr sz="2000" b="1"/>
            </a:lvl1pPr>
          </a:lstStyle>
          <a:p>
            <a:r>
              <a:rPr lang="zh-CN" altLang="en-US" smtClean="0"/>
              <a:t>单击此处编辑母版标题样式</a:t>
            </a:r>
            <a:endParaRPr lang="zh-CN" altLang="en-US"/>
          </a:p>
        </p:txBody>
      </p:sp>
      <p:sp>
        <p:nvSpPr>
          <p:cNvPr id="3" name="图片占位符 2"/>
          <p:cNvSpPr>
            <a:spLocks noGrp="1"/>
          </p:cNvSpPr>
          <p:nvPr>
            <p:ph type="pic" idx="1"/>
          </p:nvPr>
        </p:nvSpPr>
        <p:spPr>
          <a:xfrm>
            <a:off x="1792288" y="612775"/>
            <a:ext cx="5486400" cy="4114800"/>
          </a:xfrm>
        </p:spPr>
        <p:txBody>
          <a:bodyPr/>
          <a:lstStyle>
            <a:lvl1pPr marL="0" indent="0">
              <a:buNone/>
              <a:defRPr sz="3200"/>
            </a:lvl1pPr>
            <a:lvl2pPr marL="456945" indent="0">
              <a:buNone/>
              <a:defRPr sz="2800"/>
            </a:lvl2pPr>
            <a:lvl3pPr marL="913890" indent="0">
              <a:buNone/>
              <a:defRPr sz="2500"/>
            </a:lvl3pPr>
            <a:lvl4pPr marL="1370836" indent="0">
              <a:buNone/>
              <a:defRPr sz="2000"/>
            </a:lvl4pPr>
            <a:lvl5pPr marL="1827781" indent="0">
              <a:buNone/>
              <a:defRPr sz="2000"/>
            </a:lvl5pPr>
            <a:lvl6pPr marL="2284726" indent="0">
              <a:buNone/>
              <a:defRPr sz="2000"/>
            </a:lvl6pPr>
            <a:lvl7pPr marL="2741672" indent="0">
              <a:buNone/>
              <a:defRPr sz="2000"/>
            </a:lvl7pPr>
            <a:lvl8pPr marL="3198616" indent="0">
              <a:buNone/>
              <a:defRPr sz="2000"/>
            </a:lvl8pPr>
            <a:lvl9pPr marL="3655563" indent="0">
              <a:buNone/>
              <a:defRPr sz="2000"/>
            </a:lvl9pPr>
          </a:lstStyle>
          <a:p>
            <a:pPr lvl="0"/>
            <a:endParaRPr lang="zh-CN" altLang="en-US" noProof="0"/>
          </a:p>
        </p:txBody>
      </p:sp>
      <p:sp>
        <p:nvSpPr>
          <p:cNvPr id="4" name="文本占位符 3"/>
          <p:cNvSpPr>
            <a:spLocks noGrp="1"/>
          </p:cNvSpPr>
          <p:nvPr>
            <p:ph type="body" sz="half" idx="2"/>
          </p:nvPr>
        </p:nvSpPr>
        <p:spPr>
          <a:xfrm>
            <a:off x="1792288" y="5367369"/>
            <a:ext cx="5486400" cy="804863"/>
          </a:xfrm>
        </p:spPr>
        <p:txBody>
          <a:bodyPr/>
          <a:lstStyle>
            <a:lvl1pPr marL="0" indent="0">
              <a:buNone/>
              <a:defRPr sz="1400"/>
            </a:lvl1pPr>
            <a:lvl2pPr marL="456945" indent="0">
              <a:buNone/>
              <a:defRPr sz="1200"/>
            </a:lvl2pPr>
            <a:lvl3pPr marL="913890" indent="0">
              <a:buNone/>
              <a:defRPr sz="1000"/>
            </a:lvl3pPr>
            <a:lvl4pPr marL="1370836" indent="0">
              <a:buNone/>
              <a:defRPr sz="900"/>
            </a:lvl4pPr>
            <a:lvl5pPr marL="1827781" indent="0">
              <a:buNone/>
              <a:defRPr sz="900"/>
            </a:lvl5pPr>
            <a:lvl6pPr marL="2284726" indent="0">
              <a:buNone/>
              <a:defRPr sz="900"/>
            </a:lvl6pPr>
            <a:lvl7pPr marL="2741672" indent="0">
              <a:buNone/>
              <a:defRPr sz="900"/>
            </a:lvl7pPr>
            <a:lvl8pPr marL="3198616" indent="0">
              <a:buNone/>
              <a:defRPr sz="900"/>
            </a:lvl8pPr>
            <a:lvl9pPr marL="3655563" indent="0">
              <a:buNone/>
              <a:defRPr sz="900"/>
            </a:lvl9pPr>
          </a:lstStyle>
          <a:p>
            <a:pPr lvl="0"/>
            <a:r>
              <a:rPr lang="zh-CN" altLang="en-US" smtClean="0"/>
              <a:t>单击此处编辑母版文本样式</a:t>
            </a:r>
          </a:p>
        </p:txBody>
      </p:sp>
      <p:sp>
        <p:nvSpPr>
          <p:cNvPr id="5" name="页脚占位符 4"/>
          <p:cNvSpPr>
            <a:spLocks noGrp="1"/>
          </p:cNvSpPr>
          <p:nvPr>
            <p:ph type="ftr" sz="quarter" idx="10"/>
          </p:nvPr>
        </p:nvSpPr>
        <p:spPr>
          <a:xfrm>
            <a:off x="3124200" y="6245225"/>
            <a:ext cx="2895600" cy="476250"/>
          </a:xfrm>
          <a:prstGeom prst="rect">
            <a:avLst/>
          </a:prstGeom>
        </p:spPr>
        <p:txBody>
          <a:bodyPr lIns="91389" tIns="45694" rIns="91389" bIns="45694"/>
          <a:lstStyle>
            <a:lvl1pPr eaLnBrk="0" hangingPunct="0">
              <a:buSzPct val="100000"/>
              <a:buFont typeface="Times New Roman" pitchFamily="18" charset="0"/>
              <a:buNone/>
              <a:defRPr sz="3600">
                <a:solidFill>
                  <a:srgbClr val="1C1C1C"/>
                </a:solidFill>
                <a:latin typeface="Arial" charset="0"/>
                <a:ea typeface="宋体" pitchFamily="2" charset="-122"/>
              </a:defRPr>
            </a:lvl1pPr>
          </a:lstStyle>
          <a:p>
            <a:pPr fontAlgn="base">
              <a:spcBef>
                <a:spcPct val="0"/>
              </a:spcBef>
              <a:spcAft>
                <a:spcPct val="0"/>
              </a:spcAft>
              <a:defRPr/>
            </a:pPr>
            <a:endParaRPr lang="en-US" altLang="zh-CN">
              <a:effectLst>
                <a:outerShdw blurRad="38100" dist="38100" dir="2700000" algn="tl">
                  <a:srgbClr val="000000">
                    <a:alpha val="43137"/>
                  </a:srgbClr>
                </a:outerShdw>
              </a:effectLst>
            </a:endParaRPr>
          </a:p>
        </p:txBody>
      </p:sp>
      <p:sp>
        <p:nvSpPr>
          <p:cNvPr id="6" name="灯片编号占位符 5"/>
          <p:cNvSpPr>
            <a:spLocks noGrp="1"/>
          </p:cNvSpPr>
          <p:nvPr>
            <p:ph type="sldNum" sz="quarter" idx="11"/>
          </p:nvPr>
        </p:nvSpPr>
        <p:spPr>
          <a:xfrm>
            <a:off x="6553200" y="6245225"/>
            <a:ext cx="2133600" cy="476250"/>
          </a:xfrm>
          <a:prstGeom prst="rect">
            <a:avLst/>
          </a:prstGeom>
        </p:spPr>
        <p:txBody>
          <a:bodyPr lIns="91389" tIns="45694" rIns="91389" bIns="45694"/>
          <a:lstStyle>
            <a:lvl1pPr eaLnBrk="0" hangingPunct="0">
              <a:buSzPct val="100000"/>
              <a:buFont typeface="Times New Roman" pitchFamily="18" charset="0"/>
              <a:buNone/>
              <a:defRPr sz="3600">
                <a:solidFill>
                  <a:srgbClr val="1C1C1C"/>
                </a:solidFill>
                <a:latin typeface="Arial" charset="0"/>
                <a:ea typeface="宋体" pitchFamily="2" charset="-122"/>
              </a:defRPr>
            </a:lvl1pPr>
          </a:lstStyle>
          <a:p>
            <a:pPr fontAlgn="base">
              <a:spcBef>
                <a:spcPct val="0"/>
              </a:spcBef>
              <a:spcAft>
                <a:spcPct val="0"/>
              </a:spcAft>
              <a:defRPr/>
            </a:pPr>
            <a:fld id="{B3B6C329-08C2-44F7-98D7-D676B98FEBC6}" type="slidenum">
              <a:rPr lang="en-US" altLang="zh-CN">
                <a:effectLst>
                  <a:outerShdw blurRad="38100" dist="38100" dir="2700000" algn="tl">
                    <a:srgbClr val="000000">
                      <a:alpha val="43137"/>
                    </a:srgbClr>
                  </a:outerShdw>
                </a:effectLst>
              </a:rPr>
              <a:pPr fontAlgn="base">
                <a:spcBef>
                  <a:spcPct val="0"/>
                </a:spcBef>
                <a:spcAft>
                  <a:spcPct val="0"/>
                </a:spcAft>
                <a:defRPr/>
              </a:pPr>
              <a:t>‹#›</a:t>
            </a:fld>
            <a:endParaRPr lang="en-US" altLang="zh-CN">
              <a:effectLst>
                <a:outerShdw blurRad="38100" dist="38100" dir="2700000" algn="tl">
                  <a:srgbClr val="000000">
                    <a:alpha val="43137"/>
                  </a:srgbClr>
                </a:outerShdw>
              </a:effectLst>
            </a:endParaRPr>
          </a:p>
        </p:txBody>
      </p:sp>
      <p:sp>
        <p:nvSpPr>
          <p:cNvPr id="7" name="日期占位符 6"/>
          <p:cNvSpPr>
            <a:spLocks noGrp="1"/>
          </p:cNvSpPr>
          <p:nvPr>
            <p:ph type="dt" sz="half" idx="12"/>
          </p:nvPr>
        </p:nvSpPr>
        <p:spPr>
          <a:xfrm>
            <a:off x="457200" y="6245225"/>
            <a:ext cx="2133600" cy="476250"/>
          </a:xfrm>
          <a:prstGeom prst="rect">
            <a:avLst/>
          </a:prstGeom>
        </p:spPr>
        <p:txBody>
          <a:bodyPr lIns="91389" tIns="45694" rIns="91389" bIns="45694"/>
          <a:lstStyle>
            <a:lvl1pPr eaLnBrk="0" hangingPunct="0">
              <a:buSzPct val="100000"/>
              <a:buFont typeface="Times New Roman" pitchFamily="18" charset="0"/>
              <a:buNone/>
              <a:defRPr sz="3600">
                <a:solidFill>
                  <a:srgbClr val="1C1C1C"/>
                </a:solidFill>
                <a:latin typeface="Arial" charset="0"/>
                <a:ea typeface="宋体" pitchFamily="2" charset="-122"/>
              </a:defRPr>
            </a:lvl1pPr>
          </a:lstStyle>
          <a:p>
            <a:pPr fontAlgn="base">
              <a:spcBef>
                <a:spcPct val="0"/>
              </a:spcBef>
              <a:spcAft>
                <a:spcPct val="0"/>
              </a:spcAft>
              <a:defRPr/>
            </a:pPr>
            <a:endParaRPr lang="en-US" altLang="zh-CN">
              <a:effectLst>
                <a:outerShdw blurRad="38100" dist="38100" dir="2700000" algn="tl">
                  <a:srgbClr val="000000">
                    <a:alpha val="43137"/>
                  </a:srgbClr>
                </a:outerShdw>
              </a:effectLst>
            </a:endParaRPr>
          </a:p>
        </p:txBody>
      </p:sp>
    </p:spTree>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a:xfrm>
            <a:off x="328613" y="42867"/>
            <a:ext cx="8335962" cy="862012"/>
          </a:xfrm>
          <a:prstGeom prst="rect">
            <a:avLst/>
          </a:prstGeom>
        </p:spPr>
        <p:txBody>
          <a:bodyPr lIns="91389" tIns="45694" rIns="91389" bIns="45694"/>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页脚占位符 3"/>
          <p:cNvSpPr>
            <a:spLocks noGrp="1"/>
          </p:cNvSpPr>
          <p:nvPr>
            <p:ph type="ftr" sz="quarter" idx="10"/>
          </p:nvPr>
        </p:nvSpPr>
        <p:spPr>
          <a:xfrm>
            <a:off x="3124200" y="6245225"/>
            <a:ext cx="2895600" cy="476250"/>
          </a:xfrm>
          <a:prstGeom prst="rect">
            <a:avLst/>
          </a:prstGeom>
        </p:spPr>
        <p:txBody>
          <a:bodyPr lIns="91389" tIns="45694" rIns="91389" bIns="45694"/>
          <a:lstStyle>
            <a:lvl1pPr eaLnBrk="0" hangingPunct="0">
              <a:buSzPct val="100000"/>
              <a:buFont typeface="Times New Roman" pitchFamily="18" charset="0"/>
              <a:buNone/>
              <a:defRPr sz="3600">
                <a:solidFill>
                  <a:srgbClr val="1C1C1C"/>
                </a:solidFill>
                <a:latin typeface="Arial" charset="0"/>
                <a:ea typeface="宋体" pitchFamily="2" charset="-122"/>
              </a:defRPr>
            </a:lvl1pPr>
          </a:lstStyle>
          <a:p>
            <a:pPr fontAlgn="base">
              <a:spcBef>
                <a:spcPct val="0"/>
              </a:spcBef>
              <a:spcAft>
                <a:spcPct val="0"/>
              </a:spcAft>
              <a:defRPr/>
            </a:pPr>
            <a:endParaRPr lang="en-US" altLang="zh-CN">
              <a:effectLst>
                <a:outerShdw blurRad="38100" dist="38100" dir="2700000" algn="tl">
                  <a:srgbClr val="000000">
                    <a:alpha val="43137"/>
                  </a:srgbClr>
                </a:outerShdw>
              </a:effectLst>
            </a:endParaRPr>
          </a:p>
        </p:txBody>
      </p:sp>
      <p:sp>
        <p:nvSpPr>
          <p:cNvPr id="5" name="灯片编号占位符 4"/>
          <p:cNvSpPr>
            <a:spLocks noGrp="1"/>
          </p:cNvSpPr>
          <p:nvPr>
            <p:ph type="sldNum" sz="quarter" idx="11"/>
          </p:nvPr>
        </p:nvSpPr>
        <p:spPr>
          <a:xfrm>
            <a:off x="6553200" y="6245225"/>
            <a:ext cx="2133600" cy="476250"/>
          </a:xfrm>
          <a:prstGeom prst="rect">
            <a:avLst/>
          </a:prstGeom>
        </p:spPr>
        <p:txBody>
          <a:bodyPr lIns="91389" tIns="45694" rIns="91389" bIns="45694"/>
          <a:lstStyle>
            <a:lvl1pPr eaLnBrk="0" hangingPunct="0">
              <a:buSzPct val="100000"/>
              <a:buFont typeface="Times New Roman" pitchFamily="18" charset="0"/>
              <a:buNone/>
              <a:defRPr sz="3600">
                <a:solidFill>
                  <a:srgbClr val="1C1C1C"/>
                </a:solidFill>
                <a:latin typeface="Arial" charset="0"/>
                <a:ea typeface="宋体" pitchFamily="2" charset="-122"/>
              </a:defRPr>
            </a:lvl1pPr>
          </a:lstStyle>
          <a:p>
            <a:pPr fontAlgn="base">
              <a:spcBef>
                <a:spcPct val="0"/>
              </a:spcBef>
              <a:spcAft>
                <a:spcPct val="0"/>
              </a:spcAft>
              <a:defRPr/>
            </a:pPr>
            <a:fld id="{90E94728-6F9C-4523-B048-B08615381B3E}" type="slidenum">
              <a:rPr lang="en-US" altLang="zh-CN">
                <a:effectLst>
                  <a:outerShdw blurRad="38100" dist="38100" dir="2700000" algn="tl">
                    <a:srgbClr val="000000">
                      <a:alpha val="43137"/>
                    </a:srgbClr>
                  </a:outerShdw>
                </a:effectLst>
              </a:rPr>
              <a:pPr fontAlgn="base">
                <a:spcBef>
                  <a:spcPct val="0"/>
                </a:spcBef>
                <a:spcAft>
                  <a:spcPct val="0"/>
                </a:spcAft>
                <a:defRPr/>
              </a:pPr>
              <a:t>‹#›</a:t>
            </a:fld>
            <a:endParaRPr lang="en-US" altLang="zh-CN">
              <a:effectLst>
                <a:outerShdw blurRad="38100" dist="38100" dir="2700000" algn="tl">
                  <a:srgbClr val="000000">
                    <a:alpha val="43137"/>
                  </a:srgbClr>
                </a:outerShdw>
              </a:effectLst>
            </a:endParaRPr>
          </a:p>
        </p:txBody>
      </p:sp>
      <p:sp>
        <p:nvSpPr>
          <p:cNvPr id="6" name="日期占位符 5"/>
          <p:cNvSpPr>
            <a:spLocks noGrp="1"/>
          </p:cNvSpPr>
          <p:nvPr>
            <p:ph type="dt" sz="half" idx="12"/>
          </p:nvPr>
        </p:nvSpPr>
        <p:spPr>
          <a:xfrm>
            <a:off x="457200" y="6245225"/>
            <a:ext cx="2133600" cy="476250"/>
          </a:xfrm>
          <a:prstGeom prst="rect">
            <a:avLst/>
          </a:prstGeom>
        </p:spPr>
        <p:txBody>
          <a:bodyPr lIns="91389" tIns="45694" rIns="91389" bIns="45694"/>
          <a:lstStyle>
            <a:lvl1pPr eaLnBrk="0" hangingPunct="0">
              <a:buSzPct val="100000"/>
              <a:buFont typeface="Times New Roman" pitchFamily="18" charset="0"/>
              <a:buNone/>
              <a:defRPr sz="3600">
                <a:solidFill>
                  <a:srgbClr val="1C1C1C"/>
                </a:solidFill>
                <a:latin typeface="Arial" charset="0"/>
                <a:ea typeface="宋体" pitchFamily="2" charset="-122"/>
              </a:defRPr>
            </a:lvl1pPr>
          </a:lstStyle>
          <a:p>
            <a:pPr fontAlgn="base">
              <a:spcBef>
                <a:spcPct val="0"/>
              </a:spcBef>
              <a:spcAft>
                <a:spcPct val="0"/>
              </a:spcAft>
              <a:defRPr/>
            </a:pPr>
            <a:endParaRPr lang="en-US" altLang="zh-CN">
              <a:effectLst>
                <a:outerShdw blurRad="38100" dist="38100" dir="2700000" algn="tl">
                  <a:srgbClr val="000000">
                    <a:alpha val="43137"/>
                  </a:srgbClr>
                </a:outerShdw>
              </a:effectLst>
            </a:endParaRPr>
          </a:p>
        </p:txBody>
      </p:sp>
    </p:spTree>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vertTitleAndTx" preserve="1">
  <p:cSld name="垂直排列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6597650" y="42870"/>
            <a:ext cx="2089150" cy="5811837"/>
          </a:xfrm>
          <a:prstGeom prst="rect">
            <a:avLst/>
          </a:prstGeom>
        </p:spPr>
        <p:txBody>
          <a:bodyPr vert="eaVert" lIns="91389" tIns="45694" rIns="91389" bIns="45694"/>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a:xfrm>
            <a:off x="328633" y="42870"/>
            <a:ext cx="6116637" cy="5811837"/>
          </a:xfrm>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页脚占位符 3"/>
          <p:cNvSpPr>
            <a:spLocks noGrp="1"/>
          </p:cNvSpPr>
          <p:nvPr>
            <p:ph type="ftr" sz="quarter" idx="10"/>
          </p:nvPr>
        </p:nvSpPr>
        <p:spPr>
          <a:xfrm>
            <a:off x="3124200" y="6245225"/>
            <a:ext cx="2895600" cy="476250"/>
          </a:xfrm>
          <a:prstGeom prst="rect">
            <a:avLst/>
          </a:prstGeom>
        </p:spPr>
        <p:txBody>
          <a:bodyPr lIns="91389" tIns="45694" rIns="91389" bIns="45694"/>
          <a:lstStyle>
            <a:lvl1pPr eaLnBrk="0" hangingPunct="0">
              <a:buSzPct val="100000"/>
              <a:buFont typeface="Times New Roman" pitchFamily="18" charset="0"/>
              <a:buNone/>
              <a:defRPr sz="3600">
                <a:solidFill>
                  <a:srgbClr val="1C1C1C"/>
                </a:solidFill>
                <a:latin typeface="Arial" charset="0"/>
                <a:ea typeface="宋体" pitchFamily="2" charset="-122"/>
              </a:defRPr>
            </a:lvl1pPr>
          </a:lstStyle>
          <a:p>
            <a:pPr fontAlgn="base">
              <a:spcBef>
                <a:spcPct val="0"/>
              </a:spcBef>
              <a:spcAft>
                <a:spcPct val="0"/>
              </a:spcAft>
              <a:defRPr/>
            </a:pPr>
            <a:endParaRPr lang="en-US" altLang="zh-CN">
              <a:effectLst>
                <a:outerShdw blurRad="38100" dist="38100" dir="2700000" algn="tl">
                  <a:srgbClr val="000000">
                    <a:alpha val="43137"/>
                  </a:srgbClr>
                </a:outerShdw>
              </a:effectLst>
            </a:endParaRPr>
          </a:p>
        </p:txBody>
      </p:sp>
      <p:sp>
        <p:nvSpPr>
          <p:cNvPr id="5" name="灯片编号占位符 4"/>
          <p:cNvSpPr>
            <a:spLocks noGrp="1"/>
          </p:cNvSpPr>
          <p:nvPr>
            <p:ph type="sldNum" sz="quarter" idx="11"/>
          </p:nvPr>
        </p:nvSpPr>
        <p:spPr>
          <a:xfrm>
            <a:off x="6553200" y="6245225"/>
            <a:ext cx="2133600" cy="476250"/>
          </a:xfrm>
          <a:prstGeom prst="rect">
            <a:avLst/>
          </a:prstGeom>
        </p:spPr>
        <p:txBody>
          <a:bodyPr lIns="91389" tIns="45694" rIns="91389" bIns="45694"/>
          <a:lstStyle>
            <a:lvl1pPr eaLnBrk="0" hangingPunct="0">
              <a:buSzPct val="100000"/>
              <a:buFont typeface="Times New Roman" pitchFamily="18" charset="0"/>
              <a:buNone/>
              <a:defRPr sz="3600">
                <a:solidFill>
                  <a:srgbClr val="1C1C1C"/>
                </a:solidFill>
                <a:latin typeface="Arial" charset="0"/>
                <a:ea typeface="宋体" pitchFamily="2" charset="-122"/>
              </a:defRPr>
            </a:lvl1pPr>
          </a:lstStyle>
          <a:p>
            <a:pPr fontAlgn="base">
              <a:spcBef>
                <a:spcPct val="0"/>
              </a:spcBef>
              <a:spcAft>
                <a:spcPct val="0"/>
              </a:spcAft>
              <a:defRPr/>
            </a:pPr>
            <a:fld id="{FA102612-BA52-4163-9D84-DC71C9ECA578}" type="slidenum">
              <a:rPr lang="en-US" altLang="zh-CN">
                <a:effectLst>
                  <a:outerShdw blurRad="38100" dist="38100" dir="2700000" algn="tl">
                    <a:srgbClr val="000000">
                      <a:alpha val="43137"/>
                    </a:srgbClr>
                  </a:outerShdw>
                </a:effectLst>
              </a:rPr>
              <a:pPr fontAlgn="base">
                <a:spcBef>
                  <a:spcPct val="0"/>
                </a:spcBef>
                <a:spcAft>
                  <a:spcPct val="0"/>
                </a:spcAft>
                <a:defRPr/>
              </a:pPr>
              <a:t>‹#›</a:t>
            </a:fld>
            <a:endParaRPr lang="en-US" altLang="zh-CN">
              <a:effectLst>
                <a:outerShdw blurRad="38100" dist="38100" dir="2700000" algn="tl">
                  <a:srgbClr val="000000">
                    <a:alpha val="43137"/>
                  </a:srgbClr>
                </a:outerShdw>
              </a:effectLst>
            </a:endParaRPr>
          </a:p>
        </p:txBody>
      </p:sp>
      <p:sp>
        <p:nvSpPr>
          <p:cNvPr id="6" name="日期占位符 5"/>
          <p:cNvSpPr>
            <a:spLocks noGrp="1"/>
          </p:cNvSpPr>
          <p:nvPr>
            <p:ph type="dt" sz="half" idx="12"/>
          </p:nvPr>
        </p:nvSpPr>
        <p:spPr>
          <a:xfrm>
            <a:off x="457200" y="6245225"/>
            <a:ext cx="2133600" cy="476250"/>
          </a:xfrm>
          <a:prstGeom prst="rect">
            <a:avLst/>
          </a:prstGeom>
        </p:spPr>
        <p:txBody>
          <a:bodyPr lIns="91389" tIns="45694" rIns="91389" bIns="45694"/>
          <a:lstStyle>
            <a:lvl1pPr eaLnBrk="0" hangingPunct="0">
              <a:buSzPct val="100000"/>
              <a:buFont typeface="Times New Roman" pitchFamily="18" charset="0"/>
              <a:buNone/>
              <a:defRPr sz="3600">
                <a:solidFill>
                  <a:srgbClr val="1C1C1C"/>
                </a:solidFill>
                <a:latin typeface="Arial" charset="0"/>
                <a:ea typeface="宋体" pitchFamily="2" charset="-122"/>
              </a:defRPr>
            </a:lvl1pPr>
          </a:lstStyle>
          <a:p>
            <a:pPr fontAlgn="base">
              <a:spcBef>
                <a:spcPct val="0"/>
              </a:spcBef>
              <a:spcAft>
                <a:spcPct val="0"/>
              </a:spcAft>
              <a:defRPr/>
            </a:pPr>
            <a:endParaRPr lang="en-US" altLang="zh-CN">
              <a:effectLst>
                <a:outerShdw blurRad="38100" dist="38100" dir="2700000" algn="tl">
                  <a:srgbClr val="000000">
                    <a:alpha val="43137"/>
                  </a:srgbClr>
                </a:outerShdw>
              </a:effectLst>
            </a:endParaRPr>
          </a:p>
        </p:txBody>
      </p:sp>
    </p:spTree>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chart" preserve="1">
  <p:cSld name="标题和图表">
    <p:spTree>
      <p:nvGrpSpPr>
        <p:cNvPr id="1" name=""/>
        <p:cNvGrpSpPr/>
        <p:nvPr/>
      </p:nvGrpSpPr>
      <p:grpSpPr>
        <a:xfrm>
          <a:off x="0" y="0"/>
          <a:ext cx="0" cy="0"/>
          <a:chOff x="0" y="0"/>
          <a:chExt cx="0" cy="0"/>
        </a:xfrm>
      </p:grpSpPr>
      <p:sp>
        <p:nvSpPr>
          <p:cNvPr id="2" name="标题 1"/>
          <p:cNvSpPr>
            <a:spLocks noGrp="1"/>
          </p:cNvSpPr>
          <p:nvPr>
            <p:ph type="title"/>
          </p:nvPr>
        </p:nvSpPr>
        <p:spPr>
          <a:xfrm>
            <a:off x="328613" y="42867"/>
            <a:ext cx="8335962" cy="862012"/>
          </a:xfrm>
          <a:prstGeom prst="rect">
            <a:avLst/>
          </a:prstGeom>
        </p:spPr>
        <p:txBody>
          <a:bodyPr lIns="91389" tIns="45694" rIns="91389" bIns="45694"/>
          <a:lstStyle/>
          <a:p>
            <a:r>
              <a:rPr lang="zh-CN" altLang="en-US" smtClean="0"/>
              <a:t>单击此处编辑母版标题样式</a:t>
            </a:r>
            <a:endParaRPr lang="zh-CN" altLang="en-US"/>
          </a:p>
        </p:txBody>
      </p:sp>
      <p:sp>
        <p:nvSpPr>
          <p:cNvPr id="3" name="图表占位符 2"/>
          <p:cNvSpPr>
            <a:spLocks noGrp="1"/>
          </p:cNvSpPr>
          <p:nvPr>
            <p:ph type="chart" idx="1"/>
          </p:nvPr>
        </p:nvSpPr>
        <p:spPr>
          <a:xfrm>
            <a:off x="457200" y="1328737"/>
            <a:ext cx="8229600" cy="4525963"/>
          </a:xfrm>
        </p:spPr>
        <p:txBody>
          <a:bodyPr/>
          <a:lstStyle/>
          <a:p>
            <a:pPr lvl="0"/>
            <a:endParaRPr lang="zh-CN" altLang="en-US" noProof="0"/>
          </a:p>
        </p:txBody>
      </p:sp>
      <p:sp>
        <p:nvSpPr>
          <p:cNvPr id="4" name="页脚占位符 3"/>
          <p:cNvSpPr>
            <a:spLocks noGrp="1"/>
          </p:cNvSpPr>
          <p:nvPr>
            <p:ph type="ftr" sz="quarter" idx="10"/>
          </p:nvPr>
        </p:nvSpPr>
        <p:spPr>
          <a:xfrm>
            <a:off x="3124200" y="6245225"/>
            <a:ext cx="2895600" cy="476250"/>
          </a:xfrm>
          <a:prstGeom prst="rect">
            <a:avLst/>
          </a:prstGeom>
        </p:spPr>
        <p:txBody>
          <a:bodyPr lIns="91389" tIns="45694" rIns="91389" bIns="45694"/>
          <a:lstStyle>
            <a:lvl1pPr eaLnBrk="0" hangingPunct="0">
              <a:buSzPct val="100000"/>
              <a:buFont typeface="Times New Roman" pitchFamily="18" charset="0"/>
              <a:buNone/>
              <a:defRPr sz="3600">
                <a:solidFill>
                  <a:srgbClr val="1C1C1C"/>
                </a:solidFill>
                <a:latin typeface="Arial" charset="0"/>
                <a:ea typeface="宋体" pitchFamily="2" charset="-122"/>
              </a:defRPr>
            </a:lvl1pPr>
          </a:lstStyle>
          <a:p>
            <a:pPr fontAlgn="base">
              <a:spcBef>
                <a:spcPct val="0"/>
              </a:spcBef>
              <a:spcAft>
                <a:spcPct val="0"/>
              </a:spcAft>
              <a:defRPr/>
            </a:pPr>
            <a:endParaRPr lang="en-US" altLang="zh-CN">
              <a:effectLst>
                <a:outerShdw blurRad="38100" dist="38100" dir="2700000" algn="tl">
                  <a:srgbClr val="000000">
                    <a:alpha val="43137"/>
                  </a:srgbClr>
                </a:outerShdw>
              </a:effectLst>
            </a:endParaRPr>
          </a:p>
        </p:txBody>
      </p:sp>
      <p:sp>
        <p:nvSpPr>
          <p:cNvPr id="5" name="灯片编号占位符 4"/>
          <p:cNvSpPr>
            <a:spLocks noGrp="1"/>
          </p:cNvSpPr>
          <p:nvPr>
            <p:ph type="sldNum" sz="quarter" idx="11"/>
          </p:nvPr>
        </p:nvSpPr>
        <p:spPr>
          <a:xfrm>
            <a:off x="6553200" y="6245225"/>
            <a:ext cx="2133600" cy="476250"/>
          </a:xfrm>
          <a:prstGeom prst="rect">
            <a:avLst/>
          </a:prstGeom>
        </p:spPr>
        <p:txBody>
          <a:bodyPr lIns="91389" tIns="45694" rIns="91389" bIns="45694"/>
          <a:lstStyle>
            <a:lvl1pPr eaLnBrk="0" hangingPunct="0">
              <a:buSzPct val="100000"/>
              <a:buFont typeface="Times New Roman" pitchFamily="18" charset="0"/>
              <a:buNone/>
              <a:defRPr sz="3600">
                <a:solidFill>
                  <a:srgbClr val="1C1C1C"/>
                </a:solidFill>
                <a:latin typeface="Arial" charset="0"/>
                <a:ea typeface="宋体" pitchFamily="2" charset="-122"/>
              </a:defRPr>
            </a:lvl1pPr>
          </a:lstStyle>
          <a:p>
            <a:pPr fontAlgn="base">
              <a:spcBef>
                <a:spcPct val="0"/>
              </a:spcBef>
              <a:spcAft>
                <a:spcPct val="0"/>
              </a:spcAft>
              <a:defRPr/>
            </a:pPr>
            <a:fld id="{2FF72C5D-FCF2-45E6-8003-4AAB8DA437F7}" type="slidenum">
              <a:rPr lang="en-US" altLang="zh-CN">
                <a:effectLst>
                  <a:outerShdw blurRad="38100" dist="38100" dir="2700000" algn="tl">
                    <a:srgbClr val="000000">
                      <a:alpha val="43137"/>
                    </a:srgbClr>
                  </a:outerShdw>
                </a:effectLst>
              </a:rPr>
              <a:pPr fontAlgn="base">
                <a:spcBef>
                  <a:spcPct val="0"/>
                </a:spcBef>
                <a:spcAft>
                  <a:spcPct val="0"/>
                </a:spcAft>
                <a:defRPr/>
              </a:pPr>
              <a:t>‹#›</a:t>
            </a:fld>
            <a:endParaRPr lang="en-US" altLang="zh-CN">
              <a:effectLst>
                <a:outerShdw blurRad="38100" dist="38100" dir="2700000" algn="tl">
                  <a:srgbClr val="000000">
                    <a:alpha val="43137"/>
                  </a:srgbClr>
                </a:outerShdw>
              </a:effectLst>
            </a:endParaRPr>
          </a:p>
        </p:txBody>
      </p:sp>
      <p:sp>
        <p:nvSpPr>
          <p:cNvPr id="6" name="日期占位符 5"/>
          <p:cNvSpPr>
            <a:spLocks noGrp="1"/>
          </p:cNvSpPr>
          <p:nvPr>
            <p:ph type="dt" sz="half" idx="12"/>
          </p:nvPr>
        </p:nvSpPr>
        <p:spPr>
          <a:xfrm>
            <a:off x="457200" y="6245225"/>
            <a:ext cx="2133600" cy="476250"/>
          </a:xfrm>
          <a:prstGeom prst="rect">
            <a:avLst/>
          </a:prstGeom>
        </p:spPr>
        <p:txBody>
          <a:bodyPr lIns="91389" tIns="45694" rIns="91389" bIns="45694"/>
          <a:lstStyle>
            <a:lvl1pPr eaLnBrk="0" hangingPunct="0">
              <a:buSzPct val="100000"/>
              <a:buFont typeface="Times New Roman" pitchFamily="18" charset="0"/>
              <a:buNone/>
              <a:defRPr sz="3600">
                <a:solidFill>
                  <a:srgbClr val="1C1C1C"/>
                </a:solidFill>
                <a:latin typeface="Arial" charset="0"/>
                <a:ea typeface="宋体" pitchFamily="2" charset="-122"/>
              </a:defRPr>
            </a:lvl1pPr>
          </a:lstStyle>
          <a:p>
            <a:pPr fontAlgn="base">
              <a:spcBef>
                <a:spcPct val="0"/>
              </a:spcBef>
              <a:spcAft>
                <a:spcPct val="0"/>
              </a:spcAft>
              <a:defRPr/>
            </a:pPr>
            <a:endParaRPr lang="en-US" altLang="zh-CN">
              <a:effectLst>
                <a:outerShdw blurRad="38100" dist="38100" dir="2700000" algn="tl">
                  <a:srgbClr val="000000">
                    <a:alpha val="43137"/>
                  </a:srgbClr>
                </a:outerShdw>
              </a:effectLst>
            </a:endParaRPr>
          </a:p>
        </p:txBody>
      </p:sp>
    </p:spTree>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6_标题和内容">
    <p:spTree>
      <p:nvGrpSpPr>
        <p:cNvPr id="1" name=""/>
        <p:cNvGrpSpPr/>
        <p:nvPr/>
      </p:nvGrpSpPr>
      <p:grpSpPr>
        <a:xfrm>
          <a:off x="0" y="0"/>
          <a:ext cx="0" cy="0"/>
          <a:chOff x="0" y="0"/>
          <a:chExt cx="0" cy="0"/>
        </a:xfrm>
      </p:grpSpPr>
      <p:pic>
        <p:nvPicPr>
          <p:cNvPr id="2" name="图片 6" descr="3-1.png"/>
          <p:cNvPicPr>
            <a:picLocks noChangeAspect="1"/>
          </p:cNvPicPr>
          <p:nvPr userDrawn="1"/>
        </p:nvPicPr>
        <p:blipFill>
          <a:blip r:embed="rId2" cstate="print"/>
          <a:srcRect/>
          <a:stretch>
            <a:fillRect/>
          </a:stretch>
        </p:blipFill>
        <p:spPr bwMode="auto">
          <a:xfrm>
            <a:off x="1588" y="0"/>
            <a:ext cx="9140825" cy="6858000"/>
          </a:xfrm>
          <a:prstGeom prst="rect">
            <a:avLst/>
          </a:prstGeom>
          <a:noFill/>
          <a:ln w="9525">
            <a:noFill/>
            <a:miter lim="800000"/>
            <a:headEnd/>
            <a:tailEnd/>
          </a:ln>
        </p:spPr>
      </p:pic>
      <p:pic>
        <p:nvPicPr>
          <p:cNvPr id="3" name="图片 17" descr="3-2.png"/>
          <p:cNvPicPr>
            <a:picLocks noChangeAspect="1"/>
          </p:cNvPicPr>
          <p:nvPr userDrawn="1"/>
        </p:nvPicPr>
        <p:blipFill>
          <a:blip r:embed="rId3" cstate="print"/>
          <a:srcRect/>
          <a:stretch>
            <a:fillRect/>
          </a:stretch>
        </p:blipFill>
        <p:spPr bwMode="auto">
          <a:xfrm>
            <a:off x="1588" y="-171450"/>
            <a:ext cx="9140825" cy="6985000"/>
          </a:xfrm>
          <a:prstGeom prst="rect">
            <a:avLst/>
          </a:prstGeom>
          <a:noFill/>
          <a:ln w="9525">
            <a:noFill/>
            <a:miter lim="800000"/>
            <a:headEnd/>
            <a:tailEnd/>
          </a:ln>
        </p:spPr>
      </p:pic>
      <p:pic>
        <p:nvPicPr>
          <p:cNvPr id="4" name="图片 18" descr="slide0001_image013.png"/>
          <p:cNvPicPr>
            <a:picLocks noChangeAspect="1"/>
          </p:cNvPicPr>
          <p:nvPr userDrawn="1"/>
        </p:nvPicPr>
        <p:blipFill>
          <a:blip r:embed="rId4" cstate="print"/>
          <a:srcRect/>
          <a:stretch>
            <a:fillRect/>
          </a:stretch>
        </p:blipFill>
        <p:spPr bwMode="auto">
          <a:xfrm>
            <a:off x="4572000" y="4292600"/>
            <a:ext cx="4608513" cy="2592388"/>
          </a:xfrm>
          <a:prstGeom prst="rect">
            <a:avLst/>
          </a:prstGeom>
          <a:noFill/>
          <a:ln w="9525">
            <a:noFill/>
            <a:miter lim="800000"/>
            <a:headEnd/>
            <a:tailEnd/>
          </a:ln>
        </p:spPr>
      </p:pic>
    </p:spTree>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title">
  <p:cSld name="1_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685801" y="2130456"/>
            <a:ext cx="7772400" cy="1470025"/>
          </a:xfrm>
          <a:prstGeom prst="rect">
            <a:avLst/>
          </a:prstGeom>
        </p:spPr>
        <p:txBody>
          <a:bodyPr lIns="91389" tIns="45694" rIns="91389" bIns="45694"/>
          <a:lstStyle/>
          <a:p>
            <a:r>
              <a:rPr lang="zh-CN" altLang="en-US" smtClean="0"/>
              <a:t>单击此处编辑母版标题样式</a:t>
            </a:r>
            <a:endParaRPr lang="zh-CN" altLang="en-US"/>
          </a:p>
        </p:txBody>
      </p:sp>
      <p:sp>
        <p:nvSpPr>
          <p:cNvPr id="3" name="副标题 2"/>
          <p:cNvSpPr>
            <a:spLocks noGrp="1"/>
          </p:cNvSpPr>
          <p:nvPr>
            <p:ph type="subTitle" idx="1"/>
          </p:nvPr>
        </p:nvSpPr>
        <p:spPr>
          <a:xfrm>
            <a:off x="1371601" y="3886200"/>
            <a:ext cx="6400800" cy="1752600"/>
          </a:xfrm>
        </p:spPr>
        <p:txBody>
          <a:bodyPr/>
          <a:lstStyle>
            <a:lvl1pPr marL="0" indent="0" algn="ctr">
              <a:buNone/>
              <a:defRPr>
                <a:solidFill>
                  <a:schemeClr val="tx1">
                    <a:tint val="75000"/>
                  </a:schemeClr>
                </a:solidFill>
              </a:defRPr>
            </a:lvl1pPr>
            <a:lvl2pPr marL="456945" indent="0" algn="ctr">
              <a:buNone/>
              <a:defRPr>
                <a:solidFill>
                  <a:schemeClr val="tx1">
                    <a:tint val="75000"/>
                  </a:schemeClr>
                </a:solidFill>
              </a:defRPr>
            </a:lvl2pPr>
            <a:lvl3pPr marL="913890" indent="0" algn="ctr">
              <a:buNone/>
              <a:defRPr>
                <a:solidFill>
                  <a:schemeClr val="tx1">
                    <a:tint val="75000"/>
                  </a:schemeClr>
                </a:solidFill>
              </a:defRPr>
            </a:lvl3pPr>
            <a:lvl4pPr marL="1370836" indent="0" algn="ctr">
              <a:buNone/>
              <a:defRPr>
                <a:solidFill>
                  <a:schemeClr val="tx1">
                    <a:tint val="75000"/>
                  </a:schemeClr>
                </a:solidFill>
              </a:defRPr>
            </a:lvl4pPr>
            <a:lvl5pPr marL="1827781" indent="0" algn="ctr">
              <a:buNone/>
              <a:defRPr>
                <a:solidFill>
                  <a:schemeClr val="tx1">
                    <a:tint val="75000"/>
                  </a:schemeClr>
                </a:solidFill>
              </a:defRPr>
            </a:lvl5pPr>
            <a:lvl6pPr marL="2284726" indent="0" algn="ctr">
              <a:buNone/>
              <a:defRPr>
                <a:solidFill>
                  <a:schemeClr val="tx1">
                    <a:tint val="75000"/>
                  </a:schemeClr>
                </a:solidFill>
              </a:defRPr>
            </a:lvl6pPr>
            <a:lvl7pPr marL="2741672" indent="0" algn="ctr">
              <a:buNone/>
              <a:defRPr>
                <a:solidFill>
                  <a:schemeClr val="tx1">
                    <a:tint val="75000"/>
                  </a:schemeClr>
                </a:solidFill>
              </a:defRPr>
            </a:lvl7pPr>
            <a:lvl8pPr marL="3198616" indent="0" algn="ctr">
              <a:buNone/>
              <a:defRPr>
                <a:solidFill>
                  <a:schemeClr val="tx1">
                    <a:tint val="75000"/>
                  </a:schemeClr>
                </a:solidFill>
              </a:defRPr>
            </a:lvl8pPr>
            <a:lvl9pPr marL="3655563" indent="0" algn="ctr">
              <a:buNone/>
              <a:defRPr>
                <a:solidFill>
                  <a:schemeClr val="tx1">
                    <a:tint val="75000"/>
                  </a:schemeClr>
                </a:solidFill>
              </a:defRPr>
            </a:lvl9pPr>
          </a:lstStyle>
          <a:p>
            <a:r>
              <a:rPr lang="zh-CN" altLang="en-US" smtClean="0"/>
              <a:t>单击此处编辑母版副标题样式</a:t>
            </a:r>
            <a:endParaRPr lang="zh-CN" altLang="en-US"/>
          </a:p>
        </p:txBody>
      </p:sp>
      <p:sp>
        <p:nvSpPr>
          <p:cNvPr id="4" name="日期占位符 3"/>
          <p:cNvSpPr>
            <a:spLocks noGrp="1"/>
          </p:cNvSpPr>
          <p:nvPr>
            <p:ph type="dt" sz="half" idx="10"/>
          </p:nvPr>
        </p:nvSpPr>
        <p:spPr>
          <a:xfrm>
            <a:off x="457200" y="6356350"/>
            <a:ext cx="2133600" cy="365125"/>
          </a:xfrm>
          <a:prstGeom prst="rect">
            <a:avLst/>
          </a:prstGeom>
        </p:spPr>
        <p:txBody>
          <a:bodyPr vert="horz" wrap="square" lIns="91389" tIns="45694" rIns="91389" bIns="45694" numCol="1" anchor="t" anchorCtr="0" compatLnSpc="1">
            <a:prstTxWarp prst="textNoShape">
              <a:avLst/>
            </a:prstTxWarp>
          </a:bodyPr>
          <a:lstStyle>
            <a:lvl1pPr>
              <a:defRPr>
                <a:latin typeface="黑体" pitchFamily="49" charset="-122"/>
              </a:defRPr>
            </a:lvl1pPr>
          </a:lstStyle>
          <a:p>
            <a:pPr fontAlgn="base">
              <a:spcBef>
                <a:spcPct val="0"/>
              </a:spcBef>
              <a:spcAft>
                <a:spcPct val="0"/>
              </a:spcAft>
              <a:defRPr/>
            </a:pPr>
            <a:fld id="{621D45E0-932D-4B45-899E-C0E6DE5A26A5}" type="datetimeFigureOut">
              <a:rPr lang="zh-CN" altLang="en-US" smtClean="0">
                <a:solidFill>
                  <a:srgbClr val="1C1C1C"/>
                </a:solidFill>
                <a:effectLst>
                  <a:outerShdw blurRad="38100" dist="38100" dir="2700000" algn="tl">
                    <a:srgbClr val="000000">
                      <a:alpha val="43137"/>
                    </a:srgbClr>
                  </a:outerShdw>
                </a:effectLst>
                <a:ea typeface="宋体" pitchFamily="2" charset="-122"/>
              </a:rPr>
              <a:pPr fontAlgn="base">
                <a:spcBef>
                  <a:spcPct val="0"/>
                </a:spcBef>
                <a:spcAft>
                  <a:spcPct val="0"/>
                </a:spcAft>
                <a:defRPr/>
              </a:pPr>
              <a:t>2017/12/7</a:t>
            </a:fld>
            <a:endParaRPr lang="zh-CN" altLang="en-US" dirty="0">
              <a:solidFill>
                <a:srgbClr val="1C1C1C"/>
              </a:solidFill>
              <a:effectLst>
                <a:outerShdw blurRad="38100" dist="38100" dir="2700000" algn="tl">
                  <a:srgbClr val="000000">
                    <a:alpha val="43137"/>
                  </a:srgbClr>
                </a:outerShdw>
              </a:effectLst>
              <a:ea typeface="宋体" pitchFamily="2" charset="-122"/>
            </a:endParaRPr>
          </a:p>
        </p:txBody>
      </p:sp>
      <p:sp>
        <p:nvSpPr>
          <p:cNvPr id="5" name="页脚占位符 4"/>
          <p:cNvSpPr>
            <a:spLocks noGrp="1"/>
          </p:cNvSpPr>
          <p:nvPr>
            <p:ph type="ftr" sz="quarter" idx="11"/>
          </p:nvPr>
        </p:nvSpPr>
        <p:spPr>
          <a:xfrm>
            <a:off x="3124200" y="6356350"/>
            <a:ext cx="2895600" cy="365125"/>
          </a:xfrm>
          <a:prstGeom prst="rect">
            <a:avLst/>
          </a:prstGeom>
        </p:spPr>
        <p:txBody>
          <a:bodyPr vert="horz" wrap="square" lIns="91389" tIns="45694" rIns="91389" bIns="45694" numCol="1" anchor="t" anchorCtr="0" compatLnSpc="1">
            <a:prstTxWarp prst="textNoShape">
              <a:avLst/>
            </a:prstTxWarp>
          </a:bodyPr>
          <a:lstStyle>
            <a:lvl1pPr>
              <a:defRPr>
                <a:latin typeface="黑体" pitchFamily="49" charset="-122"/>
              </a:defRPr>
            </a:lvl1pPr>
          </a:lstStyle>
          <a:p>
            <a:pPr fontAlgn="base">
              <a:spcBef>
                <a:spcPct val="0"/>
              </a:spcBef>
              <a:spcAft>
                <a:spcPct val="0"/>
              </a:spcAft>
              <a:defRPr/>
            </a:pPr>
            <a:endParaRPr lang="zh-CN" altLang="en-US" dirty="0">
              <a:solidFill>
                <a:srgbClr val="1C1C1C"/>
              </a:solidFill>
              <a:effectLst>
                <a:outerShdw blurRad="38100" dist="38100" dir="2700000" algn="tl">
                  <a:srgbClr val="000000">
                    <a:alpha val="43137"/>
                  </a:srgbClr>
                </a:outerShdw>
              </a:effectLst>
              <a:ea typeface="宋体" pitchFamily="2" charset="-122"/>
            </a:endParaRPr>
          </a:p>
        </p:txBody>
      </p:sp>
      <p:sp>
        <p:nvSpPr>
          <p:cNvPr id="6" name="灯片编号占位符 5"/>
          <p:cNvSpPr>
            <a:spLocks noGrp="1"/>
          </p:cNvSpPr>
          <p:nvPr>
            <p:ph type="sldNum" sz="quarter" idx="12"/>
          </p:nvPr>
        </p:nvSpPr>
        <p:spPr>
          <a:xfrm>
            <a:off x="6553200" y="6356350"/>
            <a:ext cx="2133600" cy="365125"/>
          </a:xfrm>
          <a:prstGeom prst="rect">
            <a:avLst/>
          </a:prstGeom>
        </p:spPr>
        <p:txBody>
          <a:bodyPr vert="horz" wrap="square" lIns="91389" tIns="45694" rIns="91389" bIns="45694" numCol="1" anchor="t" anchorCtr="0" compatLnSpc="1">
            <a:prstTxWarp prst="textNoShape">
              <a:avLst/>
            </a:prstTxWarp>
          </a:bodyPr>
          <a:lstStyle>
            <a:lvl1pPr>
              <a:defRPr>
                <a:latin typeface="黑体" pitchFamily="49" charset="-122"/>
              </a:defRPr>
            </a:lvl1pPr>
          </a:lstStyle>
          <a:p>
            <a:pPr fontAlgn="base">
              <a:spcBef>
                <a:spcPct val="0"/>
              </a:spcBef>
              <a:spcAft>
                <a:spcPct val="0"/>
              </a:spcAft>
              <a:defRPr/>
            </a:pPr>
            <a:fld id="{3E7EC5DF-7AF8-4C2C-A331-6F8B3F8116F6}" type="slidenum">
              <a:rPr lang="zh-CN" altLang="en-US" smtClean="0">
                <a:solidFill>
                  <a:srgbClr val="1C1C1C"/>
                </a:solidFill>
                <a:effectLst>
                  <a:outerShdw blurRad="38100" dist="38100" dir="2700000" algn="tl">
                    <a:srgbClr val="000000">
                      <a:alpha val="43137"/>
                    </a:srgbClr>
                  </a:outerShdw>
                </a:effectLst>
                <a:ea typeface="宋体" pitchFamily="2" charset="-122"/>
              </a:rPr>
              <a:pPr fontAlgn="base">
                <a:spcBef>
                  <a:spcPct val="0"/>
                </a:spcBef>
                <a:spcAft>
                  <a:spcPct val="0"/>
                </a:spcAft>
                <a:defRPr/>
              </a:pPr>
              <a:t>‹#›</a:t>
            </a:fld>
            <a:endParaRPr lang="zh-CN" altLang="en-US" dirty="0">
              <a:solidFill>
                <a:srgbClr val="1C1C1C"/>
              </a:solidFill>
              <a:effectLst>
                <a:outerShdw blurRad="38100" dist="38100" dir="2700000" algn="tl">
                  <a:srgbClr val="000000">
                    <a:alpha val="43137"/>
                  </a:srgbClr>
                </a:outerShdw>
              </a:effectLst>
              <a:ea typeface="宋体" pitchFamily="2" charset="-122"/>
            </a:endParaRP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fld id="{530820CF-B880-4189-942D-D702A7CBA730}" type="datetimeFigureOut">
              <a:rPr lang="zh-CN" altLang="en-US" smtClean="0"/>
              <a:pPr/>
              <a:t>2017/12/7</a:t>
            </a:fld>
            <a:endParaRPr lang="zh-CN" altLang="en-US"/>
          </a:p>
        </p:txBody>
      </p:sp>
      <p:sp>
        <p:nvSpPr>
          <p:cNvPr id="3" name="页脚占位符 2"/>
          <p:cNvSpPr>
            <a:spLocks noGrp="1"/>
          </p:cNvSpPr>
          <p:nvPr>
            <p:ph type="ftr" sz="quarter" idx="11"/>
          </p:nvPr>
        </p:nvSpPr>
        <p:spPr/>
        <p:txBody>
          <a:bodyPr/>
          <a:lstStyle/>
          <a:p>
            <a:endParaRPr lang="zh-CN" altLang="en-US"/>
          </a:p>
        </p:txBody>
      </p:sp>
      <p:sp>
        <p:nvSpPr>
          <p:cNvPr id="4" name="灯片编号占位符 3"/>
          <p:cNvSpPr>
            <a:spLocks noGrp="1"/>
          </p:cNvSpPr>
          <p:nvPr>
            <p:ph type="sldNum" sz="quarter" idx="12"/>
          </p:nvPr>
        </p:nvSpPr>
        <p:spPr/>
        <p:txBody>
          <a:bodyPr/>
          <a:lstStyle/>
          <a:p>
            <a:fld id="{0C913308-F349-4B6D-A68A-DD1791B4A57B}" type="slidenum">
              <a:rPr lang="zh-CN" altLang="en-US" smtClean="0"/>
              <a:pPr/>
              <a:t>‹#›</a:t>
            </a:fld>
            <a:endParaRPr lang="zh-CN" altLang="en-US"/>
          </a:p>
        </p:txBody>
      </p:sp>
    </p:spTree>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type="title" preserve="1">
  <p:cSld name="标题幻灯片">
    <p:spTree>
      <p:nvGrpSpPr>
        <p:cNvPr id="1" name=""/>
        <p:cNvGrpSpPr/>
        <p:nvPr/>
      </p:nvGrpSpPr>
      <p:grpSpPr>
        <a:xfrm>
          <a:off x="0" y="0"/>
          <a:ext cx="0" cy="0"/>
          <a:chOff x="0" y="0"/>
          <a:chExt cx="0" cy="0"/>
        </a:xfrm>
      </p:grpSpPr>
      <p:pic>
        <p:nvPicPr>
          <p:cNvPr id="7" name="图片 6"/>
          <p:cNvPicPr>
            <a:picLocks noChangeAspect="1"/>
          </p:cNvPicPr>
          <p:nvPr/>
        </p:nvPicPr>
        <p:blipFill>
          <a:blip r:embed="rId2" cstate="print">
            <a:extLst>
              <a:ext uri="{28A0092B-C50C-407E-A947-70E740481C1C}">
                <a14:useLocalDpi xmlns="" xmlns:a14="http://schemas.microsoft.com/office/drawing/2010/main" val="0"/>
              </a:ext>
            </a:extLst>
          </a:blip>
          <a:stretch>
            <a:fillRect/>
          </a:stretch>
        </p:blipFill>
        <p:spPr>
          <a:xfrm>
            <a:off x="0" y="0"/>
            <a:ext cx="9144000" cy="6858000"/>
          </a:xfrm>
          <a:prstGeom prst="rect">
            <a:avLst/>
          </a:prstGeom>
        </p:spPr>
      </p:pic>
      <p:sp>
        <p:nvSpPr>
          <p:cNvPr id="4" name="Date Placeholder 3"/>
          <p:cNvSpPr>
            <a:spLocks noGrp="1"/>
          </p:cNvSpPr>
          <p:nvPr>
            <p:ph type="dt" sz="half" idx="10"/>
          </p:nvPr>
        </p:nvSpPr>
        <p:spPr/>
        <p:txBody>
          <a:bodyPr/>
          <a:lstStyle/>
          <a:p>
            <a:fld id="{530820CF-B880-4189-942D-D702A7CBA730}" type="datetimeFigureOut">
              <a:rPr lang="zh-CN" altLang="en-US" smtClean="0">
                <a:solidFill>
                  <a:srgbClr val="5F5F5F">
                    <a:tint val="75000"/>
                  </a:srgbClr>
                </a:solidFill>
              </a:rPr>
              <a:pPr/>
              <a:t>2017/12/7</a:t>
            </a:fld>
            <a:endParaRPr lang="zh-CN" altLang="en-US">
              <a:solidFill>
                <a:srgbClr val="5F5F5F">
                  <a:tint val="75000"/>
                </a:srgbClr>
              </a:solidFill>
            </a:endParaRPr>
          </a:p>
        </p:txBody>
      </p:sp>
      <p:sp>
        <p:nvSpPr>
          <p:cNvPr id="5" name="Footer Placeholder 4"/>
          <p:cNvSpPr>
            <a:spLocks noGrp="1"/>
          </p:cNvSpPr>
          <p:nvPr>
            <p:ph type="ftr" sz="quarter" idx="11"/>
          </p:nvPr>
        </p:nvSpPr>
        <p:spPr/>
        <p:txBody>
          <a:bodyPr/>
          <a:lstStyle/>
          <a:p>
            <a:endParaRPr lang="zh-CN" altLang="en-US">
              <a:solidFill>
                <a:srgbClr val="5F5F5F">
                  <a:tint val="75000"/>
                </a:srgbClr>
              </a:solidFill>
            </a:endParaRPr>
          </a:p>
        </p:txBody>
      </p:sp>
      <p:sp>
        <p:nvSpPr>
          <p:cNvPr id="6" name="Slide Number Placeholder 5"/>
          <p:cNvSpPr>
            <a:spLocks noGrp="1"/>
          </p:cNvSpPr>
          <p:nvPr>
            <p:ph type="sldNum" sz="quarter" idx="12"/>
          </p:nvPr>
        </p:nvSpPr>
        <p:spPr/>
        <p:txBody>
          <a:bodyPr/>
          <a:lstStyle/>
          <a:p>
            <a:fld id="{0C913308-F349-4B6D-A68A-DD1791B4A57B}" type="slidenum">
              <a:rPr lang="zh-CN" altLang="en-US" smtClean="0">
                <a:solidFill>
                  <a:srgbClr val="5F5F5F">
                    <a:tint val="75000"/>
                  </a:srgbClr>
                </a:solidFill>
              </a:rPr>
              <a:pPr/>
              <a:t>‹#›</a:t>
            </a:fld>
            <a:endParaRPr lang="zh-CN" altLang="en-US">
              <a:solidFill>
                <a:srgbClr val="5F5F5F">
                  <a:tint val="75000"/>
                </a:srgbClr>
              </a:solidFill>
            </a:endParaRPr>
          </a:p>
        </p:txBody>
      </p:sp>
      <p:sp>
        <p:nvSpPr>
          <p:cNvPr id="2" name="Title 1"/>
          <p:cNvSpPr>
            <a:spLocks noGrp="1"/>
          </p:cNvSpPr>
          <p:nvPr>
            <p:ph type="ctrTitle"/>
          </p:nvPr>
        </p:nvSpPr>
        <p:spPr>
          <a:xfrm>
            <a:off x="1842667" y="2567239"/>
            <a:ext cx="5458665" cy="946286"/>
          </a:xfrm>
          <a:noFill/>
        </p:spPr>
        <p:txBody>
          <a:bodyPr vert="horz" anchor="ctr">
            <a:noAutofit/>
          </a:bodyPr>
          <a:lstStyle>
            <a:lvl1pPr algn="ctr">
              <a:lnSpc>
                <a:spcPct val="110000"/>
              </a:lnSpc>
              <a:defRPr sz="3200" b="1">
                <a:solidFill>
                  <a:schemeClr val="accent1">
                    <a:lumMod val="50000"/>
                  </a:schemeClr>
                </a:solidFill>
              </a:defRPr>
            </a:lvl1pPr>
          </a:lstStyle>
          <a:p>
            <a:r>
              <a:rPr lang="zh-CN" altLang="en-US" smtClean="0"/>
              <a:t>单击此处编辑母版标题样式</a:t>
            </a:r>
            <a:endParaRPr lang="en-US" dirty="0"/>
          </a:p>
        </p:txBody>
      </p:sp>
      <p:sp>
        <p:nvSpPr>
          <p:cNvPr id="3" name="Subtitle 2"/>
          <p:cNvSpPr>
            <a:spLocks noGrp="1"/>
          </p:cNvSpPr>
          <p:nvPr>
            <p:ph type="subTitle" idx="1"/>
          </p:nvPr>
        </p:nvSpPr>
        <p:spPr>
          <a:xfrm>
            <a:off x="1842668" y="3574479"/>
            <a:ext cx="5458664" cy="475388"/>
          </a:xfrm>
        </p:spPr>
        <p:txBody>
          <a:bodyPr vert="horz">
            <a:normAutofit/>
          </a:bodyPr>
          <a:lstStyle>
            <a:lvl1pPr marL="0" indent="0" algn="ctr">
              <a:buNone/>
              <a:defRPr sz="1600">
                <a:solidFill>
                  <a:schemeClr val="bg1">
                    <a:lumMod val="50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smtClean="0"/>
              <a:t>单击此处编辑母版副标题样式</a:t>
            </a:r>
            <a:endParaRPr lang="en-US" dirty="0"/>
          </a:p>
        </p:txBody>
      </p:sp>
    </p:spTree>
    <p:extLst>
      <p:ext uri="{BB962C8B-B14F-4D97-AF65-F5344CB8AC3E}">
        <p14:creationId xmlns="" xmlns:p14="http://schemas.microsoft.com/office/powerpoint/2010/main" val="230793328"/>
      </p:ext>
    </p:extLst>
  </p:cSld>
  <p:clrMapOvr>
    <a:masterClrMapping/>
  </p:clrMapOvr>
  <p:extLst mod="1">
    <p:ext uri="{DCECCB84-F9BA-43D5-87BE-67443E8EF086}">
      <p15:sldGuideLst xmlns="" xmlns:p15="http://schemas.microsoft.com/office/powerpoint/2012/main"/>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smtClean="0"/>
              <a:t>单击此处编辑母版标题样式</a:t>
            </a:r>
            <a:endParaRPr lang="en-US" dirty="0"/>
          </a:p>
        </p:txBody>
      </p:sp>
      <p:sp>
        <p:nvSpPr>
          <p:cNvPr id="3" name="Content Placeholder 2"/>
          <p:cNvSpPr>
            <a:spLocks noGrp="1"/>
          </p:cNvSpPr>
          <p:nvPr>
            <p:ph idx="1"/>
          </p:nvPr>
        </p:nvSpPr>
        <p:spPr/>
        <p:txBody>
          <a:bodyPr/>
          <a:lstStyle/>
          <a:p>
            <a:pPr lvl="0"/>
            <a:r>
              <a:rPr lang="zh-CN" altLang="en-US" smtClean="0"/>
              <a:t>单击此处编辑母版文本样式</a:t>
            </a:r>
          </a:p>
          <a:p>
            <a:pPr lvl="1"/>
            <a:r>
              <a:rPr lang="zh-CN" altLang="en-US" smtClean="0"/>
              <a:t>第二级</a:t>
            </a:r>
          </a:p>
        </p:txBody>
      </p:sp>
      <p:sp>
        <p:nvSpPr>
          <p:cNvPr id="4" name="Date Placeholder 3"/>
          <p:cNvSpPr>
            <a:spLocks noGrp="1"/>
          </p:cNvSpPr>
          <p:nvPr>
            <p:ph type="dt" sz="half" idx="10"/>
          </p:nvPr>
        </p:nvSpPr>
        <p:spPr/>
        <p:txBody>
          <a:bodyPr/>
          <a:lstStyle/>
          <a:p>
            <a:fld id="{530820CF-B880-4189-942D-D702A7CBA730}" type="datetimeFigureOut">
              <a:rPr lang="zh-CN" altLang="en-US" smtClean="0">
                <a:solidFill>
                  <a:srgbClr val="5F5F5F">
                    <a:tint val="75000"/>
                  </a:srgbClr>
                </a:solidFill>
              </a:rPr>
              <a:pPr/>
              <a:t>2017/12/7</a:t>
            </a:fld>
            <a:endParaRPr lang="zh-CN" altLang="en-US">
              <a:solidFill>
                <a:srgbClr val="5F5F5F">
                  <a:tint val="75000"/>
                </a:srgbClr>
              </a:solidFill>
            </a:endParaRPr>
          </a:p>
        </p:txBody>
      </p:sp>
      <p:sp>
        <p:nvSpPr>
          <p:cNvPr id="5" name="Footer Placeholder 4"/>
          <p:cNvSpPr>
            <a:spLocks noGrp="1"/>
          </p:cNvSpPr>
          <p:nvPr>
            <p:ph type="ftr" sz="quarter" idx="11"/>
          </p:nvPr>
        </p:nvSpPr>
        <p:spPr/>
        <p:txBody>
          <a:bodyPr/>
          <a:lstStyle/>
          <a:p>
            <a:endParaRPr lang="zh-CN" altLang="en-US">
              <a:solidFill>
                <a:srgbClr val="5F5F5F">
                  <a:tint val="75000"/>
                </a:srgbClr>
              </a:solidFill>
            </a:endParaRPr>
          </a:p>
        </p:txBody>
      </p:sp>
      <p:sp>
        <p:nvSpPr>
          <p:cNvPr id="6" name="Slide Number Placeholder 5"/>
          <p:cNvSpPr>
            <a:spLocks noGrp="1"/>
          </p:cNvSpPr>
          <p:nvPr>
            <p:ph type="sldNum" sz="quarter" idx="12"/>
          </p:nvPr>
        </p:nvSpPr>
        <p:spPr/>
        <p:txBody>
          <a:bodyPr/>
          <a:lstStyle/>
          <a:p>
            <a:fld id="{0C913308-F349-4B6D-A68A-DD1791B4A57B}" type="slidenum">
              <a:rPr lang="zh-CN" altLang="en-US" smtClean="0">
                <a:solidFill>
                  <a:srgbClr val="5F5F5F">
                    <a:tint val="75000"/>
                  </a:srgbClr>
                </a:solidFill>
              </a:rPr>
              <a:pPr/>
              <a:t>‹#›</a:t>
            </a:fld>
            <a:endParaRPr lang="zh-CN" altLang="en-US">
              <a:solidFill>
                <a:srgbClr val="5F5F5F">
                  <a:tint val="75000"/>
                </a:srgbClr>
              </a:solidFill>
            </a:endParaRPr>
          </a:p>
        </p:txBody>
      </p:sp>
    </p:spTree>
    <p:extLst>
      <p:ext uri="{BB962C8B-B14F-4D97-AF65-F5344CB8AC3E}">
        <p14:creationId xmlns="" xmlns:p14="http://schemas.microsoft.com/office/powerpoint/2010/main" val="641567432"/>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Title 1"/>
          <p:cNvSpPr>
            <a:spLocks noGrp="1"/>
          </p:cNvSpPr>
          <p:nvPr>
            <p:ph type="title"/>
          </p:nvPr>
        </p:nvSpPr>
        <p:spPr>
          <a:xfrm>
            <a:off x="992776" y="2865121"/>
            <a:ext cx="7158447" cy="1697356"/>
          </a:xfrm>
        </p:spPr>
        <p:txBody>
          <a:bodyPr anchor="b">
            <a:normAutofit/>
          </a:bodyPr>
          <a:lstStyle>
            <a:lvl1pPr>
              <a:defRPr sz="4400">
                <a:solidFill>
                  <a:schemeClr val="accent1">
                    <a:lumMod val="75000"/>
                  </a:schemeClr>
                </a:solidFill>
              </a:defRPr>
            </a:lvl1pPr>
          </a:lstStyle>
          <a:p>
            <a:r>
              <a:rPr lang="zh-CN" altLang="en-US" smtClean="0"/>
              <a:t>单击此处编辑母版标题样式</a:t>
            </a:r>
            <a:endParaRPr lang="en-US" dirty="0"/>
          </a:p>
        </p:txBody>
      </p:sp>
      <p:sp>
        <p:nvSpPr>
          <p:cNvPr id="3" name="Text Placeholder 2"/>
          <p:cNvSpPr>
            <a:spLocks noGrp="1"/>
          </p:cNvSpPr>
          <p:nvPr>
            <p:ph type="body" idx="1"/>
          </p:nvPr>
        </p:nvSpPr>
        <p:spPr>
          <a:xfrm>
            <a:off x="992776" y="4562477"/>
            <a:ext cx="7158447" cy="892600"/>
          </a:xfrm>
        </p:spPr>
        <p:txBody>
          <a:bodyPr>
            <a:normAutofit/>
          </a:bodyPr>
          <a:lstStyle>
            <a:lvl1pPr marL="0" indent="0">
              <a:buNone/>
              <a:defRPr sz="18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CN" altLang="en-US" smtClean="0"/>
              <a:t>单击此处编辑母版文本样式</a:t>
            </a:r>
          </a:p>
        </p:txBody>
      </p:sp>
      <p:sp>
        <p:nvSpPr>
          <p:cNvPr id="4" name="Date Placeholder 3"/>
          <p:cNvSpPr>
            <a:spLocks noGrp="1"/>
          </p:cNvSpPr>
          <p:nvPr>
            <p:ph type="dt" sz="half" idx="10"/>
          </p:nvPr>
        </p:nvSpPr>
        <p:spPr/>
        <p:txBody>
          <a:bodyPr/>
          <a:lstStyle/>
          <a:p>
            <a:fld id="{530820CF-B880-4189-942D-D702A7CBA730}" type="datetimeFigureOut">
              <a:rPr lang="zh-CN" altLang="en-US" smtClean="0">
                <a:solidFill>
                  <a:srgbClr val="5F5F5F">
                    <a:tint val="75000"/>
                  </a:srgbClr>
                </a:solidFill>
              </a:rPr>
              <a:pPr/>
              <a:t>2017/12/7</a:t>
            </a:fld>
            <a:endParaRPr lang="zh-CN" altLang="en-US">
              <a:solidFill>
                <a:srgbClr val="5F5F5F">
                  <a:tint val="75000"/>
                </a:srgbClr>
              </a:solidFill>
            </a:endParaRPr>
          </a:p>
        </p:txBody>
      </p:sp>
      <p:sp>
        <p:nvSpPr>
          <p:cNvPr id="5" name="Footer Placeholder 4"/>
          <p:cNvSpPr>
            <a:spLocks noGrp="1"/>
          </p:cNvSpPr>
          <p:nvPr>
            <p:ph type="ftr" sz="quarter" idx="11"/>
          </p:nvPr>
        </p:nvSpPr>
        <p:spPr/>
        <p:txBody>
          <a:bodyPr/>
          <a:lstStyle/>
          <a:p>
            <a:endParaRPr lang="zh-CN" altLang="en-US">
              <a:solidFill>
                <a:srgbClr val="5F5F5F">
                  <a:tint val="75000"/>
                </a:srgbClr>
              </a:solidFill>
            </a:endParaRPr>
          </a:p>
        </p:txBody>
      </p:sp>
      <p:sp>
        <p:nvSpPr>
          <p:cNvPr id="6" name="Slide Number Placeholder 5"/>
          <p:cNvSpPr>
            <a:spLocks noGrp="1"/>
          </p:cNvSpPr>
          <p:nvPr>
            <p:ph type="sldNum" sz="quarter" idx="12"/>
          </p:nvPr>
        </p:nvSpPr>
        <p:spPr/>
        <p:txBody>
          <a:bodyPr/>
          <a:lstStyle/>
          <a:p>
            <a:fld id="{0C913308-F349-4B6D-A68A-DD1791B4A57B}" type="slidenum">
              <a:rPr lang="zh-CN" altLang="en-US" smtClean="0">
                <a:solidFill>
                  <a:srgbClr val="5F5F5F">
                    <a:tint val="75000"/>
                  </a:srgbClr>
                </a:solidFill>
              </a:rPr>
              <a:pPr/>
              <a:t>‹#›</a:t>
            </a:fld>
            <a:endParaRPr lang="zh-CN" altLang="en-US">
              <a:solidFill>
                <a:srgbClr val="5F5F5F">
                  <a:tint val="75000"/>
                </a:srgbClr>
              </a:solidFill>
            </a:endParaRPr>
          </a:p>
        </p:txBody>
      </p:sp>
    </p:spTree>
    <p:extLst>
      <p:ext uri="{BB962C8B-B14F-4D97-AF65-F5344CB8AC3E}">
        <p14:creationId xmlns="" xmlns:p14="http://schemas.microsoft.com/office/powerpoint/2010/main" val="251411547"/>
      </p:ext>
    </p:extLst>
  </p:cSld>
  <p:clrMapOvr>
    <a:masterClrMapping/>
  </p:clrMapOvr>
  <p:extLst mod="1">
    <p:ext uri="{DCECCB84-F9BA-43D5-87BE-67443E8EF086}">
      <p15:sldGuideLst xmlns="" xmlns:p15="http://schemas.microsoft.com/office/powerpoint/2012/main"/>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smtClean="0"/>
              <a:t>单击此处编辑母版标题样式</a:t>
            </a:r>
            <a:endParaRPr lang="en-US" dirty="0"/>
          </a:p>
        </p:txBody>
      </p:sp>
      <p:sp>
        <p:nvSpPr>
          <p:cNvPr id="3" name="Content Placeholder 2"/>
          <p:cNvSpPr>
            <a:spLocks noGrp="1"/>
          </p:cNvSpPr>
          <p:nvPr>
            <p:ph sz="half" idx="1"/>
          </p:nvPr>
        </p:nvSpPr>
        <p:spPr>
          <a:xfrm>
            <a:off x="628650" y="1825625"/>
            <a:ext cx="3886200" cy="4351338"/>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
        <p:nvSpPr>
          <p:cNvPr id="4" name="Content Placeholder 3"/>
          <p:cNvSpPr>
            <a:spLocks noGrp="1"/>
          </p:cNvSpPr>
          <p:nvPr>
            <p:ph sz="half" idx="2"/>
          </p:nvPr>
        </p:nvSpPr>
        <p:spPr>
          <a:xfrm>
            <a:off x="4629150" y="1825625"/>
            <a:ext cx="3886200" cy="4351338"/>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
        <p:nvSpPr>
          <p:cNvPr id="5" name="Date Placeholder 4"/>
          <p:cNvSpPr>
            <a:spLocks noGrp="1"/>
          </p:cNvSpPr>
          <p:nvPr>
            <p:ph type="dt" sz="half" idx="10"/>
          </p:nvPr>
        </p:nvSpPr>
        <p:spPr/>
        <p:txBody>
          <a:bodyPr/>
          <a:lstStyle/>
          <a:p>
            <a:fld id="{530820CF-B880-4189-942D-D702A7CBA730}" type="datetimeFigureOut">
              <a:rPr lang="zh-CN" altLang="en-US" smtClean="0">
                <a:solidFill>
                  <a:srgbClr val="5F5F5F">
                    <a:tint val="75000"/>
                  </a:srgbClr>
                </a:solidFill>
              </a:rPr>
              <a:pPr/>
              <a:t>2017/12/7</a:t>
            </a:fld>
            <a:endParaRPr lang="zh-CN" altLang="en-US">
              <a:solidFill>
                <a:srgbClr val="5F5F5F">
                  <a:tint val="75000"/>
                </a:srgbClr>
              </a:solidFill>
            </a:endParaRPr>
          </a:p>
        </p:txBody>
      </p:sp>
      <p:sp>
        <p:nvSpPr>
          <p:cNvPr id="6" name="Footer Placeholder 5"/>
          <p:cNvSpPr>
            <a:spLocks noGrp="1"/>
          </p:cNvSpPr>
          <p:nvPr>
            <p:ph type="ftr" sz="quarter" idx="11"/>
          </p:nvPr>
        </p:nvSpPr>
        <p:spPr/>
        <p:txBody>
          <a:bodyPr/>
          <a:lstStyle/>
          <a:p>
            <a:endParaRPr lang="zh-CN" altLang="en-US">
              <a:solidFill>
                <a:srgbClr val="5F5F5F">
                  <a:tint val="75000"/>
                </a:srgbClr>
              </a:solidFill>
            </a:endParaRPr>
          </a:p>
        </p:txBody>
      </p:sp>
      <p:sp>
        <p:nvSpPr>
          <p:cNvPr id="7" name="Slide Number Placeholder 6"/>
          <p:cNvSpPr>
            <a:spLocks noGrp="1"/>
          </p:cNvSpPr>
          <p:nvPr>
            <p:ph type="sldNum" sz="quarter" idx="12"/>
          </p:nvPr>
        </p:nvSpPr>
        <p:spPr/>
        <p:txBody>
          <a:bodyPr/>
          <a:lstStyle/>
          <a:p>
            <a:fld id="{0C913308-F349-4B6D-A68A-DD1791B4A57B}" type="slidenum">
              <a:rPr lang="zh-CN" altLang="en-US" smtClean="0">
                <a:solidFill>
                  <a:srgbClr val="5F5F5F">
                    <a:tint val="75000"/>
                  </a:srgbClr>
                </a:solidFill>
              </a:rPr>
              <a:pPr/>
              <a:t>‹#›</a:t>
            </a:fld>
            <a:endParaRPr lang="zh-CN" altLang="en-US">
              <a:solidFill>
                <a:srgbClr val="5F5F5F">
                  <a:tint val="75000"/>
                </a:srgbClr>
              </a:solidFill>
            </a:endParaRPr>
          </a:p>
        </p:txBody>
      </p:sp>
    </p:spTree>
    <p:extLst>
      <p:ext uri="{BB962C8B-B14F-4D97-AF65-F5344CB8AC3E}">
        <p14:creationId xmlns="" xmlns:p14="http://schemas.microsoft.com/office/powerpoint/2010/main" val="1249919384"/>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Title 1"/>
          <p:cNvSpPr>
            <a:spLocks noGrp="1"/>
          </p:cNvSpPr>
          <p:nvPr>
            <p:ph type="title"/>
          </p:nvPr>
        </p:nvSpPr>
        <p:spPr>
          <a:xfrm>
            <a:off x="629841" y="365126"/>
            <a:ext cx="7886700" cy="1325563"/>
          </a:xfrm>
        </p:spPr>
        <p:txBody>
          <a:bodyPr/>
          <a:lstStyle/>
          <a:p>
            <a:r>
              <a:rPr lang="zh-CN" altLang="en-US" smtClean="0"/>
              <a:t>单击此处编辑母版标题样式</a:t>
            </a:r>
            <a:endParaRPr lang="en-US" dirty="0"/>
          </a:p>
        </p:txBody>
      </p:sp>
      <p:sp>
        <p:nvSpPr>
          <p:cNvPr id="3" name="Text Placeholder 2"/>
          <p:cNvSpPr>
            <a:spLocks noGrp="1"/>
          </p:cNvSpPr>
          <p:nvPr>
            <p:ph type="body" idx="1"/>
          </p:nvPr>
        </p:nvSpPr>
        <p:spPr>
          <a:xfrm>
            <a:off x="629842" y="1681163"/>
            <a:ext cx="386834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4" name="Content Placeholder 3"/>
          <p:cNvSpPr>
            <a:spLocks noGrp="1"/>
          </p:cNvSpPr>
          <p:nvPr>
            <p:ph sz="half" idx="2"/>
          </p:nvPr>
        </p:nvSpPr>
        <p:spPr>
          <a:xfrm>
            <a:off x="629842" y="2505075"/>
            <a:ext cx="3868340" cy="3684588"/>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
        <p:nvSpPr>
          <p:cNvPr id="5" name="Text Placeholder 4"/>
          <p:cNvSpPr>
            <a:spLocks noGrp="1"/>
          </p:cNvSpPr>
          <p:nvPr>
            <p:ph type="body" sz="quarter" idx="3"/>
          </p:nvPr>
        </p:nvSpPr>
        <p:spPr>
          <a:xfrm>
            <a:off x="4629150" y="1681163"/>
            <a:ext cx="3887391"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6" name="Content Placeholder 5"/>
          <p:cNvSpPr>
            <a:spLocks noGrp="1"/>
          </p:cNvSpPr>
          <p:nvPr>
            <p:ph sz="quarter" idx="4"/>
          </p:nvPr>
        </p:nvSpPr>
        <p:spPr>
          <a:xfrm>
            <a:off x="4629150" y="2505075"/>
            <a:ext cx="3887391" cy="3684588"/>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
        <p:nvSpPr>
          <p:cNvPr id="7" name="Date Placeholder 6"/>
          <p:cNvSpPr>
            <a:spLocks noGrp="1"/>
          </p:cNvSpPr>
          <p:nvPr>
            <p:ph type="dt" sz="half" idx="10"/>
          </p:nvPr>
        </p:nvSpPr>
        <p:spPr/>
        <p:txBody>
          <a:bodyPr/>
          <a:lstStyle/>
          <a:p>
            <a:fld id="{530820CF-B880-4189-942D-D702A7CBA730}" type="datetimeFigureOut">
              <a:rPr lang="zh-CN" altLang="en-US" smtClean="0">
                <a:solidFill>
                  <a:srgbClr val="5F5F5F">
                    <a:tint val="75000"/>
                  </a:srgbClr>
                </a:solidFill>
              </a:rPr>
              <a:pPr/>
              <a:t>2017/12/7</a:t>
            </a:fld>
            <a:endParaRPr lang="zh-CN" altLang="en-US">
              <a:solidFill>
                <a:srgbClr val="5F5F5F">
                  <a:tint val="75000"/>
                </a:srgbClr>
              </a:solidFill>
            </a:endParaRPr>
          </a:p>
        </p:txBody>
      </p:sp>
      <p:sp>
        <p:nvSpPr>
          <p:cNvPr id="8" name="Footer Placeholder 7"/>
          <p:cNvSpPr>
            <a:spLocks noGrp="1"/>
          </p:cNvSpPr>
          <p:nvPr>
            <p:ph type="ftr" sz="quarter" idx="11"/>
          </p:nvPr>
        </p:nvSpPr>
        <p:spPr/>
        <p:txBody>
          <a:bodyPr/>
          <a:lstStyle/>
          <a:p>
            <a:endParaRPr lang="zh-CN" altLang="en-US">
              <a:solidFill>
                <a:srgbClr val="5F5F5F">
                  <a:tint val="75000"/>
                </a:srgbClr>
              </a:solidFill>
            </a:endParaRPr>
          </a:p>
        </p:txBody>
      </p:sp>
      <p:sp>
        <p:nvSpPr>
          <p:cNvPr id="9" name="Slide Number Placeholder 8"/>
          <p:cNvSpPr>
            <a:spLocks noGrp="1"/>
          </p:cNvSpPr>
          <p:nvPr>
            <p:ph type="sldNum" sz="quarter" idx="12"/>
          </p:nvPr>
        </p:nvSpPr>
        <p:spPr/>
        <p:txBody>
          <a:bodyPr/>
          <a:lstStyle/>
          <a:p>
            <a:fld id="{0C913308-F349-4B6D-A68A-DD1791B4A57B}" type="slidenum">
              <a:rPr lang="zh-CN" altLang="en-US" smtClean="0">
                <a:solidFill>
                  <a:srgbClr val="5F5F5F">
                    <a:tint val="75000"/>
                  </a:srgbClr>
                </a:solidFill>
              </a:rPr>
              <a:pPr/>
              <a:t>‹#›</a:t>
            </a:fld>
            <a:endParaRPr lang="zh-CN" altLang="en-US">
              <a:solidFill>
                <a:srgbClr val="5F5F5F">
                  <a:tint val="75000"/>
                </a:srgbClr>
              </a:solidFill>
            </a:endParaRPr>
          </a:p>
        </p:txBody>
      </p:sp>
    </p:spTree>
    <p:extLst>
      <p:ext uri="{BB962C8B-B14F-4D97-AF65-F5344CB8AC3E}">
        <p14:creationId xmlns="" xmlns:p14="http://schemas.microsoft.com/office/powerpoint/2010/main" val="3578448917"/>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smtClean="0"/>
              <a:t>单击此处编辑母版标题样式</a:t>
            </a:r>
            <a:endParaRPr lang="en-US" dirty="0"/>
          </a:p>
        </p:txBody>
      </p:sp>
      <p:sp>
        <p:nvSpPr>
          <p:cNvPr id="3" name="Date Placeholder 2"/>
          <p:cNvSpPr>
            <a:spLocks noGrp="1"/>
          </p:cNvSpPr>
          <p:nvPr>
            <p:ph type="dt" sz="half" idx="10"/>
          </p:nvPr>
        </p:nvSpPr>
        <p:spPr/>
        <p:txBody>
          <a:bodyPr/>
          <a:lstStyle/>
          <a:p>
            <a:fld id="{530820CF-B880-4189-942D-D702A7CBA730}" type="datetimeFigureOut">
              <a:rPr lang="zh-CN" altLang="en-US" smtClean="0">
                <a:solidFill>
                  <a:srgbClr val="5F5F5F">
                    <a:tint val="75000"/>
                  </a:srgbClr>
                </a:solidFill>
              </a:rPr>
              <a:pPr/>
              <a:t>2017/12/7</a:t>
            </a:fld>
            <a:endParaRPr lang="zh-CN" altLang="en-US">
              <a:solidFill>
                <a:srgbClr val="5F5F5F">
                  <a:tint val="75000"/>
                </a:srgbClr>
              </a:solidFill>
            </a:endParaRPr>
          </a:p>
        </p:txBody>
      </p:sp>
      <p:sp>
        <p:nvSpPr>
          <p:cNvPr id="4" name="Footer Placeholder 3"/>
          <p:cNvSpPr>
            <a:spLocks noGrp="1"/>
          </p:cNvSpPr>
          <p:nvPr>
            <p:ph type="ftr" sz="quarter" idx="11"/>
          </p:nvPr>
        </p:nvSpPr>
        <p:spPr/>
        <p:txBody>
          <a:bodyPr/>
          <a:lstStyle/>
          <a:p>
            <a:endParaRPr lang="zh-CN" altLang="en-US">
              <a:solidFill>
                <a:srgbClr val="5F5F5F">
                  <a:tint val="75000"/>
                </a:srgbClr>
              </a:solidFill>
            </a:endParaRPr>
          </a:p>
        </p:txBody>
      </p:sp>
      <p:sp>
        <p:nvSpPr>
          <p:cNvPr id="5" name="Slide Number Placeholder 4"/>
          <p:cNvSpPr>
            <a:spLocks noGrp="1"/>
          </p:cNvSpPr>
          <p:nvPr>
            <p:ph type="sldNum" sz="quarter" idx="12"/>
          </p:nvPr>
        </p:nvSpPr>
        <p:spPr/>
        <p:txBody>
          <a:bodyPr/>
          <a:lstStyle/>
          <a:p>
            <a:fld id="{0C913308-F349-4B6D-A68A-DD1791B4A57B}" type="slidenum">
              <a:rPr lang="zh-CN" altLang="en-US" smtClean="0">
                <a:solidFill>
                  <a:srgbClr val="5F5F5F">
                    <a:tint val="75000"/>
                  </a:srgbClr>
                </a:solidFill>
              </a:rPr>
              <a:pPr/>
              <a:t>‹#›</a:t>
            </a:fld>
            <a:endParaRPr lang="zh-CN" altLang="en-US">
              <a:solidFill>
                <a:srgbClr val="5F5F5F">
                  <a:tint val="75000"/>
                </a:srgbClr>
              </a:solidFill>
            </a:endParaRPr>
          </a:p>
        </p:txBody>
      </p:sp>
    </p:spTree>
    <p:extLst>
      <p:ext uri="{BB962C8B-B14F-4D97-AF65-F5344CB8AC3E}">
        <p14:creationId xmlns="" xmlns:p14="http://schemas.microsoft.com/office/powerpoint/2010/main" val="3117671923"/>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530820CF-B880-4189-942D-D702A7CBA730}" type="datetimeFigureOut">
              <a:rPr lang="zh-CN" altLang="en-US" smtClean="0">
                <a:solidFill>
                  <a:srgbClr val="5F5F5F">
                    <a:tint val="75000"/>
                  </a:srgbClr>
                </a:solidFill>
              </a:rPr>
              <a:pPr/>
              <a:t>2017/12/7</a:t>
            </a:fld>
            <a:endParaRPr lang="zh-CN" altLang="en-US">
              <a:solidFill>
                <a:srgbClr val="5F5F5F">
                  <a:tint val="75000"/>
                </a:srgbClr>
              </a:solidFill>
            </a:endParaRPr>
          </a:p>
        </p:txBody>
      </p:sp>
      <p:sp>
        <p:nvSpPr>
          <p:cNvPr id="3" name="Footer Placeholder 2"/>
          <p:cNvSpPr>
            <a:spLocks noGrp="1"/>
          </p:cNvSpPr>
          <p:nvPr>
            <p:ph type="ftr" sz="quarter" idx="11"/>
          </p:nvPr>
        </p:nvSpPr>
        <p:spPr/>
        <p:txBody>
          <a:bodyPr/>
          <a:lstStyle/>
          <a:p>
            <a:endParaRPr lang="zh-CN" altLang="en-US">
              <a:solidFill>
                <a:srgbClr val="5F5F5F">
                  <a:tint val="75000"/>
                </a:srgbClr>
              </a:solidFill>
            </a:endParaRPr>
          </a:p>
        </p:txBody>
      </p:sp>
      <p:sp>
        <p:nvSpPr>
          <p:cNvPr id="4" name="Slide Number Placeholder 3"/>
          <p:cNvSpPr>
            <a:spLocks noGrp="1"/>
          </p:cNvSpPr>
          <p:nvPr>
            <p:ph type="sldNum" sz="quarter" idx="12"/>
          </p:nvPr>
        </p:nvSpPr>
        <p:spPr/>
        <p:txBody>
          <a:bodyPr/>
          <a:lstStyle/>
          <a:p>
            <a:fld id="{0C913308-F349-4B6D-A68A-DD1791B4A57B}" type="slidenum">
              <a:rPr lang="zh-CN" altLang="en-US" smtClean="0">
                <a:solidFill>
                  <a:srgbClr val="5F5F5F">
                    <a:tint val="75000"/>
                  </a:srgbClr>
                </a:solidFill>
              </a:rPr>
              <a:pPr/>
              <a:t>‹#›</a:t>
            </a:fld>
            <a:endParaRPr lang="zh-CN" altLang="en-US">
              <a:solidFill>
                <a:srgbClr val="5F5F5F">
                  <a:tint val="75000"/>
                </a:srgbClr>
              </a:solidFill>
            </a:endParaRPr>
          </a:p>
        </p:txBody>
      </p:sp>
    </p:spTree>
    <p:extLst>
      <p:ext uri="{BB962C8B-B14F-4D97-AF65-F5344CB8AC3E}">
        <p14:creationId xmlns="" xmlns:p14="http://schemas.microsoft.com/office/powerpoint/2010/main" val="948420971"/>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zh-CN" altLang="en-US" smtClean="0"/>
              <a:t>单击此处编辑母版标题样式</a:t>
            </a:r>
            <a:endParaRPr lang="en-US" dirty="0"/>
          </a:p>
        </p:txBody>
      </p:sp>
      <p:sp>
        <p:nvSpPr>
          <p:cNvPr id="3" name="Content Placeholder 2"/>
          <p:cNvSpPr>
            <a:spLocks noGrp="1"/>
          </p:cNvSpPr>
          <p:nvPr>
            <p:ph idx="1"/>
          </p:nvPr>
        </p:nvSpPr>
        <p:spPr>
          <a:xfrm>
            <a:off x="3887391" y="987426"/>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smtClean="0"/>
              <a:t>单击此处编辑母版文本样式</a:t>
            </a:r>
          </a:p>
        </p:txBody>
      </p:sp>
      <p:sp>
        <p:nvSpPr>
          <p:cNvPr id="5" name="Date Placeholder 4"/>
          <p:cNvSpPr>
            <a:spLocks noGrp="1"/>
          </p:cNvSpPr>
          <p:nvPr>
            <p:ph type="dt" sz="half" idx="10"/>
          </p:nvPr>
        </p:nvSpPr>
        <p:spPr/>
        <p:txBody>
          <a:bodyPr/>
          <a:lstStyle/>
          <a:p>
            <a:fld id="{530820CF-B880-4189-942D-D702A7CBA730}" type="datetimeFigureOut">
              <a:rPr lang="zh-CN" altLang="en-US" smtClean="0">
                <a:solidFill>
                  <a:srgbClr val="5F5F5F">
                    <a:tint val="75000"/>
                  </a:srgbClr>
                </a:solidFill>
              </a:rPr>
              <a:pPr/>
              <a:t>2017/12/7</a:t>
            </a:fld>
            <a:endParaRPr lang="zh-CN" altLang="en-US">
              <a:solidFill>
                <a:srgbClr val="5F5F5F">
                  <a:tint val="75000"/>
                </a:srgbClr>
              </a:solidFill>
            </a:endParaRPr>
          </a:p>
        </p:txBody>
      </p:sp>
      <p:sp>
        <p:nvSpPr>
          <p:cNvPr id="6" name="Footer Placeholder 5"/>
          <p:cNvSpPr>
            <a:spLocks noGrp="1"/>
          </p:cNvSpPr>
          <p:nvPr>
            <p:ph type="ftr" sz="quarter" idx="11"/>
          </p:nvPr>
        </p:nvSpPr>
        <p:spPr/>
        <p:txBody>
          <a:bodyPr/>
          <a:lstStyle/>
          <a:p>
            <a:endParaRPr lang="zh-CN" altLang="en-US">
              <a:solidFill>
                <a:srgbClr val="5F5F5F">
                  <a:tint val="75000"/>
                </a:srgbClr>
              </a:solidFill>
            </a:endParaRPr>
          </a:p>
        </p:txBody>
      </p:sp>
      <p:sp>
        <p:nvSpPr>
          <p:cNvPr id="7" name="Slide Number Placeholder 6"/>
          <p:cNvSpPr>
            <a:spLocks noGrp="1"/>
          </p:cNvSpPr>
          <p:nvPr>
            <p:ph type="sldNum" sz="quarter" idx="12"/>
          </p:nvPr>
        </p:nvSpPr>
        <p:spPr/>
        <p:txBody>
          <a:bodyPr/>
          <a:lstStyle/>
          <a:p>
            <a:fld id="{0C913308-F349-4B6D-A68A-DD1791B4A57B}" type="slidenum">
              <a:rPr lang="zh-CN" altLang="en-US" smtClean="0">
                <a:solidFill>
                  <a:srgbClr val="5F5F5F">
                    <a:tint val="75000"/>
                  </a:srgbClr>
                </a:solidFill>
              </a:rPr>
              <a:pPr/>
              <a:t>‹#›</a:t>
            </a:fld>
            <a:endParaRPr lang="zh-CN" altLang="en-US">
              <a:solidFill>
                <a:srgbClr val="5F5F5F">
                  <a:tint val="75000"/>
                </a:srgbClr>
              </a:solidFill>
            </a:endParaRPr>
          </a:p>
        </p:txBody>
      </p:sp>
    </p:spTree>
    <p:extLst>
      <p:ext uri="{BB962C8B-B14F-4D97-AF65-F5344CB8AC3E}">
        <p14:creationId xmlns="" xmlns:p14="http://schemas.microsoft.com/office/powerpoint/2010/main" val="3285746566"/>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zh-CN" altLang="en-US" smtClean="0"/>
              <a:t>单击此处编辑母版标题样式</a:t>
            </a:r>
            <a:endParaRPr lang="en-US" dirty="0"/>
          </a:p>
        </p:txBody>
      </p:sp>
      <p:sp>
        <p:nvSpPr>
          <p:cNvPr id="3" name="Picture Placeholder 2"/>
          <p:cNvSpPr>
            <a:spLocks noGrp="1" noChangeAspect="1"/>
          </p:cNvSpPr>
          <p:nvPr>
            <p:ph type="pic" idx="1"/>
          </p:nvPr>
        </p:nvSpPr>
        <p:spPr>
          <a:xfrm>
            <a:off x="3887391" y="987426"/>
            <a:ext cx="462915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zh-CN" altLang="en-US" smtClean="0"/>
              <a:t>单击图标添加图片</a:t>
            </a:r>
            <a:endParaRPr lang="en-US" dirty="0"/>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smtClean="0"/>
              <a:t>单击此处编辑母版文本样式</a:t>
            </a:r>
          </a:p>
        </p:txBody>
      </p:sp>
      <p:sp>
        <p:nvSpPr>
          <p:cNvPr id="5" name="Date Placeholder 4"/>
          <p:cNvSpPr>
            <a:spLocks noGrp="1"/>
          </p:cNvSpPr>
          <p:nvPr>
            <p:ph type="dt" sz="half" idx="10"/>
          </p:nvPr>
        </p:nvSpPr>
        <p:spPr/>
        <p:txBody>
          <a:bodyPr/>
          <a:lstStyle/>
          <a:p>
            <a:fld id="{530820CF-B880-4189-942D-D702A7CBA730}" type="datetimeFigureOut">
              <a:rPr lang="zh-CN" altLang="en-US" smtClean="0">
                <a:solidFill>
                  <a:srgbClr val="5F5F5F">
                    <a:tint val="75000"/>
                  </a:srgbClr>
                </a:solidFill>
              </a:rPr>
              <a:pPr/>
              <a:t>2017/12/7</a:t>
            </a:fld>
            <a:endParaRPr lang="zh-CN" altLang="en-US">
              <a:solidFill>
                <a:srgbClr val="5F5F5F">
                  <a:tint val="75000"/>
                </a:srgbClr>
              </a:solidFill>
            </a:endParaRPr>
          </a:p>
        </p:txBody>
      </p:sp>
      <p:sp>
        <p:nvSpPr>
          <p:cNvPr id="6" name="Footer Placeholder 5"/>
          <p:cNvSpPr>
            <a:spLocks noGrp="1"/>
          </p:cNvSpPr>
          <p:nvPr>
            <p:ph type="ftr" sz="quarter" idx="11"/>
          </p:nvPr>
        </p:nvSpPr>
        <p:spPr/>
        <p:txBody>
          <a:bodyPr/>
          <a:lstStyle/>
          <a:p>
            <a:endParaRPr lang="zh-CN" altLang="en-US">
              <a:solidFill>
                <a:srgbClr val="5F5F5F">
                  <a:tint val="75000"/>
                </a:srgbClr>
              </a:solidFill>
            </a:endParaRPr>
          </a:p>
        </p:txBody>
      </p:sp>
      <p:sp>
        <p:nvSpPr>
          <p:cNvPr id="7" name="Slide Number Placeholder 6"/>
          <p:cNvSpPr>
            <a:spLocks noGrp="1"/>
          </p:cNvSpPr>
          <p:nvPr>
            <p:ph type="sldNum" sz="quarter" idx="12"/>
          </p:nvPr>
        </p:nvSpPr>
        <p:spPr/>
        <p:txBody>
          <a:bodyPr/>
          <a:lstStyle/>
          <a:p>
            <a:fld id="{0C913308-F349-4B6D-A68A-DD1791B4A57B}" type="slidenum">
              <a:rPr lang="zh-CN" altLang="en-US" smtClean="0">
                <a:solidFill>
                  <a:srgbClr val="5F5F5F">
                    <a:tint val="75000"/>
                  </a:srgbClr>
                </a:solidFill>
              </a:rPr>
              <a:pPr/>
              <a:t>‹#›</a:t>
            </a:fld>
            <a:endParaRPr lang="zh-CN" altLang="en-US">
              <a:solidFill>
                <a:srgbClr val="5F5F5F">
                  <a:tint val="75000"/>
                </a:srgbClr>
              </a:solidFill>
            </a:endParaRPr>
          </a:p>
        </p:txBody>
      </p:sp>
    </p:spTree>
    <p:extLst>
      <p:ext uri="{BB962C8B-B14F-4D97-AF65-F5344CB8AC3E}">
        <p14:creationId xmlns="" xmlns:p14="http://schemas.microsoft.com/office/powerpoint/2010/main" val="2189442021"/>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smtClean="0"/>
              <a:t>单击此处编辑母版标题样式</a:t>
            </a:r>
            <a:endParaRPr lang="en-US" dirty="0"/>
          </a:p>
        </p:txBody>
      </p:sp>
      <p:sp>
        <p:nvSpPr>
          <p:cNvPr id="3" name="Vertical Text Placeholder 2"/>
          <p:cNvSpPr>
            <a:spLocks noGrp="1"/>
          </p:cNvSpPr>
          <p:nvPr>
            <p:ph type="body" orient="vert" idx="1"/>
          </p:nvPr>
        </p:nvSpPr>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
        <p:nvSpPr>
          <p:cNvPr id="4" name="Date Placeholder 3"/>
          <p:cNvSpPr>
            <a:spLocks noGrp="1"/>
          </p:cNvSpPr>
          <p:nvPr>
            <p:ph type="dt" sz="half" idx="10"/>
          </p:nvPr>
        </p:nvSpPr>
        <p:spPr/>
        <p:txBody>
          <a:bodyPr/>
          <a:lstStyle/>
          <a:p>
            <a:fld id="{530820CF-B880-4189-942D-D702A7CBA730}" type="datetimeFigureOut">
              <a:rPr lang="zh-CN" altLang="en-US" smtClean="0">
                <a:solidFill>
                  <a:srgbClr val="5F5F5F">
                    <a:tint val="75000"/>
                  </a:srgbClr>
                </a:solidFill>
              </a:rPr>
              <a:pPr/>
              <a:t>2017/12/7</a:t>
            </a:fld>
            <a:endParaRPr lang="zh-CN" altLang="en-US">
              <a:solidFill>
                <a:srgbClr val="5F5F5F">
                  <a:tint val="75000"/>
                </a:srgbClr>
              </a:solidFill>
            </a:endParaRPr>
          </a:p>
        </p:txBody>
      </p:sp>
      <p:sp>
        <p:nvSpPr>
          <p:cNvPr id="5" name="Footer Placeholder 4"/>
          <p:cNvSpPr>
            <a:spLocks noGrp="1"/>
          </p:cNvSpPr>
          <p:nvPr>
            <p:ph type="ftr" sz="quarter" idx="11"/>
          </p:nvPr>
        </p:nvSpPr>
        <p:spPr/>
        <p:txBody>
          <a:bodyPr/>
          <a:lstStyle/>
          <a:p>
            <a:endParaRPr lang="zh-CN" altLang="en-US">
              <a:solidFill>
                <a:srgbClr val="5F5F5F">
                  <a:tint val="75000"/>
                </a:srgbClr>
              </a:solidFill>
            </a:endParaRPr>
          </a:p>
        </p:txBody>
      </p:sp>
      <p:sp>
        <p:nvSpPr>
          <p:cNvPr id="6" name="Slide Number Placeholder 5"/>
          <p:cNvSpPr>
            <a:spLocks noGrp="1"/>
          </p:cNvSpPr>
          <p:nvPr>
            <p:ph type="sldNum" sz="quarter" idx="12"/>
          </p:nvPr>
        </p:nvSpPr>
        <p:spPr/>
        <p:txBody>
          <a:bodyPr/>
          <a:lstStyle/>
          <a:p>
            <a:fld id="{0C913308-F349-4B6D-A68A-DD1791B4A57B}" type="slidenum">
              <a:rPr lang="zh-CN" altLang="en-US" smtClean="0">
                <a:solidFill>
                  <a:srgbClr val="5F5F5F">
                    <a:tint val="75000"/>
                  </a:srgbClr>
                </a:solidFill>
              </a:rPr>
              <a:pPr/>
              <a:t>‹#›</a:t>
            </a:fld>
            <a:endParaRPr lang="zh-CN" altLang="en-US">
              <a:solidFill>
                <a:srgbClr val="5F5F5F">
                  <a:tint val="75000"/>
                </a:srgbClr>
              </a:solidFill>
            </a:endParaRPr>
          </a:p>
        </p:txBody>
      </p:sp>
    </p:spTree>
    <p:extLst>
      <p:ext uri="{BB962C8B-B14F-4D97-AF65-F5344CB8AC3E}">
        <p14:creationId xmlns="" xmlns:p14="http://schemas.microsoft.com/office/powerpoint/2010/main" val="38188425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457200" y="273050"/>
            <a:ext cx="3008313" cy="1162050"/>
          </a:xfrm>
        </p:spPr>
        <p:txBody>
          <a:bodyPr anchor="b"/>
          <a:lstStyle>
            <a:lvl1pPr algn="l">
              <a:defRPr sz="2000" b="1"/>
            </a:lvl1pPr>
          </a:lstStyle>
          <a:p>
            <a:r>
              <a:rPr lang="zh-CN" altLang="en-US" smtClean="0"/>
              <a:t>单击此处编辑母版标题样式</a:t>
            </a:r>
            <a:endParaRPr lang="zh-CN" altLang="en-US"/>
          </a:p>
        </p:txBody>
      </p:sp>
      <p:sp>
        <p:nvSpPr>
          <p:cNvPr id="3" name="内容占位符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文本占位符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smtClean="0"/>
              <a:t>单击此处编辑母版文本样式</a:t>
            </a:r>
          </a:p>
        </p:txBody>
      </p:sp>
      <p:sp>
        <p:nvSpPr>
          <p:cNvPr id="5" name="日期占位符 4"/>
          <p:cNvSpPr>
            <a:spLocks noGrp="1"/>
          </p:cNvSpPr>
          <p:nvPr>
            <p:ph type="dt" sz="half" idx="10"/>
          </p:nvPr>
        </p:nvSpPr>
        <p:spPr/>
        <p:txBody>
          <a:bodyPr/>
          <a:lstStyle/>
          <a:p>
            <a:fld id="{530820CF-B880-4189-942D-D702A7CBA730}" type="datetimeFigureOut">
              <a:rPr lang="zh-CN" altLang="en-US" smtClean="0"/>
              <a:pPr/>
              <a:t>2017/12/7</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0C913308-F349-4B6D-A68A-DD1791B4A57B}" type="slidenum">
              <a:rPr lang="zh-CN" altLang="en-US" smtClean="0"/>
              <a:pPr/>
              <a:t>‹#›</a:t>
            </a:fld>
            <a:endParaRPr lang="zh-CN" altLang="en-US"/>
          </a:p>
        </p:txBody>
      </p:sp>
    </p:spTree>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vertTitleAndTx" preserve="1">
  <p:cSld name="垂直排列标题与&#10;文本">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5"/>
            <a:ext cx="1971675" cy="5811838"/>
          </a:xfrm>
        </p:spPr>
        <p:txBody>
          <a:bodyPr vert="eaVert"/>
          <a:lstStyle/>
          <a:p>
            <a:r>
              <a:rPr lang="zh-CN" altLang="en-US" smtClean="0"/>
              <a:t>单击此处编辑母版标题样式</a:t>
            </a:r>
            <a:endParaRPr lang="en-US" dirty="0"/>
          </a:p>
        </p:txBody>
      </p:sp>
      <p:sp>
        <p:nvSpPr>
          <p:cNvPr id="3" name="Vertical Text Placeholder 2"/>
          <p:cNvSpPr>
            <a:spLocks noGrp="1"/>
          </p:cNvSpPr>
          <p:nvPr>
            <p:ph type="body" orient="vert" idx="1"/>
          </p:nvPr>
        </p:nvSpPr>
        <p:spPr>
          <a:xfrm>
            <a:off x="628650" y="365125"/>
            <a:ext cx="5800725" cy="5811838"/>
          </a:xfrm>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
        <p:nvSpPr>
          <p:cNvPr id="4" name="Date Placeholder 3"/>
          <p:cNvSpPr>
            <a:spLocks noGrp="1"/>
          </p:cNvSpPr>
          <p:nvPr>
            <p:ph type="dt" sz="half" idx="10"/>
          </p:nvPr>
        </p:nvSpPr>
        <p:spPr/>
        <p:txBody>
          <a:bodyPr/>
          <a:lstStyle/>
          <a:p>
            <a:pPr>
              <a:defRPr/>
            </a:pPr>
            <a:endParaRPr lang="zh-CN" altLang="en-US">
              <a:solidFill>
                <a:prstClr val="black">
                  <a:tint val="75000"/>
                </a:prstClr>
              </a:solidFill>
            </a:endParaRPr>
          </a:p>
        </p:txBody>
      </p:sp>
      <p:sp>
        <p:nvSpPr>
          <p:cNvPr id="5" name="Footer Placeholder 4"/>
          <p:cNvSpPr>
            <a:spLocks noGrp="1"/>
          </p:cNvSpPr>
          <p:nvPr>
            <p:ph type="ftr" sz="quarter" idx="11"/>
          </p:nvPr>
        </p:nvSpPr>
        <p:spPr/>
        <p:txBody>
          <a:bodyPr/>
          <a:lstStyle/>
          <a:p>
            <a:pPr>
              <a:defRPr/>
            </a:pPr>
            <a:endParaRPr lang="zh-CN" altLang="en-US">
              <a:solidFill>
                <a:prstClr val="black">
                  <a:tint val="75000"/>
                </a:prstClr>
              </a:solidFill>
            </a:endParaRPr>
          </a:p>
        </p:txBody>
      </p:sp>
      <p:sp>
        <p:nvSpPr>
          <p:cNvPr id="6" name="Slide Number Placeholder 5"/>
          <p:cNvSpPr>
            <a:spLocks noGrp="1"/>
          </p:cNvSpPr>
          <p:nvPr>
            <p:ph type="sldNum" sz="quarter" idx="12"/>
          </p:nvPr>
        </p:nvSpPr>
        <p:spPr/>
        <p:txBody>
          <a:bodyPr/>
          <a:lstStyle/>
          <a:p>
            <a:pPr>
              <a:defRPr/>
            </a:pPr>
            <a:fld id="{4B2839AC-552B-4714-A258-C5E7A832E436}" type="slidenum">
              <a:rPr lang="zh-CN" altLang="en-US" smtClean="0">
                <a:solidFill>
                  <a:prstClr val="black">
                    <a:tint val="75000"/>
                  </a:prstClr>
                </a:solidFill>
              </a:rPr>
              <a:pPr>
                <a:defRPr/>
              </a:pPr>
              <a:t>‹#›</a:t>
            </a:fld>
            <a:endParaRPr lang="zh-CN" altLang="en-US">
              <a:solidFill>
                <a:prstClr val="black">
                  <a:tint val="75000"/>
                </a:prstClr>
              </a:solidFill>
            </a:endParaRPr>
          </a:p>
        </p:txBody>
      </p:sp>
    </p:spTree>
    <p:extLst>
      <p:ext uri="{BB962C8B-B14F-4D97-AF65-F5344CB8AC3E}">
        <p14:creationId xmlns="" xmlns:p14="http://schemas.microsoft.com/office/powerpoint/2010/main" val="4970756"/>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1_自定义版式">
    <p:spTree>
      <p:nvGrpSpPr>
        <p:cNvPr id="1" name=""/>
        <p:cNvGrpSpPr/>
        <p:nvPr/>
      </p:nvGrpSpPr>
      <p:grpSpPr>
        <a:xfrm>
          <a:off x="0" y="0"/>
          <a:ext cx="0" cy="0"/>
          <a:chOff x="0" y="0"/>
          <a:chExt cx="0" cy="0"/>
        </a:xfrm>
      </p:grpSpPr>
      <p:pic>
        <p:nvPicPr>
          <p:cNvPr id="4" name="图片 6"/>
          <p:cNvPicPr>
            <a:picLocks noChangeAspect="1"/>
          </p:cNvPicPr>
          <p:nvPr userDrawn="1"/>
        </p:nvPicPr>
        <p:blipFill>
          <a:blip r:embed="rId2" cstate="print"/>
          <a:srcRect t="38547"/>
          <a:stretch>
            <a:fillRect/>
          </a:stretch>
        </p:blipFill>
        <p:spPr bwMode="auto">
          <a:xfrm>
            <a:off x="0" y="0"/>
            <a:ext cx="9144000" cy="900113"/>
          </a:xfrm>
          <a:prstGeom prst="rect">
            <a:avLst/>
          </a:prstGeom>
          <a:noFill/>
          <a:ln w="9525">
            <a:noFill/>
            <a:miter lim="800000"/>
            <a:headEnd/>
            <a:tailEnd/>
          </a:ln>
        </p:spPr>
      </p:pic>
      <p:sp>
        <p:nvSpPr>
          <p:cNvPr id="6" name="Title Placeholder 1"/>
          <p:cNvSpPr>
            <a:spLocks noGrp="1"/>
          </p:cNvSpPr>
          <p:nvPr>
            <p:ph type="title"/>
          </p:nvPr>
        </p:nvSpPr>
        <p:spPr>
          <a:xfrm>
            <a:off x="1285336" y="114992"/>
            <a:ext cx="7263440" cy="525121"/>
          </a:xfrm>
          <a:prstGeom prst="rect">
            <a:avLst/>
          </a:prstGeom>
        </p:spPr>
        <p:txBody>
          <a:bodyPr rtlCol="0">
            <a:normAutofit/>
          </a:bodyPr>
          <a:lstStyle>
            <a:lvl1pPr algn="l">
              <a:defRPr sz="3200" b="1">
                <a:effectLst>
                  <a:outerShdw blurRad="38100" dist="38100" dir="2700000" algn="tl">
                    <a:srgbClr val="000000">
                      <a:alpha val="43137"/>
                    </a:srgbClr>
                  </a:outerShdw>
                </a:effectLst>
                <a:latin typeface="黑体" panose="02010609060101010101" pitchFamily="49" charset="-122"/>
                <a:ea typeface="黑体" panose="02010609060101010101" pitchFamily="49" charset="-122"/>
              </a:defRPr>
            </a:lvl1pPr>
          </a:lstStyle>
          <a:p>
            <a:r>
              <a:rPr lang="zh-CN" altLang="en-US" dirty="0" smtClean="0"/>
              <a:t>单击此处编辑母版标题样式</a:t>
            </a:r>
            <a:endParaRPr lang="en-US" dirty="0"/>
          </a:p>
        </p:txBody>
      </p:sp>
      <p:sp>
        <p:nvSpPr>
          <p:cNvPr id="5" name="内容占位符 5"/>
          <p:cNvSpPr>
            <a:spLocks noGrp="1"/>
          </p:cNvSpPr>
          <p:nvPr>
            <p:ph sz="quarter" idx="10"/>
          </p:nvPr>
        </p:nvSpPr>
        <p:spPr>
          <a:xfrm>
            <a:off x="361957" y="114331"/>
            <a:ext cx="544513" cy="525463"/>
          </a:xfrm>
          <a:prstGeom prst="rect">
            <a:avLst/>
          </a:prstGeom>
        </p:spPr>
        <p:txBody>
          <a:bodyPr/>
          <a:lstStyle>
            <a:lvl1pPr marL="0" indent="0" algn="ctr">
              <a:buNone/>
              <a:defRPr sz="3600" b="1">
                <a:solidFill>
                  <a:schemeClr val="bg1"/>
                </a:solidFill>
                <a:effectLst>
                  <a:outerShdw blurRad="38100" dist="38100" dir="2700000" algn="tl">
                    <a:srgbClr val="000000">
                      <a:alpha val="43137"/>
                    </a:srgbClr>
                  </a:outerShdw>
                </a:effectLst>
                <a:latin typeface="黑体" panose="02010609060101010101" pitchFamily="49" charset="-122"/>
                <a:ea typeface="黑体" panose="02010609060101010101" pitchFamily="49" charset="-122"/>
              </a:defRPr>
            </a:lvl1pPr>
          </a:lstStyle>
          <a:p>
            <a:pPr lvl="0"/>
            <a:r>
              <a:rPr lang="zh-CN" altLang="en-US" dirty="0" smtClean="0"/>
              <a:t>单击此处编辑母版文本样式</a:t>
            </a:r>
          </a:p>
        </p:txBody>
      </p:sp>
      <p:sp>
        <p:nvSpPr>
          <p:cNvPr id="7" name="五边形 6"/>
          <p:cNvSpPr/>
          <p:nvPr userDrawn="1"/>
        </p:nvSpPr>
        <p:spPr>
          <a:xfrm rot="5400000">
            <a:off x="75441" y="227812"/>
            <a:ext cx="1134460" cy="687298"/>
          </a:xfrm>
          <a:prstGeom prst="homePlate">
            <a:avLst/>
          </a:prstGeom>
        </p:spPr>
        <p:style>
          <a:lnRef idx="0">
            <a:schemeClr val="accent2"/>
          </a:lnRef>
          <a:fillRef idx="3">
            <a:schemeClr val="accent2"/>
          </a:fillRef>
          <a:effectRef idx="3">
            <a:schemeClr val="accent2"/>
          </a:effectRef>
          <a:fontRef idx="minor">
            <a:schemeClr val="lt1"/>
          </a:fontRef>
        </p:style>
        <p:txBody>
          <a:bodyPr lIns="91389" tIns="45694" rIns="91389" bIns="45694" anchor="ctr"/>
          <a:lstStyle/>
          <a:p>
            <a:pPr algn="ctr" fontAlgn="base">
              <a:spcBef>
                <a:spcPct val="0"/>
              </a:spcBef>
              <a:spcAft>
                <a:spcPct val="0"/>
              </a:spcAft>
              <a:defRPr/>
            </a:pPr>
            <a:endParaRPr lang="zh-CN" altLang="en-US">
              <a:solidFill>
                <a:prstClr val="white"/>
              </a:solidFill>
              <a:effectLst>
                <a:outerShdw blurRad="38100" dist="38100" dir="2700000" algn="tl">
                  <a:srgbClr val="000000">
                    <a:alpha val="43137"/>
                  </a:srgbClr>
                </a:outerShdw>
              </a:effectLst>
            </a:endParaRPr>
          </a:p>
        </p:txBody>
      </p:sp>
    </p:spTree>
  </p:cSld>
  <p:clrMapOvr>
    <a:masterClrMapping/>
  </p:clrMapOvr>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1_标题和内容">
    <p:spTree>
      <p:nvGrpSpPr>
        <p:cNvPr id="1" name=""/>
        <p:cNvGrpSpPr/>
        <p:nvPr/>
      </p:nvGrpSpPr>
      <p:grpSpPr>
        <a:xfrm>
          <a:off x="0" y="0"/>
          <a:ext cx="0" cy="0"/>
          <a:chOff x="0" y="0"/>
          <a:chExt cx="0" cy="0"/>
        </a:xfrm>
      </p:grpSpPr>
      <p:pic>
        <p:nvPicPr>
          <p:cNvPr id="2" name="图片 6" descr="3-1.png"/>
          <p:cNvPicPr>
            <a:picLocks noChangeAspect="1"/>
          </p:cNvPicPr>
          <p:nvPr userDrawn="1"/>
        </p:nvPicPr>
        <p:blipFill>
          <a:blip r:embed="rId2" cstate="print"/>
          <a:srcRect/>
          <a:stretch>
            <a:fillRect/>
          </a:stretch>
        </p:blipFill>
        <p:spPr bwMode="auto">
          <a:xfrm>
            <a:off x="1588" y="0"/>
            <a:ext cx="9140825" cy="6858000"/>
          </a:xfrm>
          <a:prstGeom prst="rect">
            <a:avLst/>
          </a:prstGeom>
          <a:noFill/>
          <a:ln w="9525">
            <a:noFill/>
            <a:miter lim="800000"/>
            <a:headEnd/>
            <a:tailEnd/>
          </a:ln>
        </p:spPr>
      </p:pic>
      <p:pic>
        <p:nvPicPr>
          <p:cNvPr id="3" name="图片 7" descr="3-2.png"/>
          <p:cNvPicPr>
            <a:picLocks/>
          </p:cNvPicPr>
          <p:nvPr userDrawn="1"/>
        </p:nvPicPr>
        <p:blipFill>
          <a:blip r:embed="rId3" cstate="print"/>
          <a:srcRect/>
          <a:stretch>
            <a:fillRect/>
          </a:stretch>
        </p:blipFill>
        <p:spPr bwMode="auto">
          <a:xfrm>
            <a:off x="1588" y="80963"/>
            <a:ext cx="9140825" cy="6588125"/>
          </a:xfrm>
          <a:prstGeom prst="rect">
            <a:avLst/>
          </a:prstGeom>
          <a:noFill/>
          <a:ln w="9525">
            <a:noFill/>
            <a:miter lim="800000"/>
            <a:headEnd/>
            <a:tailEnd/>
          </a:ln>
        </p:spPr>
      </p:pic>
      <p:pic>
        <p:nvPicPr>
          <p:cNvPr id="4" name="图片 8" descr="master03_image003.png"/>
          <p:cNvPicPr>
            <a:picLocks noChangeAspect="1"/>
          </p:cNvPicPr>
          <p:nvPr userDrawn="1"/>
        </p:nvPicPr>
        <p:blipFill>
          <a:blip r:embed="rId4" cstate="print"/>
          <a:srcRect/>
          <a:stretch>
            <a:fillRect/>
          </a:stretch>
        </p:blipFill>
        <p:spPr bwMode="auto">
          <a:xfrm>
            <a:off x="-36513" y="71438"/>
            <a:ext cx="1922463" cy="1341437"/>
          </a:xfrm>
          <a:prstGeom prst="rect">
            <a:avLst/>
          </a:prstGeom>
          <a:noFill/>
          <a:ln w="9525">
            <a:noFill/>
            <a:miter lim="800000"/>
            <a:headEnd/>
            <a:tailEnd/>
          </a:ln>
        </p:spPr>
      </p:pic>
      <p:pic>
        <p:nvPicPr>
          <p:cNvPr id="5" name="图片 9" descr="slide0001_image013.png"/>
          <p:cNvPicPr>
            <a:picLocks noChangeAspect="1"/>
          </p:cNvPicPr>
          <p:nvPr userDrawn="1"/>
        </p:nvPicPr>
        <p:blipFill>
          <a:blip r:embed="rId5" cstate="print"/>
          <a:srcRect/>
          <a:stretch>
            <a:fillRect/>
          </a:stretch>
        </p:blipFill>
        <p:spPr bwMode="auto">
          <a:xfrm>
            <a:off x="4572000" y="4292600"/>
            <a:ext cx="4608513" cy="2592388"/>
          </a:xfrm>
          <a:prstGeom prst="rect">
            <a:avLst/>
          </a:prstGeom>
          <a:noFill/>
          <a:ln w="9525">
            <a:noFill/>
            <a:miter lim="800000"/>
            <a:headEnd/>
            <a:tailEnd/>
          </a:ln>
        </p:spPr>
      </p:pic>
      <p:pic>
        <p:nvPicPr>
          <p:cNvPr id="6" name="图片 10" descr="杂志社logo带新网址（一点红）_副本.jpg"/>
          <p:cNvPicPr>
            <a:picLocks noChangeAspect="1"/>
          </p:cNvPicPr>
          <p:nvPr userDrawn="1"/>
        </p:nvPicPr>
        <p:blipFill>
          <a:blip r:embed="rId6" cstate="print">
            <a:clrChange>
              <a:clrFrom>
                <a:srgbClr val="FFFFFF"/>
              </a:clrFrom>
              <a:clrTo>
                <a:srgbClr val="FFFFFF">
                  <a:alpha val="0"/>
                </a:srgbClr>
              </a:clrTo>
            </a:clrChange>
          </a:blip>
          <a:srcRect/>
          <a:stretch>
            <a:fillRect/>
          </a:stretch>
        </p:blipFill>
        <p:spPr bwMode="auto">
          <a:xfrm>
            <a:off x="144463" y="6276975"/>
            <a:ext cx="2232025" cy="457200"/>
          </a:xfrm>
          <a:prstGeom prst="rect">
            <a:avLst/>
          </a:prstGeom>
          <a:noFill/>
          <a:ln w="9525">
            <a:noFill/>
            <a:miter lim="800000"/>
            <a:headEnd/>
            <a:tailEnd/>
          </a:ln>
        </p:spPr>
      </p:pic>
    </p:spTree>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6_标题和内容">
    <p:spTree>
      <p:nvGrpSpPr>
        <p:cNvPr id="1" name=""/>
        <p:cNvGrpSpPr/>
        <p:nvPr/>
      </p:nvGrpSpPr>
      <p:grpSpPr>
        <a:xfrm>
          <a:off x="0" y="0"/>
          <a:ext cx="0" cy="0"/>
          <a:chOff x="0" y="0"/>
          <a:chExt cx="0" cy="0"/>
        </a:xfrm>
      </p:grpSpPr>
      <p:pic>
        <p:nvPicPr>
          <p:cNvPr id="2" name="图片 6" descr="3-1.png"/>
          <p:cNvPicPr>
            <a:picLocks noChangeAspect="1"/>
          </p:cNvPicPr>
          <p:nvPr userDrawn="1"/>
        </p:nvPicPr>
        <p:blipFill>
          <a:blip r:embed="rId2" cstate="print"/>
          <a:srcRect/>
          <a:stretch>
            <a:fillRect/>
          </a:stretch>
        </p:blipFill>
        <p:spPr bwMode="auto">
          <a:xfrm>
            <a:off x="1588" y="0"/>
            <a:ext cx="9140825" cy="6858000"/>
          </a:xfrm>
          <a:prstGeom prst="rect">
            <a:avLst/>
          </a:prstGeom>
          <a:noFill/>
          <a:ln w="9525">
            <a:noFill/>
            <a:miter lim="800000"/>
            <a:headEnd/>
            <a:tailEnd/>
          </a:ln>
        </p:spPr>
      </p:pic>
      <p:pic>
        <p:nvPicPr>
          <p:cNvPr id="3" name="图片 7" descr="3-2.png"/>
          <p:cNvPicPr>
            <a:picLocks noChangeAspect="1"/>
          </p:cNvPicPr>
          <p:nvPr userDrawn="1"/>
        </p:nvPicPr>
        <p:blipFill>
          <a:blip r:embed="rId3" cstate="print"/>
          <a:srcRect/>
          <a:stretch>
            <a:fillRect/>
          </a:stretch>
        </p:blipFill>
        <p:spPr bwMode="auto">
          <a:xfrm>
            <a:off x="1588" y="-171450"/>
            <a:ext cx="9140825" cy="6985000"/>
          </a:xfrm>
          <a:prstGeom prst="rect">
            <a:avLst/>
          </a:prstGeom>
          <a:noFill/>
          <a:ln w="9525">
            <a:noFill/>
            <a:miter lim="800000"/>
            <a:headEnd/>
            <a:tailEnd/>
          </a:ln>
        </p:spPr>
      </p:pic>
      <p:pic>
        <p:nvPicPr>
          <p:cNvPr id="4" name="图片 8" descr="slide0001_image013.png"/>
          <p:cNvPicPr>
            <a:picLocks noChangeAspect="1"/>
          </p:cNvPicPr>
          <p:nvPr userDrawn="1"/>
        </p:nvPicPr>
        <p:blipFill>
          <a:blip r:embed="rId4" cstate="print"/>
          <a:srcRect/>
          <a:stretch>
            <a:fillRect/>
          </a:stretch>
        </p:blipFill>
        <p:spPr bwMode="auto">
          <a:xfrm>
            <a:off x="4572000" y="4292600"/>
            <a:ext cx="4608513" cy="2592388"/>
          </a:xfrm>
          <a:prstGeom prst="rect">
            <a:avLst/>
          </a:prstGeom>
          <a:noFill/>
          <a:ln w="9525">
            <a:noFill/>
            <a:miter lim="800000"/>
            <a:headEnd/>
            <a:tailEnd/>
          </a:ln>
        </p:spPr>
      </p:pic>
      <p:pic>
        <p:nvPicPr>
          <p:cNvPr id="5" name="图片 9" descr="杂志社logo带新网址（一点红）_副本.jpg"/>
          <p:cNvPicPr>
            <a:picLocks/>
          </p:cNvPicPr>
          <p:nvPr userDrawn="1"/>
        </p:nvPicPr>
        <p:blipFill>
          <a:blip r:embed="rId5" cstate="print">
            <a:clrChange>
              <a:clrFrom>
                <a:srgbClr val="FFFFFF"/>
              </a:clrFrom>
              <a:clrTo>
                <a:srgbClr val="FFFFFF">
                  <a:alpha val="0"/>
                </a:srgbClr>
              </a:clrTo>
            </a:clrChange>
          </a:blip>
          <a:srcRect/>
          <a:stretch>
            <a:fillRect/>
          </a:stretch>
        </p:blipFill>
        <p:spPr bwMode="auto">
          <a:xfrm>
            <a:off x="179388" y="6381750"/>
            <a:ext cx="2232025" cy="431800"/>
          </a:xfrm>
          <a:prstGeom prst="rect">
            <a:avLst/>
          </a:prstGeom>
          <a:noFill/>
          <a:ln w="9525">
            <a:noFill/>
            <a:miter lim="800000"/>
            <a:headEnd/>
            <a:tailEnd/>
          </a:ln>
        </p:spPr>
      </p:pic>
    </p:spTree>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5_标题和内容">
    <p:spTree>
      <p:nvGrpSpPr>
        <p:cNvPr id="1" name=""/>
        <p:cNvGrpSpPr/>
        <p:nvPr/>
      </p:nvGrpSpPr>
      <p:grpSpPr>
        <a:xfrm>
          <a:off x="0" y="0"/>
          <a:ext cx="0" cy="0"/>
          <a:chOff x="0" y="0"/>
          <a:chExt cx="0" cy="0"/>
        </a:xfrm>
      </p:grpSpPr>
      <p:pic>
        <p:nvPicPr>
          <p:cNvPr id="2" name="图片 6" descr="3-1.png"/>
          <p:cNvPicPr>
            <a:picLocks noChangeAspect="1"/>
          </p:cNvPicPr>
          <p:nvPr userDrawn="1"/>
        </p:nvPicPr>
        <p:blipFill>
          <a:blip r:embed="rId2" cstate="print"/>
          <a:srcRect/>
          <a:stretch>
            <a:fillRect/>
          </a:stretch>
        </p:blipFill>
        <p:spPr bwMode="auto">
          <a:xfrm>
            <a:off x="1588" y="0"/>
            <a:ext cx="9140825" cy="6858000"/>
          </a:xfrm>
          <a:prstGeom prst="rect">
            <a:avLst/>
          </a:prstGeom>
          <a:noFill/>
          <a:ln w="9525">
            <a:noFill/>
            <a:miter lim="800000"/>
            <a:headEnd/>
            <a:tailEnd/>
          </a:ln>
        </p:spPr>
      </p:pic>
      <p:pic>
        <p:nvPicPr>
          <p:cNvPr id="3" name="图片 7" descr="3-2.png"/>
          <p:cNvPicPr>
            <a:picLocks noChangeAspect="1"/>
          </p:cNvPicPr>
          <p:nvPr userDrawn="1"/>
        </p:nvPicPr>
        <p:blipFill>
          <a:blip r:embed="rId3" cstate="print"/>
          <a:srcRect/>
          <a:stretch>
            <a:fillRect/>
          </a:stretch>
        </p:blipFill>
        <p:spPr bwMode="auto">
          <a:xfrm>
            <a:off x="1588" y="-171450"/>
            <a:ext cx="9140825" cy="6985000"/>
          </a:xfrm>
          <a:prstGeom prst="rect">
            <a:avLst/>
          </a:prstGeom>
          <a:noFill/>
          <a:ln w="9525">
            <a:noFill/>
            <a:miter lim="800000"/>
            <a:headEnd/>
            <a:tailEnd/>
          </a:ln>
        </p:spPr>
      </p:pic>
      <p:pic>
        <p:nvPicPr>
          <p:cNvPr id="4" name="图片 8" descr="master03_image003.png"/>
          <p:cNvPicPr>
            <a:picLocks noChangeAspect="1"/>
          </p:cNvPicPr>
          <p:nvPr userDrawn="1"/>
        </p:nvPicPr>
        <p:blipFill>
          <a:blip r:embed="rId4" cstate="print"/>
          <a:srcRect/>
          <a:stretch>
            <a:fillRect/>
          </a:stretch>
        </p:blipFill>
        <p:spPr bwMode="auto">
          <a:xfrm>
            <a:off x="204788" y="71438"/>
            <a:ext cx="1439862" cy="1341437"/>
          </a:xfrm>
          <a:prstGeom prst="rect">
            <a:avLst/>
          </a:prstGeom>
          <a:noFill/>
          <a:ln w="9525">
            <a:noFill/>
            <a:miter lim="800000"/>
            <a:headEnd/>
            <a:tailEnd/>
          </a:ln>
        </p:spPr>
      </p:pic>
      <p:pic>
        <p:nvPicPr>
          <p:cNvPr id="5" name="图片 9" descr="slide0001_image013.png"/>
          <p:cNvPicPr>
            <a:picLocks noChangeAspect="1"/>
          </p:cNvPicPr>
          <p:nvPr userDrawn="1"/>
        </p:nvPicPr>
        <p:blipFill>
          <a:blip r:embed="rId5" cstate="print"/>
          <a:srcRect/>
          <a:stretch>
            <a:fillRect/>
          </a:stretch>
        </p:blipFill>
        <p:spPr bwMode="auto">
          <a:xfrm>
            <a:off x="4572000" y="4292600"/>
            <a:ext cx="4608513" cy="2592388"/>
          </a:xfrm>
          <a:prstGeom prst="rect">
            <a:avLst/>
          </a:prstGeom>
          <a:noFill/>
          <a:ln w="9525">
            <a:noFill/>
            <a:miter lim="800000"/>
            <a:headEnd/>
            <a:tailEnd/>
          </a:ln>
        </p:spPr>
      </p:pic>
      <p:pic>
        <p:nvPicPr>
          <p:cNvPr id="6" name="图片 10" descr="杂志社logo带新网址（一点红）_副本.jpg"/>
          <p:cNvPicPr>
            <a:picLocks noChangeAspect="1"/>
          </p:cNvPicPr>
          <p:nvPr userDrawn="1"/>
        </p:nvPicPr>
        <p:blipFill>
          <a:blip r:embed="rId6" cstate="print">
            <a:clrChange>
              <a:clrFrom>
                <a:srgbClr val="FFFFFF"/>
              </a:clrFrom>
              <a:clrTo>
                <a:srgbClr val="FFFFFF">
                  <a:alpha val="0"/>
                </a:srgbClr>
              </a:clrTo>
            </a:clrChange>
          </a:blip>
          <a:srcRect/>
          <a:stretch>
            <a:fillRect/>
          </a:stretch>
        </p:blipFill>
        <p:spPr bwMode="auto">
          <a:xfrm>
            <a:off x="71438" y="6381750"/>
            <a:ext cx="2268537" cy="463550"/>
          </a:xfrm>
          <a:prstGeom prst="rect">
            <a:avLst/>
          </a:prstGeom>
          <a:noFill/>
          <a:ln w="9525">
            <a:noFill/>
            <a:miter lim="800000"/>
            <a:headEnd/>
            <a:tailEnd/>
          </a:ln>
        </p:spPr>
      </p:pic>
    </p:spTree>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2_标题和内容">
    <p:spTree>
      <p:nvGrpSpPr>
        <p:cNvPr id="1" name=""/>
        <p:cNvGrpSpPr/>
        <p:nvPr/>
      </p:nvGrpSpPr>
      <p:grpSpPr>
        <a:xfrm>
          <a:off x="0" y="0"/>
          <a:ext cx="0" cy="0"/>
          <a:chOff x="0" y="0"/>
          <a:chExt cx="0" cy="0"/>
        </a:xfrm>
      </p:grpSpPr>
      <p:pic>
        <p:nvPicPr>
          <p:cNvPr id="2" name="图片 6" descr="3-1.png"/>
          <p:cNvPicPr>
            <a:picLocks noChangeAspect="1"/>
          </p:cNvPicPr>
          <p:nvPr userDrawn="1"/>
        </p:nvPicPr>
        <p:blipFill>
          <a:blip r:embed="rId2" cstate="print"/>
          <a:srcRect/>
          <a:stretch>
            <a:fillRect/>
          </a:stretch>
        </p:blipFill>
        <p:spPr bwMode="auto">
          <a:xfrm>
            <a:off x="1588" y="0"/>
            <a:ext cx="9140825" cy="6858000"/>
          </a:xfrm>
          <a:prstGeom prst="rect">
            <a:avLst/>
          </a:prstGeom>
          <a:noFill/>
          <a:ln w="9525">
            <a:noFill/>
            <a:miter lim="800000"/>
            <a:headEnd/>
            <a:tailEnd/>
          </a:ln>
        </p:spPr>
      </p:pic>
      <p:pic>
        <p:nvPicPr>
          <p:cNvPr id="3" name="图片 7" descr="3-2.png"/>
          <p:cNvPicPr>
            <a:picLocks noChangeAspect="1"/>
          </p:cNvPicPr>
          <p:nvPr userDrawn="1"/>
        </p:nvPicPr>
        <p:blipFill>
          <a:blip r:embed="rId3" cstate="print"/>
          <a:srcRect/>
          <a:stretch>
            <a:fillRect/>
          </a:stretch>
        </p:blipFill>
        <p:spPr bwMode="auto">
          <a:xfrm>
            <a:off x="1588" y="0"/>
            <a:ext cx="9140825" cy="6858000"/>
          </a:xfrm>
          <a:prstGeom prst="rect">
            <a:avLst/>
          </a:prstGeom>
          <a:noFill/>
          <a:ln w="9525">
            <a:noFill/>
            <a:miter lim="800000"/>
            <a:headEnd/>
            <a:tailEnd/>
          </a:ln>
        </p:spPr>
      </p:pic>
      <p:pic>
        <p:nvPicPr>
          <p:cNvPr id="4" name="图片 8" descr="slide0001_image013.png"/>
          <p:cNvPicPr>
            <a:picLocks noChangeAspect="1"/>
          </p:cNvPicPr>
          <p:nvPr userDrawn="1"/>
        </p:nvPicPr>
        <p:blipFill>
          <a:blip r:embed="rId4" cstate="print"/>
          <a:srcRect/>
          <a:stretch>
            <a:fillRect/>
          </a:stretch>
        </p:blipFill>
        <p:spPr bwMode="auto">
          <a:xfrm>
            <a:off x="4702175" y="4365625"/>
            <a:ext cx="4478338" cy="2519363"/>
          </a:xfrm>
          <a:prstGeom prst="rect">
            <a:avLst/>
          </a:prstGeom>
          <a:noFill/>
          <a:ln w="9525">
            <a:noFill/>
            <a:miter lim="800000"/>
            <a:headEnd/>
            <a:tailEnd/>
          </a:ln>
        </p:spPr>
      </p:pic>
      <p:pic>
        <p:nvPicPr>
          <p:cNvPr id="5" name="图片 9" descr="杂志社logo带新网址（一点红）_副本.jpg"/>
          <p:cNvPicPr>
            <a:picLocks noChangeAspect="1"/>
          </p:cNvPicPr>
          <p:nvPr userDrawn="1"/>
        </p:nvPicPr>
        <p:blipFill>
          <a:blip r:embed="rId5" cstate="print">
            <a:clrChange>
              <a:clrFrom>
                <a:srgbClr val="FFFFFF"/>
              </a:clrFrom>
              <a:clrTo>
                <a:srgbClr val="FFFFFF">
                  <a:alpha val="0"/>
                </a:srgbClr>
              </a:clrTo>
            </a:clrChange>
          </a:blip>
          <a:srcRect/>
          <a:stretch>
            <a:fillRect/>
          </a:stretch>
        </p:blipFill>
        <p:spPr bwMode="auto">
          <a:xfrm>
            <a:off x="0" y="6421438"/>
            <a:ext cx="2268538" cy="463550"/>
          </a:xfrm>
          <a:prstGeom prst="rect">
            <a:avLst/>
          </a:prstGeom>
          <a:noFill/>
          <a:ln w="9525">
            <a:noFill/>
            <a:miter lim="800000"/>
            <a:headEnd/>
            <a:tailEnd/>
          </a:ln>
        </p:spPr>
      </p:pic>
      <p:pic>
        <p:nvPicPr>
          <p:cNvPr id="6" name="图片 10" descr="master15_image005.png"/>
          <p:cNvPicPr>
            <a:picLocks noChangeAspect="1"/>
          </p:cNvPicPr>
          <p:nvPr userDrawn="1"/>
        </p:nvPicPr>
        <p:blipFill>
          <a:blip r:embed="rId6" cstate="print"/>
          <a:srcRect/>
          <a:stretch>
            <a:fillRect/>
          </a:stretch>
        </p:blipFill>
        <p:spPr bwMode="auto">
          <a:xfrm>
            <a:off x="179388" y="-26988"/>
            <a:ext cx="1778000" cy="1655763"/>
          </a:xfrm>
          <a:prstGeom prst="rect">
            <a:avLst/>
          </a:prstGeom>
          <a:noFill/>
          <a:ln w="9525">
            <a:noFill/>
            <a:miter lim="800000"/>
            <a:headEnd/>
            <a:tailEnd/>
          </a:ln>
        </p:spPr>
      </p:pic>
    </p:spTree>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4_标题和内容">
    <p:spTree>
      <p:nvGrpSpPr>
        <p:cNvPr id="1" name=""/>
        <p:cNvGrpSpPr/>
        <p:nvPr/>
      </p:nvGrpSpPr>
      <p:grpSpPr>
        <a:xfrm>
          <a:off x="0" y="0"/>
          <a:ext cx="0" cy="0"/>
          <a:chOff x="0" y="0"/>
          <a:chExt cx="0" cy="0"/>
        </a:xfrm>
      </p:grpSpPr>
      <p:pic>
        <p:nvPicPr>
          <p:cNvPr id="2" name="图片 6" descr="3-1.png"/>
          <p:cNvPicPr>
            <a:picLocks noChangeAspect="1"/>
          </p:cNvPicPr>
          <p:nvPr userDrawn="1"/>
        </p:nvPicPr>
        <p:blipFill>
          <a:blip r:embed="rId2" cstate="print"/>
          <a:srcRect/>
          <a:stretch>
            <a:fillRect/>
          </a:stretch>
        </p:blipFill>
        <p:spPr bwMode="auto">
          <a:xfrm>
            <a:off x="1588" y="0"/>
            <a:ext cx="9140825" cy="6858000"/>
          </a:xfrm>
          <a:prstGeom prst="rect">
            <a:avLst/>
          </a:prstGeom>
          <a:noFill/>
          <a:ln w="9525">
            <a:noFill/>
            <a:miter lim="800000"/>
            <a:headEnd/>
            <a:tailEnd/>
          </a:ln>
        </p:spPr>
      </p:pic>
      <p:pic>
        <p:nvPicPr>
          <p:cNvPr id="3" name="图片 7" descr="3-2.png"/>
          <p:cNvPicPr>
            <a:picLocks/>
          </p:cNvPicPr>
          <p:nvPr userDrawn="1"/>
        </p:nvPicPr>
        <p:blipFill>
          <a:blip r:embed="rId3" cstate="print"/>
          <a:srcRect/>
          <a:stretch>
            <a:fillRect/>
          </a:stretch>
        </p:blipFill>
        <p:spPr bwMode="auto">
          <a:xfrm>
            <a:off x="1588" y="0"/>
            <a:ext cx="9140825" cy="6732588"/>
          </a:xfrm>
          <a:prstGeom prst="rect">
            <a:avLst/>
          </a:prstGeom>
          <a:noFill/>
          <a:ln w="9525">
            <a:noFill/>
            <a:miter lim="800000"/>
            <a:headEnd/>
            <a:tailEnd/>
          </a:ln>
        </p:spPr>
      </p:pic>
      <p:pic>
        <p:nvPicPr>
          <p:cNvPr id="4" name="图片 8" descr="slide0001_image013.png"/>
          <p:cNvPicPr>
            <a:picLocks noChangeAspect="1"/>
          </p:cNvPicPr>
          <p:nvPr userDrawn="1"/>
        </p:nvPicPr>
        <p:blipFill>
          <a:blip r:embed="rId4" cstate="print"/>
          <a:srcRect/>
          <a:stretch>
            <a:fillRect/>
          </a:stretch>
        </p:blipFill>
        <p:spPr bwMode="auto">
          <a:xfrm>
            <a:off x="4702175" y="4365625"/>
            <a:ext cx="4478338" cy="2519363"/>
          </a:xfrm>
          <a:prstGeom prst="rect">
            <a:avLst/>
          </a:prstGeom>
          <a:noFill/>
          <a:ln w="9525">
            <a:noFill/>
            <a:miter lim="800000"/>
            <a:headEnd/>
            <a:tailEnd/>
          </a:ln>
        </p:spPr>
      </p:pic>
      <p:pic>
        <p:nvPicPr>
          <p:cNvPr id="5" name="图片 9" descr="杂志社logo带新网址（一点红）_副本.jpg"/>
          <p:cNvPicPr>
            <a:picLocks/>
          </p:cNvPicPr>
          <p:nvPr userDrawn="1"/>
        </p:nvPicPr>
        <p:blipFill>
          <a:blip r:embed="rId5" cstate="print">
            <a:clrChange>
              <a:clrFrom>
                <a:srgbClr val="FFFFFF"/>
              </a:clrFrom>
              <a:clrTo>
                <a:srgbClr val="FFFFFF">
                  <a:alpha val="0"/>
                </a:srgbClr>
              </a:clrTo>
            </a:clrChange>
          </a:blip>
          <a:srcRect/>
          <a:stretch>
            <a:fillRect/>
          </a:stretch>
        </p:blipFill>
        <p:spPr bwMode="auto">
          <a:xfrm>
            <a:off x="179388" y="6308725"/>
            <a:ext cx="2232025" cy="433388"/>
          </a:xfrm>
          <a:prstGeom prst="rect">
            <a:avLst/>
          </a:prstGeom>
          <a:noFill/>
          <a:ln w="9525">
            <a:noFill/>
            <a:miter lim="800000"/>
            <a:headEnd/>
            <a:tailEnd/>
          </a:ln>
        </p:spPr>
      </p:pic>
    </p:spTree>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3_标题和内容">
    <p:spTree>
      <p:nvGrpSpPr>
        <p:cNvPr id="1" name=""/>
        <p:cNvGrpSpPr/>
        <p:nvPr/>
      </p:nvGrpSpPr>
      <p:grpSpPr>
        <a:xfrm>
          <a:off x="0" y="0"/>
          <a:ext cx="0" cy="0"/>
          <a:chOff x="0" y="0"/>
          <a:chExt cx="0" cy="0"/>
        </a:xfrm>
      </p:grpSpPr>
      <p:pic>
        <p:nvPicPr>
          <p:cNvPr id="2" name="图片 6" descr="3-1.png"/>
          <p:cNvPicPr>
            <a:picLocks noChangeAspect="1"/>
          </p:cNvPicPr>
          <p:nvPr userDrawn="1"/>
        </p:nvPicPr>
        <p:blipFill>
          <a:blip r:embed="rId2" cstate="print"/>
          <a:srcRect/>
          <a:stretch>
            <a:fillRect/>
          </a:stretch>
        </p:blipFill>
        <p:spPr bwMode="auto">
          <a:xfrm>
            <a:off x="1588" y="0"/>
            <a:ext cx="9140825" cy="6858000"/>
          </a:xfrm>
          <a:prstGeom prst="rect">
            <a:avLst/>
          </a:prstGeom>
          <a:noFill/>
          <a:ln w="9525">
            <a:noFill/>
            <a:miter lim="800000"/>
            <a:headEnd/>
            <a:tailEnd/>
          </a:ln>
        </p:spPr>
      </p:pic>
      <p:pic>
        <p:nvPicPr>
          <p:cNvPr id="3" name="图片 7" descr="3-2.png"/>
          <p:cNvPicPr>
            <a:picLocks noChangeAspect="1"/>
          </p:cNvPicPr>
          <p:nvPr userDrawn="1"/>
        </p:nvPicPr>
        <p:blipFill>
          <a:blip r:embed="rId3" cstate="print"/>
          <a:srcRect/>
          <a:stretch>
            <a:fillRect/>
          </a:stretch>
        </p:blipFill>
        <p:spPr bwMode="auto">
          <a:xfrm>
            <a:off x="1588" y="0"/>
            <a:ext cx="9140825" cy="6858000"/>
          </a:xfrm>
          <a:prstGeom prst="rect">
            <a:avLst/>
          </a:prstGeom>
          <a:noFill/>
          <a:ln w="9525">
            <a:noFill/>
            <a:miter lim="800000"/>
            <a:headEnd/>
            <a:tailEnd/>
          </a:ln>
        </p:spPr>
      </p:pic>
      <p:pic>
        <p:nvPicPr>
          <p:cNvPr id="4" name="图片 8" descr="slide0001_image013.png"/>
          <p:cNvPicPr>
            <a:picLocks noChangeAspect="1"/>
          </p:cNvPicPr>
          <p:nvPr userDrawn="1"/>
        </p:nvPicPr>
        <p:blipFill>
          <a:blip r:embed="rId4" cstate="print"/>
          <a:srcRect/>
          <a:stretch>
            <a:fillRect/>
          </a:stretch>
        </p:blipFill>
        <p:spPr bwMode="auto">
          <a:xfrm>
            <a:off x="4829175" y="4437063"/>
            <a:ext cx="4351338" cy="2447925"/>
          </a:xfrm>
          <a:prstGeom prst="rect">
            <a:avLst/>
          </a:prstGeom>
          <a:noFill/>
          <a:ln w="9525">
            <a:noFill/>
            <a:miter lim="800000"/>
            <a:headEnd/>
            <a:tailEnd/>
          </a:ln>
        </p:spPr>
      </p:pic>
      <p:pic>
        <p:nvPicPr>
          <p:cNvPr id="5" name="图片 24" descr="logo.png"/>
          <p:cNvPicPr>
            <a:picLocks noChangeAspect="1"/>
          </p:cNvPicPr>
          <p:nvPr userDrawn="1"/>
        </p:nvPicPr>
        <p:blipFill>
          <a:blip r:embed="rId5" cstate="print"/>
          <a:srcRect/>
          <a:stretch>
            <a:fillRect/>
          </a:stretch>
        </p:blipFill>
        <p:spPr bwMode="auto">
          <a:xfrm>
            <a:off x="179388" y="122238"/>
            <a:ext cx="1944687" cy="498475"/>
          </a:xfrm>
          <a:prstGeom prst="rect">
            <a:avLst/>
          </a:prstGeom>
          <a:noFill/>
          <a:ln w="9525">
            <a:noFill/>
            <a:miter lim="800000"/>
            <a:headEnd/>
            <a:tailEnd/>
          </a:ln>
        </p:spPr>
      </p:pic>
    </p:spTree>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83_标题和内容">
    <p:spTree>
      <p:nvGrpSpPr>
        <p:cNvPr id="1" name=""/>
        <p:cNvGrpSpPr/>
        <p:nvPr/>
      </p:nvGrpSpPr>
      <p:grpSpPr>
        <a:xfrm>
          <a:off x="0" y="0"/>
          <a:ext cx="0" cy="0"/>
          <a:chOff x="0" y="0"/>
          <a:chExt cx="0" cy="0"/>
        </a:xfrm>
      </p:grpSpPr>
    </p:spTree>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2_仅标题">
    <p:spTree>
      <p:nvGrpSpPr>
        <p:cNvPr id="1" name=""/>
        <p:cNvGrpSpPr/>
        <p:nvPr/>
      </p:nvGrpSpPr>
      <p:grpSpPr>
        <a:xfrm>
          <a:off x="0" y="0"/>
          <a:ext cx="0" cy="0"/>
          <a:chOff x="0" y="0"/>
          <a:chExt cx="0" cy="0"/>
        </a:xfrm>
      </p:grpSpPr>
      <p:pic>
        <p:nvPicPr>
          <p:cNvPr id="2" name="Picture 3" descr="C:\Documents and Settings\Administrator\桌面\PPT\杂志社logo带网址_副本.jpg"/>
          <p:cNvPicPr>
            <a:picLocks noChangeAspect="1" noChangeArrowheads="1"/>
          </p:cNvPicPr>
          <p:nvPr userDrawn="1"/>
        </p:nvPicPr>
        <p:blipFill>
          <a:blip r:embed="rId2" cstate="print">
            <a:clrChange>
              <a:clrFrom>
                <a:srgbClr val="FDFDFD"/>
              </a:clrFrom>
              <a:clrTo>
                <a:srgbClr val="FDFDFD">
                  <a:alpha val="0"/>
                </a:srgbClr>
              </a:clrTo>
            </a:clrChange>
          </a:blip>
          <a:srcRect/>
          <a:stretch>
            <a:fillRect/>
          </a:stretch>
        </p:blipFill>
        <p:spPr bwMode="auto">
          <a:xfrm>
            <a:off x="7451725" y="6381750"/>
            <a:ext cx="1665288" cy="355600"/>
          </a:xfrm>
          <a:prstGeom prst="rect">
            <a:avLst/>
          </a:prstGeom>
          <a:noFill/>
          <a:ln w="9525">
            <a:noFill/>
            <a:miter lim="800000"/>
            <a:headEnd/>
            <a:tailEnd/>
          </a:ln>
        </p:spPr>
      </p:pic>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1792288" y="4800600"/>
            <a:ext cx="5486400" cy="566738"/>
          </a:xfrm>
        </p:spPr>
        <p:txBody>
          <a:bodyPr anchor="b"/>
          <a:lstStyle>
            <a:lvl1pPr algn="l">
              <a:defRPr sz="2000" b="1"/>
            </a:lvl1pPr>
          </a:lstStyle>
          <a:p>
            <a:r>
              <a:rPr lang="zh-CN" altLang="en-US" smtClean="0"/>
              <a:t>单击此处编辑母版标题样式</a:t>
            </a:r>
            <a:endParaRPr lang="zh-CN" altLang="en-US"/>
          </a:p>
        </p:txBody>
      </p:sp>
      <p:sp>
        <p:nvSpPr>
          <p:cNvPr id="3" name="图片占位符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zh-CN" altLang="en-US"/>
          </a:p>
        </p:txBody>
      </p:sp>
      <p:sp>
        <p:nvSpPr>
          <p:cNvPr id="4" name="文本占位符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smtClean="0"/>
              <a:t>单击此处编辑母版文本样式</a:t>
            </a:r>
          </a:p>
        </p:txBody>
      </p:sp>
      <p:sp>
        <p:nvSpPr>
          <p:cNvPr id="5" name="日期占位符 4"/>
          <p:cNvSpPr>
            <a:spLocks noGrp="1"/>
          </p:cNvSpPr>
          <p:nvPr>
            <p:ph type="dt" sz="half" idx="10"/>
          </p:nvPr>
        </p:nvSpPr>
        <p:spPr/>
        <p:txBody>
          <a:bodyPr/>
          <a:lstStyle/>
          <a:p>
            <a:fld id="{530820CF-B880-4189-942D-D702A7CBA730}" type="datetimeFigureOut">
              <a:rPr lang="zh-CN" altLang="en-US" smtClean="0"/>
              <a:pPr/>
              <a:t>2017/12/7</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0C913308-F349-4B6D-A68A-DD1791B4A57B}" type="slidenum">
              <a:rPr lang="zh-CN" altLang="en-US" smtClean="0"/>
              <a:pPr/>
              <a:t>‹#›</a:t>
            </a:fld>
            <a:endParaRPr lang="zh-CN" altLang="en-US"/>
          </a:p>
        </p:txBody>
      </p:sp>
    </p:spTree>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1_仅标题">
    <p:spTree>
      <p:nvGrpSpPr>
        <p:cNvPr id="1" name=""/>
        <p:cNvGrpSpPr/>
        <p:nvPr/>
      </p:nvGrpSpPr>
      <p:grpSpPr>
        <a:xfrm>
          <a:off x="0" y="0"/>
          <a:ext cx="0" cy="0"/>
          <a:chOff x="0" y="0"/>
          <a:chExt cx="0" cy="0"/>
        </a:xfrm>
      </p:grpSpPr>
      <p:pic>
        <p:nvPicPr>
          <p:cNvPr id="2" name="Picture 3" descr="C:\Documents and Settings\Administrator\桌面\PPT\杂志社logo带网址_副本.jpg"/>
          <p:cNvPicPr>
            <a:picLocks noChangeAspect="1" noChangeArrowheads="1"/>
          </p:cNvPicPr>
          <p:nvPr userDrawn="1"/>
        </p:nvPicPr>
        <p:blipFill>
          <a:blip r:embed="rId2" cstate="print">
            <a:clrChange>
              <a:clrFrom>
                <a:srgbClr val="FDFDFD"/>
              </a:clrFrom>
              <a:clrTo>
                <a:srgbClr val="FDFDFD">
                  <a:alpha val="0"/>
                </a:srgbClr>
              </a:clrTo>
            </a:clrChange>
          </a:blip>
          <a:srcRect/>
          <a:stretch>
            <a:fillRect/>
          </a:stretch>
        </p:blipFill>
        <p:spPr bwMode="auto">
          <a:xfrm>
            <a:off x="7451725" y="6381750"/>
            <a:ext cx="1665288" cy="355600"/>
          </a:xfrm>
          <a:prstGeom prst="rect">
            <a:avLst/>
          </a:prstGeom>
          <a:noFill/>
          <a:ln w="9525">
            <a:noFill/>
            <a:miter lim="800000"/>
            <a:headEnd/>
            <a:tailEnd/>
          </a:ln>
        </p:spPr>
      </p:pic>
    </p:spTree>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userDrawn="1">
  <p:cSld name="3_仅标题">
    <p:spTree>
      <p:nvGrpSpPr>
        <p:cNvPr id="1" name=""/>
        <p:cNvGrpSpPr/>
        <p:nvPr/>
      </p:nvGrpSpPr>
      <p:grpSpPr>
        <a:xfrm>
          <a:off x="0" y="0"/>
          <a:ext cx="0" cy="0"/>
          <a:chOff x="0" y="0"/>
          <a:chExt cx="0" cy="0"/>
        </a:xfrm>
      </p:grpSpPr>
      <p:pic>
        <p:nvPicPr>
          <p:cNvPr id="2" name="Picture 3" descr="C:\Documents and Settings\Administrator\桌面\PPT\杂志社logo带网址_副本.jpg"/>
          <p:cNvPicPr>
            <a:picLocks noChangeAspect="1" noChangeArrowheads="1"/>
          </p:cNvPicPr>
          <p:nvPr userDrawn="1"/>
        </p:nvPicPr>
        <p:blipFill>
          <a:blip r:embed="rId2" cstate="print">
            <a:clrChange>
              <a:clrFrom>
                <a:srgbClr val="FDFDFD"/>
              </a:clrFrom>
              <a:clrTo>
                <a:srgbClr val="FDFDFD">
                  <a:alpha val="0"/>
                </a:srgbClr>
              </a:clrTo>
            </a:clrChange>
          </a:blip>
          <a:srcRect/>
          <a:stretch>
            <a:fillRect/>
          </a:stretch>
        </p:blipFill>
        <p:spPr bwMode="auto">
          <a:xfrm>
            <a:off x="7451725" y="6381750"/>
            <a:ext cx="1665288" cy="355600"/>
          </a:xfrm>
          <a:prstGeom prst="rect">
            <a:avLst/>
          </a:prstGeom>
          <a:noFill/>
          <a:ln w="9525">
            <a:noFill/>
            <a:miter lim="800000"/>
            <a:headEnd/>
            <a:tailEnd/>
          </a:ln>
        </p:spPr>
      </p:pic>
    </p:spTree>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4_仅标题">
    <p:spTree>
      <p:nvGrpSpPr>
        <p:cNvPr id="1" name=""/>
        <p:cNvGrpSpPr/>
        <p:nvPr/>
      </p:nvGrpSpPr>
      <p:grpSpPr>
        <a:xfrm>
          <a:off x="0" y="0"/>
          <a:ext cx="0" cy="0"/>
          <a:chOff x="0" y="0"/>
          <a:chExt cx="0" cy="0"/>
        </a:xfrm>
      </p:grpSpPr>
      <p:pic>
        <p:nvPicPr>
          <p:cNvPr id="3" name="Picture 29" descr="运动边框"/>
          <p:cNvPicPr>
            <a:picLocks noChangeAspect="1" noChangeArrowheads="1" noCrop="1"/>
          </p:cNvPicPr>
          <p:nvPr userDrawn="1"/>
        </p:nvPicPr>
        <p:blipFill>
          <a:blip r:embed="rId2" cstate="print"/>
          <a:srcRect/>
          <a:stretch>
            <a:fillRect/>
          </a:stretch>
        </p:blipFill>
        <p:spPr bwMode="auto">
          <a:xfrm>
            <a:off x="5562600" y="6399213"/>
            <a:ext cx="3581400" cy="458787"/>
          </a:xfrm>
          <a:prstGeom prst="rect">
            <a:avLst/>
          </a:prstGeom>
          <a:noFill/>
          <a:ln w="9525">
            <a:noFill/>
            <a:miter lim="800000"/>
            <a:headEnd/>
            <a:tailEnd/>
          </a:ln>
        </p:spPr>
      </p:pic>
      <p:sp>
        <p:nvSpPr>
          <p:cNvPr id="4" name="TextBox 20"/>
          <p:cNvSpPr txBox="1">
            <a:spLocks noChangeArrowheads="1"/>
          </p:cNvSpPr>
          <p:nvPr userDrawn="1"/>
        </p:nvSpPr>
        <p:spPr bwMode="auto">
          <a:xfrm>
            <a:off x="5652120" y="6488113"/>
            <a:ext cx="3491880" cy="338502"/>
          </a:xfrm>
          <a:prstGeom prst="rect">
            <a:avLst/>
          </a:prstGeom>
          <a:noFill/>
          <a:ln w="9525">
            <a:noFill/>
            <a:miter lim="800000"/>
            <a:headEnd/>
            <a:tailEnd/>
          </a:ln>
        </p:spPr>
        <p:txBody>
          <a:bodyPr wrap="square" lIns="91389" tIns="45694" rIns="91389" bIns="45694">
            <a:spAutoFit/>
          </a:bodyPr>
          <a:lstStyle/>
          <a:p>
            <a:pPr>
              <a:defRPr/>
            </a:pPr>
            <a:r>
              <a:rPr lang="zh-CN" altLang="en-US" sz="1600" dirty="0" smtClean="0">
                <a:solidFill>
                  <a:srgbClr val="FFFFFF"/>
                </a:solidFill>
                <a:latin typeface="微软雅黑" pitchFamily="34" charset="-122"/>
                <a:ea typeface="微软雅黑" pitchFamily="34" charset="-122"/>
              </a:rPr>
              <a:t>正确认识和处理竞争与合作的关系</a:t>
            </a:r>
            <a:endParaRPr lang="zh-CN" altLang="en-US" sz="1600" dirty="0">
              <a:solidFill>
                <a:srgbClr val="FFFFFF"/>
              </a:solidFill>
              <a:latin typeface="微软雅黑" pitchFamily="34" charset="-122"/>
              <a:ea typeface="微软雅黑" pitchFamily="34" charset="-122"/>
            </a:endParaRP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image" Target="../media/image1.png"/><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6" Type="http://schemas.openxmlformats.org/officeDocument/2006/relationships/image" Target="../media/image4.jpeg"/><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image" Target="../media/image3.jpeg"/><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image" Target="../media/image2.jpe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slideLayout" Target="../slideLayouts/slideLayout35.xml"/><Relationship Id="rId18" Type="http://schemas.openxmlformats.org/officeDocument/2006/relationships/image" Target="../media/image6.jpeg"/><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slideLayout" Target="../slideLayouts/slideLayout34.xml"/><Relationship Id="rId17" Type="http://schemas.openxmlformats.org/officeDocument/2006/relationships/image" Target="../media/image5.jpeg"/><Relationship Id="rId2" Type="http://schemas.openxmlformats.org/officeDocument/2006/relationships/slideLayout" Target="../slideLayouts/slideLayout24.xml"/><Relationship Id="rId16" Type="http://schemas.openxmlformats.org/officeDocument/2006/relationships/theme" Target="../theme/theme3.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5" Type="http://schemas.openxmlformats.org/officeDocument/2006/relationships/slideLayout" Target="../slideLayouts/slideLayout37.xml"/><Relationship Id="rId10" Type="http://schemas.openxmlformats.org/officeDocument/2006/relationships/slideLayout" Target="../slideLayouts/slideLayout32.xml"/><Relationship Id="rId19" Type="http://schemas.openxmlformats.org/officeDocument/2006/relationships/image" Target="../media/image4.jpeg"/><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slideLayout" Target="../slideLayouts/slideLayout36.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5.xml"/><Relationship Id="rId13" Type="http://schemas.openxmlformats.org/officeDocument/2006/relationships/slideLayout" Target="../slideLayouts/slideLayout50.xml"/><Relationship Id="rId18" Type="http://schemas.openxmlformats.org/officeDocument/2006/relationships/slideLayout" Target="../slideLayouts/slideLayout55.xml"/><Relationship Id="rId3" Type="http://schemas.openxmlformats.org/officeDocument/2006/relationships/slideLayout" Target="../slideLayouts/slideLayout40.xml"/><Relationship Id="rId7" Type="http://schemas.openxmlformats.org/officeDocument/2006/relationships/slideLayout" Target="../slideLayouts/slideLayout44.xml"/><Relationship Id="rId12" Type="http://schemas.openxmlformats.org/officeDocument/2006/relationships/slideLayout" Target="../slideLayouts/slideLayout49.xml"/><Relationship Id="rId17" Type="http://schemas.openxmlformats.org/officeDocument/2006/relationships/slideLayout" Target="../slideLayouts/slideLayout54.xml"/><Relationship Id="rId2" Type="http://schemas.openxmlformats.org/officeDocument/2006/relationships/slideLayout" Target="../slideLayouts/slideLayout39.xml"/><Relationship Id="rId16" Type="http://schemas.openxmlformats.org/officeDocument/2006/relationships/slideLayout" Target="../slideLayouts/slideLayout53.xml"/><Relationship Id="rId1" Type="http://schemas.openxmlformats.org/officeDocument/2006/relationships/slideLayout" Target="../slideLayouts/slideLayout38.xml"/><Relationship Id="rId6" Type="http://schemas.openxmlformats.org/officeDocument/2006/relationships/slideLayout" Target="../slideLayouts/slideLayout43.xml"/><Relationship Id="rId11" Type="http://schemas.openxmlformats.org/officeDocument/2006/relationships/slideLayout" Target="../slideLayouts/slideLayout48.xml"/><Relationship Id="rId5" Type="http://schemas.openxmlformats.org/officeDocument/2006/relationships/slideLayout" Target="../slideLayouts/slideLayout42.xml"/><Relationship Id="rId15" Type="http://schemas.openxmlformats.org/officeDocument/2006/relationships/slideLayout" Target="../slideLayouts/slideLayout52.xml"/><Relationship Id="rId10" Type="http://schemas.openxmlformats.org/officeDocument/2006/relationships/slideLayout" Target="../slideLayouts/slideLayout47.xml"/><Relationship Id="rId19" Type="http://schemas.openxmlformats.org/officeDocument/2006/relationships/theme" Target="../theme/theme4.xml"/><Relationship Id="rId4" Type="http://schemas.openxmlformats.org/officeDocument/2006/relationships/slideLayout" Target="../slideLayouts/slideLayout41.xml"/><Relationship Id="rId9" Type="http://schemas.openxmlformats.org/officeDocument/2006/relationships/slideLayout" Target="../slideLayouts/slideLayout46.xml"/><Relationship Id="rId14" Type="http://schemas.openxmlformats.org/officeDocument/2006/relationships/slideLayout" Target="../slideLayouts/slideLayout51.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3.xml"/><Relationship Id="rId13" Type="http://schemas.openxmlformats.org/officeDocument/2006/relationships/slideLayout" Target="../slideLayouts/slideLayout68.xml"/><Relationship Id="rId18" Type="http://schemas.openxmlformats.org/officeDocument/2006/relationships/image" Target="../media/image17.jpeg"/><Relationship Id="rId3" Type="http://schemas.openxmlformats.org/officeDocument/2006/relationships/slideLayout" Target="../slideLayouts/slideLayout58.xml"/><Relationship Id="rId7" Type="http://schemas.openxmlformats.org/officeDocument/2006/relationships/slideLayout" Target="../slideLayouts/slideLayout62.xml"/><Relationship Id="rId12" Type="http://schemas.openxmlformats.org/officeDocument/2006/relationships/slideLayout" Target="../slideLayouts/slideLayout67.xml"/><Relationship Id="rId17" Type="http://schemas.openxmlformats.org/officeDocument/2006/relationships/image" Target="../media/image3.jpeg"/><Relationship Id="rId2" Type="http://schemas.openxmlformats.org/officeDocument/2006/relationships/slideLayout" Target="../slideLayouts/slideLayout57.xml"/><Relationship Id="rId16" Type="http://schemas.openxmlformats.org/officeDocument/2006/relationships/image" Target="../media/image16.png"/><Relationship Id="rId1" Type="http://schemas.openxmlformats.org/officeDocument/2006/relationships/slideLayout" Target="../slideLayouts/slideLayout56.xml"/><Relationship Id="rId6" Type="http://schemas.openxmlformats.org/officeDocument/2006/relationships/slideLayout" Target="../slideLayouts/slideLayout61.xml"/><Relationship Id="rId11" Type="http://schemas.openxmlformats.org/officeDocument/2006/relationships/slideLayout" Target="../slideLayouts/slideLayout66.xml"/><Relationship Id="rId5" Type="http://schemas.openxmlformats.org/officeDocument/2006/relationships/slideLayout" Target="../slideLayouts/slideLayout60.xml"/><Relationship Id="rId15" Type="http://schemas.openxmlformats.org/officeDocument/2006/relationships/theme" Target="../theme/theme5.xml"/><Relationship Id="rId10" Type="http://schemas.openxmlformats.org/officeDocument/2006/relationships/slideLayout" Target="../slideLayouts/slideLayout65.xml"/><Relationship Id="rId4" Type="http://schemas.openxmlformats.org/officeDocument/2006/relationships/slideLayout" Target="../slideLayouts/slideLayout59.xml"/><Relationship Id="rId9" Type="http://schemas.openxmlformats.org/officeDocument/2006/relationships/slideLayout" Target="../slideLayouts/slideLayout64.xml"/><Relationship Id="rId14" Type="http://schemas.openxmlformats.org/officeDocument/2006/relationships/slideLayout" Target="../slideLayouts/slideLayout69.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77.xml"/><Relationship Id="rId13" Type="http://schemas.openxmlformats.org/officeDocument/2006/relationships/slideLayout" Target="../slideLayouts/slideLayout82.xml"/><Relationship Id="rId18" Type="http://schemas.openxmlformats.org/officeDocument/2006/relationships/slideLayout" Target="../slideLayouts/slideLayout87.xml"/><Relationship Id="rId26" Type="http://schemas.openxmlformats.org/officeDocument/2006/relationships/image" Target="../media/image22.gif"/><Relationship Id="rId3" Type="http://schemas.openxmlformats.org/officeDocument/2006/relationships/slideLayout" Target="../slideLayouts/slideLayout72.xml"/><Relationship Id="rId21" Type="http://schemas.openxmlformats.org/officeDocument/2006/relationships/slideLayout" Target="../slideLayouts/slideLayout90.xml"/><Relationship Id="rId7" Type="http://schemas.openxmlformats.org/officeDocument/2006/relationships/slideLayout" Target="../slideLayouts/slideLayout76.xml"/><Relationship Id="rId12" Type="http://schemas.openxmlformats.org/officeDocument/2006/relationships/slideLayout" Target="../slideLayouts/slideLayout81.xml"/><Relationship Id="rId17" Type="http://schemas.openxmlformats.org/officeDocument/2006/relationships/slideLayout" Target="../slideLayouts/slideLayout86.xml"/><Relationship Id="rId25" Type="http://schemas.openxmlformats.org/officeDocument/2006/relationships/image" Target="../media/image21.jpeg"/><Relationship Id="rId2" Type="http://schemas.openxmlformats.org/officeDocument/2006/relationships/slideLayout" Target="../slideLayouts/slideLayout71.xml"/><Relationship Id="rId16" Type="http://schemas.openxmlformats.org/officeDocument/2006/relationships/slideLayout" Target="../slideLayouts/slideLayout85.xml"/><Relationship Id="rId20" Type="http://schemas.openxmlformats.org/officeDocument/2006/relationships/slideLayout" Target="../slideLayouts/slideLayout89.xml"/><Relationship Id="rId1" Type="http://schemas.openxmlformats.org/officeDocument/2006/relationships/slideLayout" Target="../slideLayouts/slideLayout70.xml"/><Relationship Id="rId6" Type="http://schemas.openxmlformats.org/officeDocument/2006/relationships/slideLayout" Target="../slideLayouts/slideLayout75.xml"/><Relationship Id="rId11" Type="http://schemas.openxmlformats.org/officeDocument/2006/relationships/slideLayout" Target="../slideLayouts/slideLayout80.xml"/><Relationship Id="rId24" Type="http://schemas.openxmlformats.org/officeDocument/2006/relationships/theme" Target="../theme/theme6.xml"/><Relationship Id="rId5" Type="http://schemas.openxmlformats.org/officeDocument/2006/relationships/slideLayout" Target="../slideLayouts/slideLayout74.xml"/><Relationship Id="rId15" Type="http://schemas.openxmlformats.org/officeDocument/2006/relationships/slideLayout" Target="../slideLayouts/slideLayout84.xml"/><Relationship Id="rId23" Type="http://schemas.openxmlformats.org/officeDocument/2006/relationships/slideLayout" Target="../slideLayouts/slideLayout92.xml"/><Relationship Id="rId10" Type="http://schemas.openxmlformats.org/officeDocument/2006/relationships/slideLayout" Target="../slideLayouts/slideLayout79.xml"/><Relationship Id="rId19" Type="http://schemas.openxmlformats.org/officeDocument/2006/relationships/slideLayout" Target="../slideLayouts/slideLayout88.xml"/><Relationship Id="rId4" Type="http://schemas.openxmlformats.org/officeDocument/2006/relationships/slideLayout" Target="../slideLayouts/slideLayout73.xml"/><Relationship Id="rId9" Type="http://schemas.openxmlformats.org/officeDocument/2006/relationships/slideLayout" Target="../slideLayouts/slideLayout78.xml"/><Relationship Id="rId14" Type="http://schemas.openxmlformats.org/officeDocument/2006/relationships/slideLayout" Target="../slideLayouts/slideLayout83.xml"/><Relationship Id="rId22" Type="http://schemas.openxmlformats.org/officeDocument/2006/relationships/slideLayout" Target="../slideLayouts/slideLayout9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30820CF-B880-4189-942D-D702A7CBA730}" type="datetimeFigureOut">
              <a:rPr lang="zh-CN" altLang="en-US" smtClean="0"/>
              <a:pPr/>
              <a:t>2017/12/7</a:t>
            </a:fld>
            <a:endParaRPr lang="zh-CN" altLang="en-US"/>
          </a:p>
        </p:txBody>
      </p:sp>
      <p:sp>
        <p:nvSpPr>
          <p:cNvPr id="5" name="页脚占位符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zh-CN" altLang="en-US"/>
          </a:p>
        </p:txBody>
      </p:sp>
      <p:sp>
        <p:nvSpPr>
          <p:cNvPr id="6" name="灯片编号占位符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C913308-F349-4B6D-A68A-DD1791B4A57B}" type="slidenum">
              <a:rPr lang="zh-CN" altLang="en-US" smtClean="0"/>
              <a:pPr/>
              <a:t>‹#›</a:t>
            </a:fld>
            <a:endParaRPr lang="zh-CN" altLang="en-U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9218" name="图片 22"/>
          <p:cNvPicPr>
            <a:picLocks noChangeAspect="1"/>
          </p:cNvPicPr>
          <p:nvPr userDrawn="1"/>
        </p:nvPicPr>
        <p:blipFill>
          <a:blip r:embed="rId13" cstate="print"/>
          <a:srcRect t="60605"/>
          <a:stretch>
            <a:fillRect/>
          </a:stretch>
        </p:blipFill>
        <p:spPr bwMode="auto">
          <a:xfrm>
            <a:off x="0" y="4256088"/>
            <a:ext cx="9144000" cy="2601912"/>
          </a:xfrm>
          <a:prstGeom prst="rect">
            <a:avLst/>
          </a:prstGeom>
          <a:noFill/>
          <a:ln w="9525">
            <a:noFill/>
            <a:miter lim="800000"/>
            <a:headEnd/>
            <a:tailEnd/>
          </a:ln>
        </p:spPr>
      </p:pic>
      <p:pic>
        <p:nvPicPr>
          <p:cNvPr id="9219" name="图片 7"/>
          <p:cNvPicPr>
            <a:picLocks noChangeAspect="1"/>
          </p:cNvPicPr>
          <p:nvPr userDrawn="1"/>
        </p:nvPicPr>
        <p:blipFill>
          <a:blip r:embed="rId14" cstate="print"/>
          <a:srcRect/>
          <a:stretch>
            <a:fillRect/>
          </a:stretch>
        </p:blipFill>
        <p:spPr bwMode="auto">
          <a:xfrm>
            <a:off x="0" y="0"/>
            <a:ext cx="9144000" cy="4470400"/>
          </a:xfrm>
          <a:prstGeom prst="rect">
            <a:avLst/>
          </a:prstGeom>
          <a:noFill/>
          <a:ln w="9525">
            <a:noFill/>
            <a:miter lim="800000"/>
            <a:headEnd/>
            <a:tailEnd/>
          </a:ln>
        </p:spPr>
      </p:pic>
      <p:sp>
        <p:nvSpPr>
          <p:cNvPr id="25" name="矩形 24"/>
          <p:cNvSpPr/>
          <p:nvPr userDrawn="1"/>
        </p:nvSpPr>
        <p:spPr>
          <a:xfrm>
            <a:off x="0" y="32"/>
            <a:ext cx="9144000" cy="4673599"/>
          </a:xfrm>
          <a:prstGeom prst="rect">
            <a:avLst/>
          </a:prstGeom>
          <a:gradFill flip="none" rotWithShape="1">
            <a:gsLst>
              <a:gs pos="32994">
                <a:srgbClr val="FFFFFF">
                  <a:alpha val="0"/>
                </a:srgbClr>
              </a:gs>
              <a:gs pos="90000">
                <a:srgbClr val="FFFFFF"/>
              </a:gs>
              <a:gs pos="0">
                <a:schemeClr val="bg1">
                  <a:alpha val="38000"/>
                </a:schemeClr>
              </a:gs>
              <a:gs pos="100000">
                <a:schemeClr val="bg1"/>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389" tIns="45694" rIns="91389" bIns="45694" anchor="ctr"/>
          <a:lstStyle/>
          <a:p>
            <a:pPr algn="ctr">
              <a:defRPr/>
            </a:pPr>
            <a:endParaRPr lang="zh-CN" altLang="en-US" dirty="0">
              <a:solidFill>
                <a:prstClr val="white"/>
              </a:solidFill>
              <a:effectLst>
                <a:outerShdw blurRad="38100" dist="38100" dir="2700000" algn="tl">
                  <a:srgbClr val="000000">
                    <a:alpha val="43137"/>
                  </a:srgbClr>
                </a:outerShdw>
              </a:effectLst>
            </a:endParaRPr>
          </a:p>
        </p:txBody>
      </p:sp>
      <p:sp>
        <p:nvSpPr>
          <p:cNvPr id="26" name="矩形 25"/>
          <p:cNvSpPr/>
          <p:nvPr userDrawn="1"/>
        </p:nvSpPr>
        <p:spPr>
          <a:xfrm>
            <a:off x="0" y="4604335"/>
            <a:ext cx="9144000" cy="3010419"/>
          </a:xfrm>
          <a:prstGeom prst="rect">
            <a:avLst/>
          </a:prstGeom>
          <a:gradFill flip="none" rotWithShape="1">
            <a:gsLst>
              <a:gs pos="100000">
                <a:srgbClr val="FFFFFF"/>
              </a:gs>
              <a:gs pos="100000">
                <a:srgbClr val="FFFFFF"/>
              </a:gs>
              <a:gs pos="69000">
                <a:srgbClr val="FFFFFF">
                  <a:alpha val="39000"/>
                </a:srgbClr>
              </a:gs>
              <a:gs pos="100000">
                <a:srgbClr val="FFFFFF"/>
              </a:gs>
              <a:gs pos="56000">
                <a:schemeClr val="bg1">
                  <a:alpha val="0"/>
                </a:schemeClr>
              </a:gs>
              <a:gs pos="100000">
                <a:schemeClr val="bg1"/>
              </a:gs>
            </a:gsLst>
            <a:lin ang="162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389" tIns="45694" rIns="91389" bIns="45694" anchor="ctr"/>
          <a:lstStyle/>
          <a:p>
            <a:pPr algn="ctr">
              <a:defRPr/>
            </a:pPr>
            <a:endParaRPr lang="zh-CN" altLang="en-US" dirty="0">
              <a:solidFill>
                <a:prstClr val="white"/>
              </a:solidFill>
              <a:effectLst>
                <a:outerShdw blurRad="38100" dist="38100" dir="2700000" algn="tl">
                  <a:srgbClr val="000000">
                    <a:alpha val="43137"/>
                  </a:srgbClr>
                </a:outerShdw>
              </a:effectLst>
            </a:endParaRPr>
          </a:p>
        </p:txBody>
      </p:sp>
      <p:sp>
        <p:nvSpPr>
          <p:cNvPr id="27" name="矩形 26"/>
          <p:cNvSpPr/>
          <p:nvPr userDrawn="1"/>
        </p:nvSpPr>
        <p:spPr>
          <a:xfrm>
            <a:off x="0" y="0"/>
            <a:ext cx="9144000" cy="6858000"/>
          </a:xfrm>
          <a:prstGeom prst="rect">
            <a:avLst/>
          </a:prstGeom>
          <a:solidFill>
            <a:srgbClr val="FFFFFF">
              <a:alpha val="63922"/>
            </a:srgbClr>
          </a:solidFill>
        </p:spPr>
        <p:style>
          <a:lnRef idx="2">
            <a:schemeClr val="accent1">
              <a:shade val="50000"/>
            </a:schemeClr>
          </a:lnRef>
          <a:fillRef idx="1">
            <a:schemeClr val="accent1"/>
          </a:fillRef>
          <a:effectRef idx="0">
            <a:schemeClr val="accent1"/>
          </a:effectRef>
          <a:fontRef idx="minor">
            <a:schemeClr val="lt1"/>
          </a:fontRef>
        </p:style>
        <p:txBody>
          <a:bodyPr lIns="91389" tIns="45694" rIns="91389" bIns="45694" anchor="ctr"/>
          <a:lstStyle/>
          <a:p>
            <a:pPr algn="ctr" fontAlgn="base">
              <a:spcBef>
                <a:spcPct val="0"/>
              </a:spcBef>
              <a:spcAft>
                <a:spcPct val="0"/>
              </a:spcAft>
              <a:defRPr/>
            </a:pPr>
            <a:endParaRPr lang="zh-CN" altLang="en-US">
              <a:solidFill>
                <a:prstClr val="white"/>
              </a:solidFill>
              <a:effectLst>
                <a:outerShdw blurRad="38100" dist="38100" dir="2700000" algn="tl">
                  <a:srgbClr val="000000">
                    <a:alpha val="43137"/>
                  </a:srgbClr>
                </a:outerShdw>
              </a:effectLst>
            </a:endParaRPr>
          </a:p>
        </p:txBody>
      </p:sp>
      <p:sp>
        <p:nvSpPr>
          <p:cNvPr id="28" name="矩形 27"/>
          <p:cNvSpPr/>
          <p:nvPr userDrawn="1"/>
        </p:nvSpPr>
        <p:spPr>
          <a:xfrm>
            <a:off x="0" y="4745038"/>
            <a:ext cx="9144000" cy="2112962"/>
          </a:xfrm>
          <a:prstGeom prst="rect">
            <a:avLst/>
          </a:prstGeom>
          <a:solidFill>
            <a:srgbClr val="FFFFFF">
              <a:alpha val="27843"/>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389" tIns="45694" rIns="91389" bIns="45694" anchor="ctr"/>
          <a:lstStyle/>
          <a:p>
            <a:pPr algn="ctr" fontAlgn="base">
              <a:spcBef>
                <a:spcPct val="0"/>
              </a:spcBef>
              <a:spcAft>
                <a:spcPct val="0"/>
              </a:spcAft>
              <a:defRPr/>
            </a:pPr>
            <a:endParaRPr lang="zh-CN" altLang="en-US">
              <a:solidFill>
                <a:prstClr val="white"/>
              </a:solidFill>
              <a:effectLst>
                <a:outerShdw blurRad="38100" dist="38100" dir="2700000" algn="tl">
                  <a:srgbClr val="000000">
                    <a:alpha val="43137"/>
                  </a:srgbClr>
                </a:outerShdw>
              </a:effectLst>
            </a:endParaRPr>
          </a:p>
        </p:txBody>
      </p:sp>
      <p:sp>
        <p:nvSpPr>
          <p:cNvPr id="29" name="矩形 28"/>
          <p:cNvSpPr/>
          <p:nvPr userDrawn="1"/>
        </p:nvSpPr>
        <p:spPr>
          <a:xfrm>
            <a:off x="0" y="0"/>
            <a:ext cx="9144000" cy="360363"/>
          </a:xfrm>
          <a:prstGeom prst="rect">
            <a:avLst/>
          </a:prstGeom>
          <a:solidFill>
            <a:srgbClr val="508235"/>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389" tIns="45694" rIns="91389" bIns="45694" anchor="ctr"/>
          <a:lstStyle/>
          <a:p>
            <a:pPr algn="ctr" eaLnBrk="0" fontAlgn="base" hangingPunct="0">
              <a:spcBef>
                <a:spcPct val="0"/>
              </a:spcBef>
              <a:spcAft>
                <a:spcPct val="0"/>
              </a:spcAft>
              <a:defRPr/>
            </a:pPr>
            <a:endParaRPr lang="zh-CN" altLang="en-US">
              <a:solidFill>
                <a:prstClr val="white"/>
              </a:solidFill>
              <a:effectLst>
                <a:outerShdw blurRad="38100" dist="38100" dir="2700000" algn="tl">
                  <a:srgbClr val="000000">
                    <a:alpha val="43137"/>
                  </a:srgbClr>
                </a:outerShdw>
              </a:effectLst>
            </a:endParaRPr>
          </a:p>
        </p:txBody>
      </p:sp>
      <p:sp>
        <p:nvSpPr>
          <p:cNvPr id="31" name="圆角矩形 30"/>
          <p:cNvSpPr/>
          <p:nvPr userDrawn="1"/>
        </p:nvSpPr>
        <p:spPr>
          <a:xfrm>
            <a:off x="628650" y="0"/>
            <a:ext cx="2738438" cy="1143000"/>
          </a:xfrm>
          <a:prstGeom prst="roundRect">
            <a:avLst/>
          </a:prstGeom>
          <a:solidFill>
            <a:srgbClr val="508235"/>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389" tIns="45694" rIns="91389" bIns="45694" anchor="ctr"/>
          <a:lstStyle/>
          <a:p>
            <a:pPr algn="ctr" fontAlgn="base">
              <a:spcBef>
                <a:spcPct val="0"/>
              </a:spcBef>
              <a:spcAft>
                <a:spcPct val="0"/>
              </a:spcAft>
              <a:defRPr/>
            </a:pPr>
            <a:endParaRPr lang="zh-CN" altLang="en-US">
              <a:solidFill>
                <a:prstClr val="white"/>
              </a:solidFill>
              <a:effectLst>
                <a:outerShdw blurRad="38100" dist="38100" dir="2700000" algn="tl">
                  <a:srgbClr val="000000">
                    <a:alpha val="43137"/>
                  </a:srgbClr>
                </a:outerShdw>
              </a:effectLst>
            </a:endParaRPr>
          </a:p>
        </p:txBody>
      </p:sp>
      <p:sp>
        <p:nvSpPr>
          <p:cNvPr id="34" name="矩形 33"/>
          <p:cNvSpPr/>
          <p:nvPr userDrawn="1"/>
        </p:nvSpPr>
        <p:spPr>
          <a:xfrm>
            <a:off x="0" y="6383338"/>
            <a:ext cx="9144000" cy="474662"/>
          </a:xfrm>
          <a:prstGeom prst="rect">
            <a:avLst/>
          </a:prstGeom>
          <a:solidFill>
            <a:srgbClr val="508235"/>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389" tIns="45694" rIns="91389" bIns="45694" anchor="ctr"/>
          <a:lstStyle/>
          <a:p>
            <a:pPr algn="ctr" eaLnBrk="0" fontAlgn="base" hangingPunct="0">
              <a:spcBef>
                <a:spcPct val="0"/>
              </a:spcBef>
              <a:spcAft>
                <a:spcPct val="0"/>
              </a:spcAft>
              <a:defRPr/>
            </a:pPr>
            <a:endParaRPr lang="zh-CN" altLang="en-US">
              <a:solidFill>
                <a:prstClr val="white"/>
              </a:solidFill>
              <a:effectLst>
                <a:outerShdw blurRad="38100" dist="38100" dir="2700000" algn="tl">
                  <a:srgbClr val="000000">
                    <a:alpha val="43137"/>
                  </a:srgbClr>
                </a:outerShdw>
              </a:effectLst>
            </a:endParaRPr>
          </a:p>
        </p:txBody>
      </p:sp>
      <p:pic>
        <p:nvPicPr>
          <p:cNvPr id="9231" name="Picture 3" descr="C:\Documents and Settings\Administrator\桌面\PPT\杂志社logo带网址_副本.jpg"/>
          <p:cNvPicPr>
            <a:picLocks noChangeAspect="1" noChangeArrowheads="1"/>
          </p:cNvPicPr>
          <p:nvPr userDrawn="1"/>
        </p:nvPicPr>
        <p:blipFill>
          <a:blip r:embed="rId15" cstate="print">
            <a:clrChange>
              <a:clrFrom>
                <a:srgbClr val="FDFDFD"/>
              </a:clrFrom>
              <a:clrTo>
                <a:srgbClr val="FDFDFD">
                  <a:alpha val="0"/>
                </a:srgbClr>
              </a:clrTo>
            </a:clrChange>
          </a:blip>
          <a:srcRect/>
          <a:stretch>
            <a:fillRect/>
          </a:stretch>
        </p:blipFill>
        <p:spPr bwMode="auto">
          <a:xfrm>
            <a:off x="7610475" y="6399213"/>
            <a:ext cx="1438275" cy="409575"/>
          </a:xfrm>
          <a:prstGeom prst="rect">
            <a:avLst/>
          </a:prstGeom>
          <a:noFill/>
          <a:ln w="9525">
            <a:noFill/>
            <a:miter lim="800000"/>
            <a:headEnd/>
            <a:tailEnd/>
          </a:ln>
        </p:spPr>
      </p:pic>
      <p:pic>
        <p:nvPicPr>
          <p:cNvPr id="9232" name="Picture 2" descr="http://down1.sucaitianxia.com/psd01/psd109/psds15334.jpg"/>
          <p:cNvPicPr>
            <a:picLocks noChangeAspect="1" noChangeArrowheads="1"/>
          </p:cNvPicPr>
          <p:nvPr userDrawn="1"/>
        </p:nvPicPr>
        <p:blipFill>
          <a:blip r:embed="rId16" cstate="print"/>
          <a:srcRect/>
          <a:stretch>
            <a:fillRect/>
          </a:stretch>
        </p:blipFill>
        <p:spPr bwMode="auto">
          <a:xfrm>
            <a:off x="0" y="0"/>
            <a:ext cx="9144000" cy="6858000"/>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afterEffect">
                                  <p:stCondLst>
                                    <p:cond delay="0"/>
                                  </p:stCondLst>
                                  <p:childTnLst>
                                    <p:set>
                                      <p:cBhvr>
                                        <p:cTn id="6" dur="1" fill="hold">
                                          <p:stCondLst>
                                            <p:cond delay="0"/>
                                          </p:stCondLst>
                                        </p:cTn>
                                        <p:tgtEl>
                                          <p:spTgt spid="29"/>
                                        </p:tgtEl>
                                        <p:attrNameLst>
                                          <p:attrName>style.visibility</p:attrName>
                                        </p:attrNameLst>
                                      </p:cBhvr>
                                      <p:to>
                                        <p:strVal val="visible"/>
                                      </p:to>
                                    </p:set>
                                    <p:anim calcmode="lin" valueType="num">
                                      <p:cBhvr additive="base">
                                        <p:cTn id="7" dur="500" fill="hold"/>
                                        <p:tgtEl>
                                          <p:spTgt spid="29"/>
                                        </p:tgtEl>
                                        <p:attrNameLst>
                                          <p:attrName>ppt_x</p:attrName>
                                        </p:attrNameLst>
                                      </p:cBhvr>
                                      <p:tavLst>
                                        <p:tav tm="0">
                                          <p:val>
                                            <p:strVal val="0-#ppt_w/2"/>
                                          </p:val>
                                        </p:tav>
                                        <p:tav tm="100000">
                                          <p:val>
                                            <p:strVal val="#ppt_x"/>
                                          </p:val>
                                        </p:tav>
                                      </p:tavLst>
                                    </p:anim>
                                    <p:anim calcmode="lin" valueType="num">
                                      <p:cBhvr additive="base">
                                        <p:cTn id="8" dur="500" fill="hold"/>
                                        <p:tgtEl>
                                          <p:spTgt spid="29"/>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2" presetClass="entr" presetSubtype="2" fill="hold" grpId="0" nodeType="afterEffect">
                                  <p:stCondLst>
                                    <p:cond delay="0"/>
                                  </p:stCondLst>
                                  <p:childTnLst>
                                    <p:set>
                                      <p:cBhvr>
                                        <p:cTn id="11" dur="1" fill="hold">
                                          <p:stCondLst>
                                            <p:cond delay="0"/>
                                          </p:stCondLst>
                                        </p:cTn>
                                        <p:tgtEl>
                                          <p:spTgt spid="34"/>
                                        </p:tgtEl>
                                        <p:attrNameLst>
                                          <p:attrName>style.visibility</p:attrName>
                                        </p:attrNameLst>
                                      </p:cBhvr>
                                      <p:to>
                                        <p:strVal val="visible"/>
                                      </p:to>
                                    </p:set>
                                    <p:anim calcmode="lin" valueType="num">
                                      <p:cBhvr additive="base">
                                        <p:cTn id="12" dur="500" fill="hold"/>
                                        <p:tgtEl>
                                          <p:spTgt spid="34"/>
                                        </p:tgtEl>
                                        <p:attrNameLst>
                                          <p:attrName>ppt_x</p:attrName>
                                        </p:attrNameLst>
                                      </p:cBhvr>
                                      <p:tavLst>
                                        <p:tav tm="0">
                                          <p:val>
                                            <p:strVal val="1+#ppt_w/2"/>
                                          </p:val>
                                        </p:tav>
                                        <p:tav tm="100000">
                                          <p:val>
                                            <p:strVal val="#ppt_x"/>
                                          </p:val>
                                        </p:tav>
                                      </p:tavLst>
                                    </p:anim>
                                    <p:anim calcmode="lin" valueType="num">
                                      <p:cBhvr additive="base">
                                        <p:cTn id="13" dur="500" fill="hold"/>
                                        <p:tgtEl>
                                          <p:spTgt spid="34"/>
                                        </p:tgtEl>
                                        <p:attrNameLst>
                                          <p:attrName>ppt_y</p:attrName>
                                        </p:attrNameLst>
                                      </p:cBhvr>
                                      <p:tavLst>
                                        <p:tav tm="0">
                                          <p:val>
                                            <p:strVal val="#ppt_y"/>
                                          </p:val>
                                        </p:tav>
                                        <p:tav tm="100000">
                                          <p:val>
                                            <p:strVal val="#ppt_y"/>
                                          </p:val>
                                        </p:tav>
                                      </p:tavLst>
                                    </p:anim>
                                  </p:childTnLst>
                                </p:cTn>
                              </p:par>
                            </p:childTnLst>
                          </p:cTn>
                        </p:par>
                        <p:par>
                          <p:cTn id="14" fill="hold">
                            <p:stCondLst>
                              <p:cond delay="1000"/>
                            </p:stCondLst>
                            <p:childTnLst>
                              <p:par>
                                <p:cTn id="15" presetID="22" presetClass="entr" presetSubtype="1" fill="hold" grpId="0" nodeType="afterEffect">
                                  <p:stCondLst>
                                    <p:cond delay="0"/>
                                  </p:stCondLst>
                                  <p:childTnLst>
                                    <p:set>
                                      <p:cBhvr>
                                        <p:cTn id="16" dur="1" fill="hold">
                                          <p:stCondLst>
                                            <p:cond delay="0"/>
                                          </p:stCondLst>
                                        </p:cTn>
                                        <p:tgtEl>
                                          <p:spTgt spid="31"/>
                                        </p:tgtEl>
                                        <p:attrNameLst>
                                          <p:attrName>style.visibility</p:attrName>
                                        </p:attrNameLst>
                                      </p:cBhvr>
                                      <p:to>
                                        <p:strVal val="visible"/>
                                      </p:to>
                                    </p:set>
                                    <p:animEffect transition="in" filter="wipe(up)">
                                      <p:cBhvr>
                                        <p:cTn id="17" dur="500"/>
                                        <p:tgtEl>
                                          <p:spTgt spid="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animBg="1"/>
      <p:bldP spid="31" grpId="0" animBg="1"/>
      <p:bldP spid="34" grpId="0" animBg="1"/>
    </p:bldLst>
  </p:timing>
  <p:txStyles>
    <p:titleStyle>
      <a:lvl1pPr algn="l" rtl="0" eaLnBrk="0" fontAlgn="base" hangingPunct="0">
        <a:lnSpc>
          <a:spcPct val="90000"/>
        </a:lnSpc>
        <a:spcBef>
          <a:spcPct val="0"/>
        </a:spcBef>
        <a:spcAft>
          <a:spcPct val="0"/>
        </a:spcAft>
        <a:defRPr sz="4400" kern="1200">
          <a:solidFill>
            <a:schemeClr val="tx1"/>
          </a:solidFill>
          <a:latin typeface="+mj-lt"/>
          <a:ea typeface="+mj-ea"/>
          <a:cs typeface="+mj-cs"/>
        </a:defRPr>
      </a:lvl1pPr>
      <a:lvl2pPr algn="l" rtl="0" eaLnBrk="0" fontAlgn="base" hangingPunct="0">
        <a:lnSpc>
          <a:spcPct val="90000"/>
        </a:lnSpc>
        <a:spcBef>
          <a:spcPct val="0"/>
        </a:spcBef>
        <a:spcAft>
          <a:spcPct val="0"/>
        </a:spcAft>
        <a:defRPr sz="4400">
          <a:solidFill>
            <a:schemeClr val="tx1"/>
          </a:solidFill>
          <a:latin typeface="Calibri Light" panose="020F0302020204030204" pitchFamily="34" charset="0"/>
          <a:ea typeface="宋体" panose="02010600030101010101" pitchFamily="2" charset="-122"/>
        </a:defRPr>
      </a:lvl2pPr>
      <a:lvl3pPr algn="l" rtl="0" eaLnBrk="0" fontAlgn="base" hangingPunct="0">
        <a:lnSpc>
          <a:spcPct val="90000"/>
        </a:lnSpc>
        <a:spcBef>
          <a:spcPct val="0"/>
        </a:spcBef>
        <a:spcAft>
          <a:spcPct val="0"/>
        </a:spcAft>
        <a:defRPr sz="4400">
          <a:solidFill>
            <a:schemeClr val="tx1"/>
          </a:solidFill>
          <a:latin typeface="Calibri Light" panose="020F0302020204030204" pitchFamily="34" charset="0"/>
          <a:ea typeface="宋体" panose="02010600030101010101" pitchFamily="2" charset="-122"/>
        </a:defRPr>
      </a:lvl3pPr>
      <a:lvl4pPr algn="l" rtl="0" eaLnBrk="0" fontAlgn="base" hangingPunct="0">
        <a:lnSpc>
          <a:spcPct val="90000"/>
        </a:lnSpc>
        <a:spcBef>
          <a:spcPct val="0"/>
        </a:spcBef>
        <a:spcAft>
          <a:spcPct val="0"/>
        </a:spcAft>
        <a:defRPr sz="4400">
          <a:solidFill>
            <a:schemeClr val="tx1"/>
          </a:solidFill>
          <a:latin typeface="Calibri Light" panose="020F0302020204030204" pitchFamily="34" charset="0"/>
          <a:ea typeface="宋体" panose="02010600030101010101" pitchFamily="2" charset="-122"/>
        </a:defRPr>
      </a:lvl4pPr>
      <a:lvl5pPr algn="l" rtl="0" eaLnBrk="0" fontAlgn="base" hangingPunct="0">
        <a:lnSpc>
          <a:spcPct val="90000"/>
        </a:lnSpc>
        <a:spcBef>
          <a:spcPct val="0"/>
        </a:spcBef>
        <a:spcAft>
          <a:spcPct val="0"/>
        </a:spcAft>
        <a:defRPr sz="4400">
          <a:solidFill>
            <a:schemeClr val="tx1"/>
          </a:solidFill>
          <a:latin typeface="Calibri Light" panose="020F0302020204030204" pitchFamily="34" charset="0"/>
          <a:ea typeface="宋体" panose="02010600030101010101" pitchFamily="2" charset="-122"/>
        </a:defRPr>
      </a:lvl5pPr>
      <a:lvl6pPr marL="456945" algn="l" rtl="0" fontAlgn="base">
        <a:lnSpc>
          <a:spcPct val="90000"/>
        </a:lnSpc>
        <a:spcBef>
          <a:spcPct val="0"/>
        </a:spcBef>
        <a:spcAft>
          <a:spcPct val="0"/>
        </a:spcAft>
        <a:defRPr sz="4400">
          <a:solidFill>
            <a:schemeClr val="tx1"/>
          </a:solidFill>
          <a:latin typeface="Calibri Light" panose="020F0302020204030204" pitchFamily="34" charset="0"/>
          <a:ea typeface="宋体" panose="02010600030101010101" pitchFamily="2" charset="-122"/>
        </a:defRPr>
      </a:lvl6pPr>
      <a:lvl7pPr marL="913890" algn="l" rtl="0" fontAlgn="base">
        <a:lnSpc>
          <a:spcPct val="90000"/>
        </a:lnSpc>
        <a:spcBef>
          <a:spcPct val="0"/>
        </a:spcBef>
        <a:spcAft>
          <a:spcPct val="0"/>
        </a:spcAft>
        <a:defRPr sz="4400">
          <a:solidFill>
            <a:schemeClr val="tx1"/>
          </a:solidFill>
          <a:latin typeface="Calibri Light" panose="020F0302020204030204" pitchFamily="34" charset="0"/>
          <a:ea typeface="宋体" panose="02010600030101010101" pitchFamily="2" charset="-122"/>
        </a:defRPr>
      </a:lvl7pPr>
      <a:lvl8pPr marL="1370836" algn="l" rtl="0" fontAlgn="base">
        <a:lnSpc>
          <a:spcPct val="90000"/>
        </a:lnSpc>
        <a:spcBef>
          <a:spcPct val="0"/>
        </a:spcBef>
        <a:spcAft>
          <a:spcPct val="0"/>
        </a:spcAft>
        <a:defRPr sz="4400">
          <a:solidFill>
            <a:schemeClr val="tx1"/>
          </a:solidFill>
          <a:latin typeface="Calibri Light" panose="020F0302020204030204" pitchFamily="34" charset="0"/>
          <a:ea typeface="宋体" panose="02010600030101010101" pitchFamily="2" charset="-122"/>
        </a:defRPr>
      </a:lvl8pPr>
      <a:lvl9pPr marL="1827781" algn="l" rtl="0" fontAlgn="base">
        <a:lnSpc>
          <a:spcPct val="90000"/>
        </a:lnSpc>
        <a:spcBef>
          <a:spcPct val="0"/>
        </a:spcBef>
        <a:spcAft>
          <a:spcPct val="0"/>
        </a:spcAft>
        <a:defRPr sz="4400">
          <a:solidFill>
            <a:schemeClr val="tx1"/>
          </a:solidFill>
          <a:latin typeface="Calibri Light" panose="020F0302020204030204" pitchFamily="34" charset="0"/>
          <a:ea typeface="宋体" panose="02010600030101010101" pitchFamily="2" charset="-122"/>
        </a:defRPr>
      </a:lvl9pPr>
    </p:titleStyle>
    <p:bodyStyle>
      <a:lvl1pPr marL="227013" indent="-227013" algn="l" rtl="0" eaLnBrk="0" fontAlgn="base" hangingPunct="0">
        <a:lnSpc>
          <a:spcPct val="90000"/>
        </a:lnSpc>
        <a:spcBef>
          <a:spcPts val="1000"/>
        </a:spcBef>
        <a:spcAft>
          <a:spcPct val="0"/>
        </a:spcAft>
        <a:buFont typeface="Arial" pitchFamily="34" charset="0"/>
        <a:buChar char="•"/>
        <a:defRPr sz="2800" kern="1200">
          <a:solidFill>
            <a:schemeClr val="tx1"/>
          </a:solidFill>
          <a:latin typeface="+mn-lt"/>
          <a:ea typeface="+mn-ea"/>
          <a:cs typeface="+mn-cs"/>
        </a:defRPr>
      </a:lvl1pPr>
      <a:lvl2pPr marL="684213" indent="-227013" algn="l" rtl="0" eaLnBrk="0" fontAlgn="base" hangingPunct="0">
        <a:lnSpc>
          <a:spcPct val="90000"/>
        </a:lnSpc>
        <a:spcBef>
          <a:spcPts val="500"/>
        </a:spcBef>
        <a:spcAft>
          <a:spcPct val="0"/>
        </a:spcAft>
        <a:buFont typeface="Arial" pitchFamily="34" charset="0"/>
        <a:buChar char="•"/>
        <a:defRPr sz="2500" kern="1200">
          <a:solidFill>
            <a:schemeClr val="tx1"/>
          </a:solidFill>
          <a:latin typeface="+mn-lt"/>
          <a:ea typeface="+mn-ea"/>
          <a:cs typeface="+mn-cs"/>
        </a:defRPr>
      </a:lvl2pPr>
      <a:lvl3pPr marL="1141413" indent="-227013" algn="l" rtl="0" eaLnBrk="0" fontAlgn="base" hangingPunct="0">
        <a:lnSpc>
          <a:spcPct val="90000"/>
        </a:lnSpc>
        <a:spcBef>
          <a:spcPts val="500"/>
        </a:spcBef>
        <a:spcAft>
          <a:spcPct val="0"/>
        </a:spcAft>
        <a:buFont typeface="Arial" pitchFamily="34" charset="0"/>
        <a:buChar char="•"/>
        <a:defRPr sz="2000" kern="1200">
          <a:solidFill>
            <a:schemeClr val="tx1"/>
          </a:solidFill>
          <a:latin typeface="+mn-lt"/>
          <a:ea typeface="+mn-ea"/>
          <a:cs typeface="+mn-cs"/>
        </a:defRPr>
      </a:lvl3pPr>
      <a:lvl4pPr marL="1598613" indent="-227013" algn="l" rtl="0" eaLnBrk="0" fontAlgn="base" hangingPunct="0">
        <a:lnSpc>
          <a:spcPct val="90000"/>
        </a:lnSpc>
        <a:spcBef>
          <a:spcPts val="500"/>
        </a:spcBef>
        <a:spcAft>
          <a:spcPct val="0"/>
        </a:spcAft>
        <a:buFont typeface="Arial" pitchFamily="34" charset="0"/>
        <a:buChar char="•"/>
        <a:defRPr sz="2000" kern="1200">
          <a:solidFill>
            <a:schemeClr val="tx1"/>
          </a:solidFill>
          <a:latin typeface="+mn-lt"/>
          <a:ea typeface="+mn-ea"/>
          <a:cs typeface="+mn-cs"/>
        </a:defRPr>
      </a:lvl4pPr>
      <a:lvl5pPr marL="2055813" indent="-227013" algn="l" rtl="0" eaLnBrk="0" fontAlgn="base" hangingPunct="0">
        <a:lnSpc>
          <a:spcPct val="90000"/>
        </a:lnSpc>
        <a:spcBef>
          <a:spcPts val="500"/>
        </a:spcBef>
        <a:spcAft>
          <a:spcPct val="0"/>
        </a:spcAft>
        <a:buFont typeface="Arial" pitchFamily="34" charset="0"/>
        <a:buChar char="•"/>
        <a:defRPr sz="2000" kern="1200">
          <a:solidFill>
            <a:schemeClr val="tx1"/>
          </a:solidFill>
          <a:latin typeface="+mn-lt"/>
          <a:ea typeface="+mn-ea"/>
          <a:cs typeface="+mn-cs"/>
        </a:defRPr>
      </a:lvl5pPr>
      <a:lvl6pPr marL="2513199" indent="-228472" algn="l" defTabSz="91389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0143" indent="-228472" algn="l" defTabSz="91389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7088" indent="-228472" algn="l" defTabSz="91389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4034" indent="-228472" algn="l" defTabSz="91389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3890" rtl="0" eaLnBrk="1" latinLnBrk="0" hangingPunct="1">
        <a:defRPr sz="1800" kern="1200">
          <a:solidFill>
            <a:schemeClr val="tx1"/>
          </a:solidFill>
          <a:latin typeface="+mn-lt"/>
          <a:ea typeface="+mn-ea"/>
          <a:cs typeface="+mn-cs"/>
        </a:defRPr>
      </a:lvl1pPr>
      <a:lvl2pPr marL="456945" algn="l" defTabSz="913890" rtl="0" eaLnBrk="1" latinLnBrk="0" hangingPunct="1">
        <a:defRPr sz="1800" kern="1200">
          <a:solidFill>
            <a:schemeClr val="tx1"/>
          </a:solidFill>
          <a:latin typeface="+mn-lt"/>
          <a:ea typeface="+mn-ea"/>
          <a:cs typeface="+mn-cs"/>
        </a:defRPr>
      </a:lvl2pPr>
      <a:lvl3pPr marL="913890" algn="l" defTabSz="913890" rtl="0" eaLnBrk="1" latinLnBrk="0" hangingPunct="1">
        <a:defRPr sz="1800" kern="1200">
          <a:solidFill>
            <a:schemeClr val="tx1"/>
          </a:solidFill>
          <a:latin typeface="+mn-lt"/>
          <a:ea typeface="+mn-ea"/>
          <a:cs typeface="+mn-cs"/>
        </a:defRPr>
      </a:lvl3pPr>
      <a:lvl4pPr marL="1370836" algn="l" defTabSz="913890" rtl="0" eaLnBrk="1" latinLnBrk="0" hangingPunct="1">
        <a:defRPr sz="1800" kern="1200">
          <a:solidFill>
            <a:schemeClr val="tx1"/>
          </a:solidFill>
          <a:latin typeface="+mn-lt"/>
          <a:ea typeface="+mn-ea"/>
          <a:cs typeface="+mn-cs"/>
        </a:defRPr>
      </a:lvl4pPr>
      <a:lvl5pPr marL="1827781" algn="l" defTabSz="913890" rtl="0" eaLnBrk="1" latinLnBrk="0" hangingPunct="1">
        <a:defRPr sz="1800" kern="1200">
          <a:solidFill>
            <a:schemeClr val="tx1"/>
          </a:solidFill>
          <a:latin typeface="+mn-lt"/>
          <a:ea typeface="+mn-ea"/>
          <a:cs typeface="+mn-cs"/>
        </a:defRPr>
      </a:lvl5pPr>
      <a:lvl6pPr marL="2284726" algn="l" defTabSz="913890" rtl="0" eaLnBrk="1" latinLnBrk="0" hangingPunct="1">
        <a:defRPr sz="1800" kern="1200">
          <a:solidFill>
            <a:schemeClr val="tx1"/>
          </a:solidFill>
          <a:latin typeface="+mn-lt"/>
          <a:ea typeface="+mn-ea"/>
          <a:cs typeface="+mn-cs"/>
        </a:defRPr>
      </a:lvl6pPr>
      <a:lvl7pPr marL="2741672" algn="l" defTabSz="913890" rtl="0" eaLnBrk="1" latinLnBrk="0" hangingPunct="1">
        <a:defRPr sz="1800" kern="1200">
          <a:solidFill>
            <a:schemeClr val="tx1"/>
          </a:solidFill>
          <a:latin typeface="+mn-lt"/>
          <a:ea typeface="+mn-ea"/>
          <a:cs typeface="+mn-cs"/>
        </a:defRPr>
      </a:lvl7pPr>
      <a:lvl8pPr marL="3198616" algn="l" defTabSz="913890" rtl="0" eaLnBrk="1" latinLnBrk="0" hangingPunct="1">
        <a:defRPr sz="1800" kern="1200">
          <a:solidFill>
            <a:schemeClr val="tx1"/>
          </a:solidFill>
          <a:latin typeface="+mn-lt"/>
          <a:ea typeface="+mn-ea"/>
          <a:cs typeface="+mn-cs"/>
        </a:defRPr>
      </a:lvl8pPr>
      <a:lvl9pPr marL="3655563" algn="l" defTabSz="91389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gradFill rotWithShape="0">
          <a:gsLst>
            <a:gs pos="0">
              <a:schemeClr val="bg2"/>
            </a:gs>
            <a:gs pos="100000">
              <a:schemeClr val="bg1"/>
            </a:gs>
          </a:gsLst>
          <a:lin ang="5400000" scaled="1"/>
        </a:gradFill>
        <a:effectLst/>
      </p:bgPr>
    </p:bg>
    <p:spTree>
      <p:nvGrpSpPr>
        <p:cNvPr id="1" name=""/>
        <p:cNvGrpSpPr/>
        <p:nvPr/>
      </p:nvGrpSpPr>
      <p:grpSpPr>
        <a:xfrm>
          <a:off x="0" y="0"/>
          <a:ext cx="0" cy="0"/>
          <a:chOff x="0" y="0"/>
          <a:chExt cx="0" cy="0"/>
        </a:xfrm>
      </p:grpSpPr>
      <p:grpSp>
        <p:nvGrpSpPr>
          <p:cNvPr id="2" name="Group 2"/>
          <p:cNvGrpSpPr>
            <a:grpSpLocks/>
          </p:cNvGrpSpPr>
          <p:nvPr/>
        </p:nvGrpSpPr>
        <p:grpSpPr bwMode="auto">
          <a:xfrm>
            <a:off x="0" y="0"/>
            <a:ext cx="9144000" cy="6934200"/>
            <a:chOff x="0" y="0"/>
            <a:chExt cx="5760" cy="4368"/>
          </a:xfrm>
        </p:grpSpPr>
        <p:sp>
          <p:nvSpPr>
            <p:cNvPr id="38915" name="Freeform 3"/>
            <p:cNvSpPr>
              <a:spLocks/>
            </p:cNvSpPr>
            <p:nvPr/>
          </p:nvSpPr>
          <p:spPr bwMode="hidden">
            <a:xfrm>
              <a:off x="0" y="2208"/>
              <a:ext cx="2515" cy="1970"/>
            </a:xfrm>
            <a:custGeom>
              <a:avLst/>
              <a:gdLst/>
              <a:ahLst/>
              <a:cxnLst>
                <a:cxn ang="0">
                  <a:pos x="744" y="1669"/>
                </a:cxn>
                <a:cxn ang="0">
                  <a:pos x="852" y="1400"/>
                </a:cxn>
                <a:cxn ang="0">
                  <a:pos x="876" y="1171"/>
                </a:cxn>
                <a:cxn ang="0">
                  <a:pos x="979" y="1370"/>
                </a:cxn>
                <a:cxn ang="0">
                  <a:pos x="1231" y="1621"/>
                </a:cxn>
                <a:cxn ang="0">
                  <a:pos x="1471" y="1693"/>
                </a:cxn>
                <a:cxn ang="0">
                  <a:pos x="1819" y="1678"/>
                </a:cxn>
                <a:cxn ang="0">
                  <a:pos x="1893" y="1513"/>
                </a:cxn>
                <a:cxn ang="0">
                  <a:pos x="1874" y="1285"/>
                </a:cxn>
                <a:cxn ang="0">
                  <a:pos x="1783" y="967"/>
                </a:cxn>
                <a:cxn ang="0">
                  <a:pos x="1289" y="873"/>
                </a:cxn>
                <a:cxn ang="0">
                  <a:pos x="1549" y="745"/>
                </a:cxn>
                <a:cxn ang="0">
                  <a:pos x="1753" y="732"/>
                </a:cxn>
                <a:cxn ang="0">
                  <a:pos x="2107" y="618"/>
                </a:cxn>
                <a:cxn ang="0">
                  <a:pos x="2377" y="438"/>
                </a:cxn>
                <a:cxn ang="0">
                  <a:pos x="2420" y="343"/>
                </a:cxn>
                <a:cxn ang="0">
                  <a:pos x="2077" y="331"/>
                </a:cxn>
                <a:cxn ang="0">
                  <a:pos x="1951" y="301"/>
                </a:cxn>
                <a:cxn ang="0">
                  <a:pos x="1645" y="289"/>
                </a:cxn>
                <a:cxn ang="0">
                  <a:pos x="1297" y="408"/>
                </a:cxn>
                <a:cxn ang="0">
                  <a:pos x="1308" y="337"/>
                </a:cxn>
                <a:cxn ang="0">
                  <a:pos x="1453" y="168"/>
                </a:cxn>
                <a:cxn ang="0">
                  <a:pos x="1477" y="36"/>
                </a:cxn>
                <a:cxn ang="0">
                  <a:pos x="1417" y="24"/>
                </a:cxn>
                <a:cxn ang="0">
                  <a:pos x="1189" y="102"/>
                </a:cxn>
                <a:cxn ang="0">
                  <a:pos x="1026" y="144"/>
                </a:cxn>
                <a:cxn ang="0">
                  <a:pos x="889" y="331"/>
                </a:cxn>
                <a:cxn ang="0">
                  <a:pos x="726" y="480"/>
                </a:cxn>
                <a:cxn ang="0">
                  <a:pos x="643" y="540"/>
                </a:cxn>
                <a:cxn ang="0">
                  <a:pos x="600" y="516"/>
                </a:cxn>
                <a:cxn ang="0">
                  <a:pos x="552" y="486"/>
                </a:cxn>
                <a:cxn ang="0">
                  <a:pos x="528" y="462"/>
                </a:cxn>
                <a:cxn ang="0">
                  <a:pos x="474" y="426"/>
                </a:cxn>
                <a:cxn ang="0">
                  <a:pos x="415" y="390"/>
                </a:cxn>
                <a:cxn ang="0">
                  <a:pos x="366" y="366"/>
                </a:cxn>
                <a:cxn ang="0">
                  <a:pos x="192" y="234"/>
                </a:cxn>
                <a:cxn ang="0">
                  <a:pos x="570" y="564"/>
                </a:cxn>
                <a:cxn ang="0">
                  <a:pos x="444" y="732"/>
                </a:cxn>
                <a:cxn ang="0">
                  <a:pos x="318" y="787"/>
                </a:cxn>
                <a:cxn ang="0">
                  <a:pos x="127" y="853"/>
                </a:cxn>
                <a:cxn ang="0">
                  <a:pos x="0" y="1165"/>
                </a:cxn>
                <a:cxn ang="0">
                  <a:pos x="372" y="1015"/>
                </a:cxn>
                <a:cxn ang="0">
                  <a:pos x="222" y="1262"/>
                </a:cxn>
                <a:cxn ang="0">
                  <a:pos x="139" y="1459"/>
                </a:cxn>
                <a:cxn ang="0">
                  <a:pos x="102" y="1495"/>
                </a:cxn>
                <a:cxn ang="0">
                  <a:pos x="84" y="1519"/>
                </a:cxn>
                <a:cxn ang="0">
                  <a:pos x="96" y="1537"/>
                </a:cxn>
                <a:cxn ang="0">
                  <a:pos x="127" y="1567"/>
                </a:cxn>
                <a:cxn ang="0">
                  <a:pos x="145" y="1633"/>
                </a:cxn>
                <a:cxn ang="0">
                  <a:pos x="156" y="1693"/>
                </a:cxn>
                <a:cxn ang="0">
                  <a:pos x="162" y="1723"/>
                </a:cxn>
                <a:cxn ang="0">
                  <a:pos x="216" y="1802"/>
                </a:cxn>
                <a:cxn ang="0">
                  <a:pos x="228" y="1850"/>
                </a:cxn>
                <a:cxn ang="0">
                  <a:pos x="240" y="1904"/>
                </a:cxn>
                <a:cxn ang="0">
                  <a:pos x="246" y="1922"/>
                </a:cxn>
                <a:cxn ang="0">
                  <a:pos x="258" y="1970"/>
                </a:cxn>
                <a:cxn ang="0">
                  <a:pos x="462" y="1922"/>
                </a:cxn>
                <a:cxn ang="0">
                  <a:pos x="624" y="1778"/>
                </a:cxn>
              </a:cxnLst>
              <a:rect l="0" t="0" r="r" b="b"/>
              <a:pathLst>
                <a:path w="2515" h="1970">
                  <a:moveTo>
                    <a:pt x="624" y="1778"/>
                  </a:moveTo>
                  <a:lnTo>
                    <a:pt x="744" y="1669"/>
                  </a:lnTo>
                  <a:lnTo>
                    <a:pt x="834" y="1627"/>
                  </a:lnTo>
                  <a:lnTo>
                    <a:pt x="852" y="1400"/>
                  </a:lnTo>
                  <a:lnTo>
                    <a:pt x="834" y="1225"/>
                  </a:lnTo>
                  <a:lnTo>
                    <a:pt x="876" y="1171"/>
                  </a:lnTo>
                  <a:lnTo>
                    <a:pt x="901" y="1268"/>
                  </a:lnTo>
                  <a:lnTo>
                    <a:pt x="979" y="1370"/>
                  </a:lnTo>
                  <a:lnTo>
                    <a:pt x="1116" y="1519"/>
                  </a:lnTo>
                  <a:lnTo>
                    <a:pt x="1231" y="1621"/>
                  </a:lnTo>
                  <a:lnTo>
                    <a:pt x="1353" y="1632"/>
                  </a:lnTo>
                  <a:lnTo>
                    <a:pt x="1471" y="1693"/>
                  </a:lnTo>
                  <a:lnTo>
                    <a:pt x="1664" y="1659"/>
                  </a:lnTo>
                  <a:lnTo>
                    <a:pt x="1819" y="1678"/>
                  </a:lnTo>
                  <a:lnTo>
                    <a:pt x="1975" y="1632"/>
                  </a:lnTo>
                  <a:lnTo>
                    <a:pt x="1893" y="1513"/>
                  </a:lnTo>
                  <a:lnTo>
                    <a:pt x="1920" y="1385"/>
                  </a:lnTo>
                  <a:lnTo>
                    <a:pt x="1874" y="1285"/>
                  </a:lnTo>
                  <a:lnTo>
                    <a:pt x="1865" y="1129"/>
                  </a:lnTo>
                  <a:lnTo>
                    <a:pt x="1783" y="967"/>
                  </a:lnTo>
                  <a:lnTo>
                    <a:pt x="1527" y="891"/>
                  </a:lnTo>
                  <a:lnTo>
                    <a:pt x="1289" y="873"/>
                  </a:lnTo>
                  <a:lnTo>
                    <a:pt x="1393" y="781"/>
                  </a:lnTo>
                  <a:lnTo>
                    <a:pt x="1549" y="745"/>
                  </a:lnTo>
                  <a:lnTo>
                    <a:pt x="1620" y="738"/>
                  </a:lnTo>
                  <a:lnTo>
                    <a:pt x="1753" y="732"/>
                  </a:lnTo>
                  <a:lnTo>
                    <a:pt x="1933" y="720"/>
                  </a:lnTo>
                  <a:lnTo>
                    <a:pt x="2107" y="618"/>
                  </a:lnTo>
                  <a:lnTo>
                    <a:pt x="2227" y="516"/>
                  </a:lnTo>
                  <a:lnTo>
                    <a:pt x="2377" y="438"/>
                  </a:lnTo>
                  <a:lnTo>
                    <a:pt x="2515" y="337"/>
                  </a:lnTo>
                  <a:lnTo>
                    <a:pt x="2420" y="343"/>
                  </a:lnTo>
                  <a:lnTo>
                    <a:pt x="2191" y="343"/>
                  </a:lnTo>
                  <a:lnTo>
                    <a:pt x="2077" y="331"/>
                  </a:lnTo>
                  <a:lnTo>
                    <a:pt x="2053" y="301"/>
                  </a:lnTo>
                  <a:lnTo>
                    <a:pt x="1951" y="301"/>
                  </a:lnTo>
                  <a:lnTo>
                    <a:pt x="1795" y="259"/>
                  </a:lnTo>
                  <a:lnTo>
                    <a:pt x="1645" y="289"/>
                  </a:lnTo>
                  <a:lnTo>
                    <a:pt x="1447" y="372"/>
                  </a:lnTo>
                  <a:lnTo>
                    <a:pt x="1297" y="408"/>
                  </a:lnTo>
                  <a:lnTo>
                    <a:pt x="1153" y="414"/>
                  </a:lnTo>
                  <a:lnTo>
                    <a:pt x="1308" y="337"/>
                  </a:lnTo>
                  <a:lnTo>
                    <a:pt x="1465" y="198"/>
                  </a:lnTo>
                  <a:lnTo>
                    <a:pt x="1453" y="168"/>
                  </a:lnTo>
                  <a:lnTo>
                    <a:pt x="1465" y="102"/>
                  </a:lnTo>
                  <a:lnTo>
                    <a:pt x="1477" y="36"/>
                  </a:lnTo>
                  <a:lnTo>
                    <a:pt x="1453" y="0"/>
                  </a:lnTo>
                  <a:lnTo>
                    <a:pt x="1417" y="24"/>
                  </a:lnTo>
                  <a:lnTo>
                    <a:pt x="1356" y="42"/>
                  </a:lnTo>
                  <a:lnTo>
                    <a:pt x="1189" y="102"/>
                  </a:lnTo>
                  <a:lnTo>
                    <a:pt x="1098" y="144"/>
                  </a:lnTo>
                  <a:lnTo>
                    <a:pt x="1026" y="144"/>
                  </a:lnTo>
                  <a:lnTo>
                    <a:pt x="991" y="168"/>
                  </a:lnTo>
                  <a:lnTo>
                    <a:pt x="889" y="331"/>
                  </a:lnTo>
                  <a:lnTo>
                    <a:pt x="852" y="408"/>
                  </a:lnTo>
                  <a:lnTo>
                    <a:pt x="726" y="480"/>
                  </a:lnTo>
                  <a:lnTo>
                    <a:pt x="649" y="540"/>
                  </a:lnTo>
                  <a:lnTo>
                    <a:pt x="643" y="540"/>
                  </a:lnTo>
                  <a:lnTo>
                    <a:pt x="637" y="534"/>
                  </a:lnTo>
                  <a:lnTo>
                    <a:pt x="600" y="516"/>
                  </a:lnTo>
                  <a:lnTo>
                    <a:pt x="564" y="492"/>
                  </a:lnTo>
                  <a:lnTo>
                    <a:pt x="552" y="486"/>
                  </a:lnTo>
                  <a:lnTo>
                    <a:pt x="540" y="474"/>
                  </a:lnTo>
                  <a:lnTo>
                    <a:pt x="528" y="462"/>
                  </a:lnTo>
                  <a:lnTo>
                    <a:pt x="504" y="444"/>
                  </a:lnTo>
                  <a:lnTo>
                    <a:pt x="474" y="426"/>
                  </a:lnTo>
                  <a:lnTo>
                    <a:pt x="444" y="408"/>
                  </a:lnTo>
                  <a:lnTo>
                    <a:pt x="415" y="390"/>
                  </a:lnTo>
                  <a:lnTo>
                    <a:pt x="385" y="372"/>
                  </a:lnTo>
                  <a:lnTo>
                    <a:pt x="366" y="366"/>
                  </a:lnTo>
                  <a:lnTo>
                    <a:pt x="360" y="360"/>
                  </a:lnTo>
                  <a:lnTo>
                    <a:pt x="192" y="234"/>
                  </a:lnTo>
                  <a:lnTo>
                    <a:pt x="210" y="307"/>
                  </a:lnTo>
                  <a:lnTo>
                    <a:pt x="570" y="564"/>
                  </a:lnTo>
                  <a:lnTo>
                    <a:pt x="558" y="618"/>
                  </a:lnTo>
                  <a:lnTo>
                    <a:pt x="444" y="732"/>
                  </a:lnTo>
                  <a:lnTo>
                    <a:pt x="324" y="787"/>
                  </a:lnTo>
                  <a:lnTo>
                    <a:pt x="318" y="787"/>
                  </a:lnTo>
                  <a:lnTo>
                    <a:pt x="258" y="811"/>
                  </a:lnTo>
                  <a:lnTo>
                    <a:pt x="127" y="853"/>
                  </a:lnTo>
                  <a:lnTo>
                    <a:pt x="0" y="901"/>
                  </a:lnTo>
                  <a:lnTo>
                    <a:pt x="0" y="1165"/>
                  </a:lnTo>
                  <a:lnTo>
                    <a:pt x="78" y="1147"/>
                  </a:lnTo>
                  <a:lnTo>
                    <a:pt x="372" y="1015"/>
                  </a:lnTo>
                  <a:lnTo>
                    <a:pt x="336" y="1117"/>
                  </a:lnTo>
                  <a:lnTo>
                    <a:pt x="222" y="1262"/>
                  </a:lnTo>
                  <a:lnTo>
                    <a:pt x="145" y="1453"/>
                  </a:lnTo>
                  <a:lnTo>
                    <a:pt x="139" y="1459"/>
                  </a:lnTo>
                  <a:lnTo>
                    <a:pt x="133" y="1465"/>
                  </a:lnTo>
                  <a:lnTo>
                    <a:pt x="102" y="1495"/>
                  </a:lnTo>
                  <a:lnTo>
                    <a:pt x="90" y="1507"/>
                  </a:lnTo>
                  <a:lnTo>
                    <a:pt x="84" y="1519"/>
                  </a:lnTo>
                  <a:lnTo>
                    <a:pt x="84" y="1531"/>
                  </a:lnTo>
                  <a:lnTo>
                    <a:pt x="96" y="1537"/>
                  </a:lnTo>
                  <a:lnTo>
                    <a:pt x="114" y="1549"/>
                  </a:lnTo>
                  <a:lnTo>
                    <a:pt x="127" y="1567"/>
                  </a:lnTo>
                  <a:lnTo>
                    <a:pt x="139" y="1597"/>
                  </a:lnTo>
                  <a:lnTo>
                    <a:pt x="145" y="1633"/>
                  </a:lnTo>
                  <a:lnTo>
                    <a:pt x="150" y="1663"/>
                  </a:lnTo>
                  <a:lnTo>
                    <a:pt x="156" y="1693"/>
                  </a:lnTo>
                  <a:lnTo>
                    <a:pt x="162" y="1717"/>
                  </a:lnTo>
                  <a:lnTo>
                    <a:pt x="162" y="1723"/>
                  </a:lnTo>
                  <a:lnTo>
                    <a:pt x="216" y="1796"/>
                  </a:lnTo>
                  <a:lnTo>
                    <a:pt x="216" y="1802"/>
                  </a:lnTo>
                  <a:lnTo>
                    <a:pt x="222" y="1814"/>
                  </a:lnTo>
                  <a:lnTo>
                    <a:pt x="228" y="1850"/>
                  </a:lnTo>
                  <a:lnTo>
                    <a:pt x="234" y="1886"/>
                  </a:lnTo>
                  <a:lnTo>
                    <a:pt x="240" y="1904"/>
                  </a:lnTo>
                  <a:lnTo>
                    <a:pt x="240" y="1916"/>
                  </a:lnTo>
                  <a:lnTo>
                    <a:pt x="246" y="1922"/>
                  </a:lnTo>
                  <a:lnTo>
                    <a:pt x="252" y="1934"/>
                  </a:lnTo>
                  <a:lnTo>
                    <a:pt x="258" y="1970"/>
                  </a:lnTo>
                  <a:lnTo>
                    <a:pt x="438" y="1970"/>
                  </a:lnTo>
                  <a:lnTo>
                    <a:pt x="462" y="1922"/>
                  </a:lnTo>
                  <a:lnTo>
                    <a:pt x="624" y="1778"/>
                  </a:lnTo>
                  <a:lnTo>
                    <a:pt x="624" y="1778"/>
                  </a:lnTo>
                  <a:close/>
                </a:path>
              </a:pathLst>
            </a:custGeom>
            <a:gradFill rotWithShape="0">
              <a:gsLst>
                <a:gs pos="0">
                  <a:schemeClr val="bg2"/>
                </a:gs>
                <a:gs pos="50000">
                  <a:schemeClr val="bg1"/>
                </a:gs>
                <a:gs pos="100000">
                  <a:schemeClr val="bg2"/>
                </a:gs>
              </a:gsLst>
              <a:lin ang="2700000" scaled="1"/>
            </a:gradFill>
            <a:ln w="9525">
              <a:noFill/>
              <a:round/>
              <a:headEnd/>
              <a:tailEnd/>
            </a:ln>
          </p:spPr>
          <p:txBody>
            <a:bodyPr/>
            <a:lstStyle/>
            <a:p>
              <a:pPr eaLnBrk="0" fontAlgn="base" hangingPunct="0">
                <a:spcBef>
                  <a:spcPct val="0"/>
                </a:spcBef>
                <a:spcAft>
                  <a:spcPct val="0"/>
                </a:spcAft>
                <a:defRPr/>
              </a:pPr>
              <a:endParaRPr lang="zh-CN" altLang="en-US">
                <a:solidFill>
                  <a:srgbClr val="FFFFFF"/>
                </a:solidFill>
                <a:effectLst>
                  <a:outerShdw blurRad="38100" dist="38100" dir="2700000" algn="tl">
                    <a:srgbClr val="000000">
                      <a:alpha val="43137"/>
                    </a:srgbClr>
                  </a:outerShdw>
                </a:effectLst>
                <a:latin typeface="Arial" charset="0"/>
              </a:endParaRPr>
            </a:p>
          </p:txBody>
        </p:sp>
        <p:sp>
          <p:nvSpPr>
            <p:cNvPr id="38916" name="Freeform 4"/>
            <p:cNvSpPr>
              <a:spLocks/>
            </p:cNvSpPr>
            <p:nvPr/>
          </p:nvSpPr>
          <p:spPr bwMode="hidden">
            <a:xfrm>
              <a:off x="0" y="2496"/>
              <a:ext cx="2112" cy="1604"/>
            </a:xfrm>
            <a:custGeom>
              <a:avLst/>
              <a:gdLst/>
              <a:ahLst/>
              <a:cxnLst>
                <a:cxn ang="0">
                  <a:pos x="580" y="1043"/>
                </a:cxn>
                <a:cxn ang="0">
                  <a:pos x="544" y="683"/>
                </a:cxn>
                <a:cxn ang="0">
                  <a:pos x="670" y="395"/>
                </a:cxn>
                <a:cxn ang="0">
                  <a:pos x="927" y="587"/>
                </a:cxn>
                <a:cxn ang="0">
                  <a:pos x="1214" y="869"/>
                </a:cxn>
                <a:cxn ang="0">
                  <a:pos x="1483" y="1109"/>
                </a:cxn>
                <a:cxn ang="0">
                  <a:pos x="1800" y="1360"/>
                </a:cxn>
                <a:cxn ang="0">
                  <a:pos x="1883" y="1414"/>
                </a:cxn>
                <a:cxn ang="0">
                  <a:pos x="1836" y="1354"/>
                </a:cxn>
                <a:cxn ang="0">
                  <a:pos x="1411" y="1001"/>
                </a:cxn>
                <a:cxn ang="0">
                  <a:pos x="1088" y="683"/>
                </a:cxn>
                <a:cxn ang="0">
                  <a:pos x="723" y="329"/>
                </a:cxn>
                <a:cxn ang="0">
                  <a:pos x="999" y="311"/>
                </a:cxn>
                <a:cxn ang="0">
                  <a:pos x="1286" y="317"/>
                </a:cxn>
                <a:cxn ang="0">
                  <a:pos x="1614" y="269"/>
                </a:cxn>
                <a:cxn ang="0">
                  <a:pos x="2123" y="197"/>
                </a:cxn>
                <a:cxn ang="0">
                  <a:pos x="2075" y="173"/>
                </a:cxn>
                <a:cxn ang="0">
                  <a:pos x="1543" y="257"/>
                </a:cxn>
                <a:cxn ang="0">
                  <a:pos x="1208" y="275"/>
                </a:cxn>
                <a:cxn ang="0">
                  <a:pos x="759" y="257"/>
                </a:cxn>
                <a:cxn ang="0">
                  <a:pos x="819" y="227"/>
                </a:cxn>
                <a:cxn ang="0">
                  <a:pos x="1142" y="0"/>
                </a:cxn>
                <a:cxn ang="0">
                  <a:pos x="1088" y="30"/>
                </a:cxn>
                <a:cxn ang="0">
                  <a:pos x="1010" y="84"/>
                </a:cxn>
                <a:cxn ang="0">
                  <a:pos x="855" y="191"/>
                </a:cxn>
                <a:cxn ang="0">
                  <a:pos x="670" y="281"/>
                </a:cxn>
                <a:cxn ang="0">
                  <a:pos x="634" y="359"/>
                </a:cxn>
                <a:cxn ang="0">
                  <a:pos x="305" y="587"/>
                </a:cxn>
                <a:cxn ang="0">
                  <a:pos x="0" y="725"/>
                </a:cxn>
                <a:cxn ang="0">
                  <a:pos x="0" y="731"/>
                </a:cxn>
                <a:cxn ang="0">
                  <a:pos x="0" y="767"/>
                </a:cxn>
                <a:cxn ang="0">
                  <a:pos x="299" y="635"/>
                </a:cxn>
                <a:cxn ang="0">
                  <a:pos x="592" y="431"/>
                </a:cxn>
                <a:cxn ang="0">
                  <a:pos x="508" y="671"/>
                </a:cxn>
                <a:cxn ang="0">
                  <a:pos x="526" y="995"/>
                </a:cxn>
                <a:cxn ang="0">
                  <a:pos x="460" y="1168"/>
                </a:cxn>
                <a:cxn ang="0">
                  <a:pos x="329" y="1480"/>
                </a:cxn>
                <a:cxn ang="0">
                  <a:pos x="323" y="1696"/>
                </a:cxn>
                <a:cxn ang="0">
                  <a:pos x="329" y="1696"/>
                </a:cxn>
                <a:cxn ang="0">
                  <a:pos x="347" y="1552"/>
                </a:cxn>
                <a:cxn ang="0">
                  <a:pos x="580" y="1043"/>
                </a:cxn>
                <a:cxn ang="0">
                  <a:pos x="580" y="1043"/>
                </a:cxn>
              </a:cxnLst>
              <a:rect l="0" t="0" r="r" b="b"/>
              <a:pathLst>
                <a:path w="2123" h="1696">
                  <a:moveTo>
                    <a:pt x="580" y="1043"/>
                  </a:moveTo>
                  <a:lnTo>
                    <a:pt x="544" y="683"/>
                  </a:lnTo>
                  <a:lnTo>
                    <a:pt x="670" y="395"/>
                  </a:lnTo>
                  <a:lnTo>
                    <a:pt x="927" y="587"/>
                  </a:lnTo>
                  <a:lnTo>
                    <a:pt x="1214" y="869"/>
                  </a:lnTo>
                  <a:lnTo>
                    <a:pt x="1483" y="1109"/>
                  </a:lnTo>
                  <a:lnTo>
                    <a:pt x="1800" y="1360"/>
                  </a:lnTo>
                  <a:lnTo>
                    <a:pt x="1883" y="1414"/>
                  </a:lnTo>
                  <a:lnTo>
                    <a:pt x="1836" y="1354"/>
                  </a:lnTo>
                  <a:lnTo>
                    <a:pt x="1411" y="1001"/>
                  </a:lnTo>
                  <a:lnTo>
                    <a:pt x="1088" y="683"/>
                  </a:lnTo>
                  <a:lnTo>
                    <a:pt x="723" y="329"/>
                  </a:lnTo>
                  <a:lnTo>
                    <a:pt x="999" y="311"/>
                  </a:lnTo>
                  <a:lnTo>
                    <a:pt x="1286" y="317"/>
                  </a:lnTo>
                  <a:lnTo>
                    <a:pt x="1614" y="269"/>
                  </a:lnTo>
                  <a:lnTo>
                    <a:pt x="2123" y="197"/>
                  </a:lnTo>
                  <a:lnTo>
                    <a:pt x="2075" y="173"/>
                  </a:lnTo>
                  <a:lnTo>
                    <a:pt x="1543" y="257"/>
                  </a:lnTo>
                  <a:lnTo>
                    <a:pt x="1208" y="275"/>
                  </a:lnTo>
                  <a:lnTo>
                    <a:pt x="759" y="257"/>
                  </a:lnTo>
                  <a:lnTo>
                    <a:pt x="819" y="227"/>
                  </a:lnTo>
                  <a:lnTo>
                    <a:pt x="1142" y="0"/>
                  </a:lnTo>
                  <a:lnTo>
                    <a:pt x="1088" y="30"/>
                  </a:lnTo>
                  <a:lnTo>
                    <a:pt x="1010" y="84"/>
                  </a:lnTo>
                  <a:lnTo>
                    <a:pt x="855" y="191"/>
                  </a:lnTo>
                  <a:lnTo>
                    <a:pt x="670" y="281"/>
                  </a:lnTo>
                  <a:lnTo>
                    <a:pt x="634" y="359"/>
                  </a:lnTo>
                  <a:lnTo>
                    <a:pt x="305" y="587"/>
                  </a:lnTo>
                  <a:lnTo>
                    <a:pt x="0" y="725"/>
                  </a:lnTo>
                  <a:lnTo>
                    <a:pt x="0" y="731"/>
                  </a:lnTo>
                  <a:lnTo>
                    <a:pt x="0" y="767"/>
                  </a:lnTo>
                  <a:lnTo>
                    <a:pt x="299" y="635"/>
                  </a:lnTo>
                  <a:lnTo>
                    <a:pt x="592" y="431"/>
                  </a:lnTo>
                  <a:lnTo>
                    <a:pt x="508" y="671"/>
                  </a:lnTo>
                  <a:lnTo>
                    <a:pt x="526" y="995"/>
                  </a:lnTo>
                  <a:lnTo>
                    <a:pt x="460" y="1168"/>
                  </a:lnTo>
                  <a:lnTo>
                    <a:pt x="329" y="1480"/>
                  </a:lnTo>
                  <a:lnTo>
                    <a:pt x="323" y="1696"/>
                  </a:lnTo>
                  <a:lnTo>
                    <a:pt x="329" y="1696"/>
                  </a:lnTo>
                  <a:lnTo>
                    <a:pt x="347" y="1552"/>
                  </a:lnTo>
                  <a:lnTo>
                    <a:pt x="580" y="1043"/>
                  </a:lnTo>
                  <a:lnTo>
                    <a:pt x="580" y="1043"/>
                  </a:lnTo>
                  <a:close/>
                </a:path>
              </a:pathLst>
            </a:custGeom>
            <a:gradFill rotWithShape="0">
              <a:gsLst>
                <a:gs pos="0">
                  <a:schemeClr val="accent2"/>
                </a:gs>
                <a:gs pos="100000">
                  <a:schemeClr val="bg1"/>
                </a:gs>
              </a:gsLst>
              <a:lin ang="5400000" scaled="1"/>
            </a:gradFill>
            <a:ln w="9525">
              <a:noFill/>
              <a:round/>
              <a:headEnd/>
              <a:tailEnd/>
            </a:ln>
          </p:spPr>
          <p:txBody>
            <a:bodyPr/>
            <a:lstStyle/>
            <a:p>
              <a:pPr eaLnBrk="0" fontAlgn="base" hangingPunct="0">
                <a:spcBef>
                  <a:spcPct val="0"/>
                </a:spcBef>
                <a:spcAft>
                  <a:spcPct val="0"/>
                </a:spcAft>
                <a:defRPr/>
              </a:pPr>
              <a:endParaRPr lang="zh-CN" altLang="en-US">
                <a:solidFill>
                  <a:srgbClr val="FFFFFF"/>
                </a:solidFill>
                <a:effectLst>
                  <a:outerShdw blurRad="38100" dist="38100" dir="2700000" algn="tl">
                    <a:srgbClr val="000000">
                      <a:alpha val="43137"/>
                    </a:srgbClr>
                  </a:outerShdw>
                </a:effectLst>
                <a:latin typeface="Arial" charset="0"/>
              </a:endParaRPr>
            </a:p>
          </p:txBody>
        </p:sp>
        <p:sp>
          <p:nvSpPr>
            <p:cNvPr id="38917" name="Freeform 5"/>
            <p:cNvSpPr>
              <a:spLocks/>
            </p:cNvSpPr>
            <p:nvPr/>
          </p:nvSpPr>
          <p:spPr bwMode="hidden">
            <a:xfrm>
              <a:off x="2092" y="3233"/>
              <a:ext cx="3668" cy="943"/>
            </a:xfrm>
            <a:custGeom>
              <a:avLst/>
              <a:gdLst/>
              <a:ahLst/>
              <a:cxnLst>
                <a:cxn ang="0">
                  <a:pos x="3338" y="288"/>
                </a:cxn>
                <a:cxn ang="0">
                  <a:pos x="3194" y="258"/>
                </a:cxn>
                <a:cxn ang="0">
                  <a:pos x="2816" y="234"/>
                </a:cxn>
                <a:cxn ang="0">
                  <a:pos x="2330" y="306"/>
                </a:cxn>
                <a:cxn ang="0">
                  <a:pos x="2372" y="258"/>
                </a:cxn>
                <a:cxn ang="0">
                  <a:pos x="2624" y="132"/>
                </a:cxn>
                <a:cxn ang="0">
                  <a:pos x="2707" y="24"/>
                </a:cxn>
                <a:cxn ang="0">
                  <a:pos x="2642" y="12"/>
                </a:cxn>
                <a:cxn ang="0">
                  <a:pos x="2515" y="54"/>
                </a:cxn>
                <a:cxn ang="0">
                  <a:pos x="2324" y="66"/>
                </a:cxn>
                <a:cxn ang="0">
                  <a:pos x="2101" y="90"/>
                </a:cxn>
                <a:cxn ang="0">
                  <a:pos x="1855" y="228"/>
                </a:cxn>
                <a:cxn ang="0">
                  <a:pos x="1591" y="337"/>
                </a:cxn>
                <a:cxn ang="0">
                  <a:pos x="1459" y="379"/>
                </a:cxn>
                <a:cxn ang="0">
                  <a:pos x="1417" y="361"/>
                </a:cxn>
                <a:cxn ang="0">
                  <a:pos x="1363" y="331"/>
                </a:cxn>
                <a:cxn ang="0">
                  <a:pos x="1344" y="312"/>
                </a:cxn>
                <a:cxn ang="0">
                  <a:pos x="1290" y="288"/>
                </a:cxn>
                <a:cxn ang="0">
                  <a:pos x="1230" y="252"/>
                </a:cxn>
                <a:cxn ang="0">
                  <a:pos x="1119" y="227"/>
                </a:cxn>
                <a:cxn ang="0">
                  <a:pos x="1320" y="438"/>
                </a:cxn>
                <a:cxn ang="0">
                  <a:pos x="960" y="558"/>
                </a:cxn>
                <a:cxn ang="0">
                  <a:pos x="474" y="630"/>
                </a:cxn>
                <a:cxn ang="0">
                  <a:pos x="132" y="781"/>
                </a:cxn>
                <a:cxn ang="0">
                  <a:pos x="234" y="847"/>
                </a:cxn>
                <a:cxn ang="0">
                  <a:pos x="925" y="739"/>
                </a:cxn>
                <a:cxn ang="0">
                  <a:pos x="637" y="925"/>
                </a:cxn>
                <a:cxn ang="0">
                  <a:pos x="1405" y="943"/>
                </a:cxn>
                <a:cxn ang="0">
                  <a:pos x="1447" y="943"/>
                </a:cxn>
                <a:cxn ang="0">
                  <a:pos x="2888" y="859"/>
                </a:cxn>
                <a:cxn ang="0">
                  <a:pos x="2582" y="708"/>
                </a:cxn>
                <a:cxn ang="0">
                  <a:pos x="2299" y="606"/>
                </a:cxn>
                <a:cxn ang="0">
                  <a:pos x="2606" y="588"/>
                </a:cxn>
                <a:cxn ang="0">
                  <a:pos x="3001" y="582"/>
                </a:cxn>
                <a:cxn ang="0">
                  <a:pos x="3452" y="438"/>
                </a:cxn>
                <a:cxn ang="0">
                  <a:pos x="3668" y="312"/>
                </a:cxn>
                <a:cxn ang="0">
                  <a:pos x="3482" y="300"/>
                </a:cxn>
              </a:cxnLst>
              <a:rect l="0" t="0" r="r" b="b"/>
              <a:pathLst>
                <a:path w="3668" h="943">
                  <a:moveTo>
                    <a:pt x="3482" y="300"/>
                  </a:moveTo>
                  <a:lnTo>
                    <a:pt x="3338" y="288"/>
                  </a:lnTo>
                  <a:lnTo>
                    <a:pt x="3320" y="264"/>
                  </a:lnTo>
                  <a:lnTo>
                    <a:pt x="3194" y="258"/>
                  </a:lnTo>
                  <a:lnTo>
                    <a:pt x="3019" y="216"/>
                  </a:lnTo>
                  <a:lnTo>
                    <a:pt x="2816" y="234"/>
                  </a:lnTo>
                  <a:lnTo>
                    <a:pt x="2533" y="288"/>
                  </a:lnTo>
                  <a:lnTo>
                    <a:pt x="2330" y="306"/>
                  </a:lnTo>
                  <a:lnTo>
                    <a:pt x="2149" y="312"/>
                  </a:lnTo>
                  <a:lnTo>
                    <a:pt x="2372" y="258"/>
                  </a:lnTo>
                  <a:lnTo>
                    <a:pt x="2624" y="156"/>
                  </a:lnTo>
                  <a:lnTo>
                    <a:pt x="2624" y="132"/>
                  </a:lnTo>
                  <a:lnTo>
                    <a:pt x="2666" y="78"/>
                  </a:lnTo>
                  <a:lnTo>
                    <a:pt x="2707" y="24"/>
                  </a:lnTo>
                  <a:lnTo>
                    <a:pt x="2695" y="0"/>
                  </a:lnTo>
                  <a:lnTo>
                    <a:pt x="2642" y="12"/>
                  </a:lnTo>
                  <a:lnTo>
                    <a:pt x="2557" y="30"/>
                  </a:lnTo>
                  <a:lnTo>
                    <a:pt x="2515" y="54"/>
                  </a:lnTo>
                  <a:lnTo>
                    <a:pt x="2425" y="84"/>
                  </a:lnTo>
                  <a:lnTo>
                    <a:pt x="2324" y="66"/>
                  </a:lnTo>
                  <a:lnTo>
                    <a:pt x="2191" y="90"/>
                  </a:lnTo>
                  <a:lnTo>
                    <a:pt x="2101" y="90"/>
                  </a:lnTo>
                  <a:lnTo>
                    <a:pt x="2047" y="108"/>
                  </a:lnTo>
                  <a:lnTo>
                    <a:pt x="1855" y="228"/>
                  </a:lnTo>
                  <a:lnTo>
                    <a:pt x="1771" y="288"/>
                  </a:lnTo>
                  <a:lnTo>
                    <a:pt x="1591" y="337"/>
                  </a:lnTo>
                  <a:lnTo>
                    <a:pt x="1465" y="379"/>
                  </a:lnTo>
                  <a:lnTo>
                    <a:pt x="1459" y="379"/>
                  </a:lnTo>
                  <a:lnTo>
                    <a:pt x="1453" y="373"/>
                  </a:lnTo>
                  <a:lnTo>
                    <a:pt x="1417" y="361"/>
                  </a:lnTo>
                  <a:lnTo>
                    <a:pt x="1381" y="343"/>
                  </a:lnTo>
                  <a:lnTo>
                    <a:pt x="1363" y="331"/>
                  </a:lnTo>
                  <a:lnTo>
                    <a:pt x="1357" y="324"/>
                  </a:lnTo>
                  <a:lnTo>
                    <a:pt x="1344" y="312"/>
                  </a:lnTo>
                  <a:lnTo>
                    <a:pt x="1320" y="300"/>
                  </a:lnTo>
                  <a:lnTo>
                    <a:pt x="1290" y="288"/>
                  </a:lnTo>
                  <a:lnTo>
                    <a:pt x="1260" y="270"/>
                  </a:lnTo>
                  <a:lnTo>
                    <a:pt x="1230" y="252"/>
                  </a:lnTo>
                  <a:lnTo>
                    <a:pt x="1187" y="227"/>
                  </a:lnTo>
                  <a:lnTo>
                    <a:pt x="1119" y="227"/>
                  </a:lnTo>
                  <a:lnTo>
                    <a:pt x="1357" y="397"/>
                  </a:lnTo>
                  <a:lnTo>
                    <a:pt x="1320" y="438"/>
                  </a:lnTo>
                  <a:lnTo>
                    <a:pt x="1135" y="522"/>
                  </a:lnTo>
                  <a:lnTo>
                    <a:pt x="960" y="558"/>
                  </a:lnTo>
                  <a:lnTo>
                    <a:pt x="684" y="600"/>
                  </a:lnTo>
                  <a:lnTo>
                    <a:pt x="474" y="630"/>
                  </a:lnTo>
                  <a:lnTo>
                    <a:pt x="390" y="684"/>
                  </a:lnTo>
                  <a:lnTo>
                    <a:pt x="132" y="781"/>
                  </a:lnTo>
                  <a:lnTo>
                    <a:pt x="0" y="829"/>
                  </a:lnTo>
                  <a:lnTo>
                    <a:pt x="234" y="847"/>
                  </a:lnTo>
                  <a:lnTo>
                    <a:pt x="498" y="829"/>
                  </a:lnTo>
                  <a:lnTo>
                    <a:pt x="925" y="739"/>
                  </a:lnTo>
                  <a:lnTo>
                    <a:pt x="840" y="817"/>
                  </a:lnTo>
                  <a:lnTo>
                    <a:pt x="637" y="925"/>
                  </a:lnTo>
                  <a:lnTo>
                    <a:pt x="613" y="943"/>
                  </a:lnTo>
                  <a:lnTo>
                    <a:pt x="1405" y="943"/>
                  </a:lnTo>
                  <a:lnTo>
                    <a:pt x="1411" y="925"/>
                  </a:lnTo>
                  <a:lnTo>
                    <a:pt x="1447" y="943"/>
                  </a:lnTo>
                  <a:lnTo>
                    <a:pt x="2924" y="943"/>
                  </a:lnTo>
                  <a:lnTo>
                    <a:pt x="2888" y="859"/>
                  </a:lnTo>
                  <a:lnTo>
                    <a:pt x="2713" y="775"/>
                  </a:lnTo>
                  <a:lnTo>
                    <a:pt x="2582" y="708"/>
                  </a:lnTo>
                  <a:lnTo>
                    <a:pt x="2336" y="636"/>
                  </a:lnTo>
                  <a:lnTo>
                    <a:pt x="2299" y="606"/>
                  </a:lnTo>
                  <a:lnTo>
                    <a:pt x="2509" y="582"/>
                  </a:lnTo>
                  <a:lnTo>
                    <a:pt x="2606" y="588"/>
                  </a:lnTo>
                  <a:lnTo>
                    <a:pt x="2773" y="588"/>
                  </a:lnTo>
                  <a:lnTo>
                    <a:pt x="3001" y="582"/>
                  </a:lnTo>
                  <a:lnTo>
                    <a:pt x="3259" y="516"/>
                  </a:lnTo>
                  <a:lnTo>
                    <a:pt x="3452" y="438"/>
                  </a:lnTo>
                  <a:lnTo>
                    <a:pt x="3668" y="391"/>
                  </a:lnTo>
                  <a:lnTo>
                    <a:pt x="3668" y="312"/>
                  </a:lnTo>
                  <a:lnTo>
                    <a:pt x="3482" y="300"/>
                  </a:lnTo>
                  <a:lnTo>
                    <a:pt x="3482" y="300"/>
                  </a:lnTo>
                  <a:close/>
                </a:path>
              </a:pathLst>
            </a:custGeom>
            <a:gradFill rotWithShape="0">
              <a:gsLst>
                <a:gs pos="0">
                  <a:schemeClr val="bg2"/>
                </a:gs>
                <a:gs pos="100000">
                  <a:schemeClr val="bg1"/>
                </a:gs>
              </a:gsLst>
              <a:lin ang="5400000" scaled="1"/>
            </a:gradFill>
            <a:ln w="9525">
              <a:noFill/>
              <a:round/>
              <a:headEnd/>
              <a:tailEnd/>
            </a:ln>
          </p:spPr>
          <p:txBody>
            <a:bodyPr/>
            <a:lstStyle/>
            <a:p>
              <a:pPr eaLnBrk="0" fontAlgn="base" hangingPunct="0">
                <a:spcBef>
                  <a:spcPct val="0"/>
                </a:spcBef>
                <a:spcAft>
                  <a:spcPct val="0"/>
                </a:spcAft>
                <a:defRPr/>
              </a:pPr>
              <a:endParaRPr lang="zh-CN" altLang="en-US">
                <a:solidFill>
                  <a:srgbClr val="FFFFFF"/>
                </a:solidFill>
                <a:effectLst>
                  <a:outerShdw blurRad="38100" dist="38100" dir="2700000" algn="tl">
                    <a:srgbClr val="000000">
                      <a:alpha val="43137"/>
                    </a:srgbClr>
                  </a:outerShdw>
                </a:effectLst>
                <a:latin typeface="Arial" charset="0"/>
              </a:endParaRPr>
            </a:p>
          </p:txBody>
        </p:sp>
        <p:sp>
          <p:nvSpPr>
            <p:cNvPr id="38918" name="Freeform 6"/>
            <p:cNvSpPr>
              <a:spLocks/>
            </p:cNvSpPr>
            <p:nvPr/>
          </p:nvSpPr>
          <p:spPr bwMode="hidden">
            <a:xfrm>
              <a:off x="0" y="524"/>
              <a:ext cx="973" cy="1195"/>
            </a:xfrm>
            <a:custGeom>
              <a:avLst/>
              <a:gdLst/>
              <a:ahLst/>
              <a:cxnLst>
                <a:cxn ang="0">
                  <a:pos x="323" y="1186"/>
                </a:cxn>
                <a:cxn ang="0">
                  <a:pos x="490" y="1192"/>
                </a:cxn>
                <a:cxn ang="0">
                  <a:pos x="580" y="1150"/>
                </a:cxn>
                <a:cxn ang="0">
                  <a:pos x="813" y="1085"/>
                </a:cxn>
                <a:cxn ang="0">
                  <a:pos x="933" y="1055"/>
                </a:cxn>
                <a:cxn ang="0">
                  <a:pos x="759" y="989"/>
                </a:cxn>
                <a:cxn ang="0">
                  <a:pos x="556" y="953"/>
                </a:cxn>
                <a:cxn ang="0">
                  <a:pos x="197" y="971"/>
                </a:cxn>
                <a:cxn ang="0">
                  <a:pos x="299" y="893"/>
                </a:cxn>
                <a:cxn ang="0">
                  <a:pos x="496" y="803"/>
                </a:cxn>
                <a:cxn ang="0">
                  <a:pos x="694" y="671"/>
                </a:cxn>
                <a:cxn ang="0">
                  <a:pos x="700" y="671"/>
                </a:cxn>
                <a:cxn ang="0">
                  <a:pos x="712" y="665"/>
                </a:cxn>
                <a:cxn ang="0">
                  <a:pos x="753" y="647"/>
                </a:cxn>
                <a:cxn ang="0">
                  <a:pos x="777" y="641"/>
                </a:cxn>
                <a:cxn ang="0">
                  <a:pos x="789" y="629"/>
                </a:cxn>
                <a:cxn ang="0">
                  <a:pos x="795" y="617"/>
                </a:cxn>
                <a:cxn ang="0">
                  <a:pos x="789" y="611"/>
                </a:cxn>
                <a:cxn ang="0">
                  <a:pos x="783" y="599"/>
                </a:cxn>
                <a:cxn ang="0">
                  <a:pos x="783" y="575"/>
                </a:cxn>
                <a:cxn ang="0">
                  <a:pos x="795" y="545"/>
                </a:cxn>
                <a:cxn ang="0">
                  <a:pos x="807" y="515"/>
                </a:cxn>
                <a:cxn ang="0">
                  <a:pos x="825" y="485"/>
                </a:cxn>
                <a:cxn ang="0">
                  <a:pos x="837" y="455"/>
                </a:cxn>
                <a:cxn ang="0">
                  <a:pos x="843" y="437"/>
                </a:cxn>
                <a:cxn ang="0">
                  <a:pos x="849" y="431"/>
                </a:cxn>
                <a:cxn ang="0">
                  <a:pos x="849" y="347"/>
                </a:cxn>
                <a:cxn ang="0">
                  <a:pos x="849" y="341"/>
                </a:cxn>
                <a:cxn ang="0">
                  <a:pos x="855" y="335"/>
                </a:cxn>
                <a:cxn ang="0">
                  <a:pos x="873" y="305"/>
                </a:cxn>
                <a:cxn ang="0">
                  <a:pos x="885" y="269"/>
                </a:cxn>
                <a:cxn ang="0">
                  <a:pos x="897" y="239"/>
                </a:cxn>
                <a:cxn ang="0">
                  <a:pos x="903" y="227"/>
                </a:cxn>
                <a:cxn ang="0">
                  <a:pos x="909" y="215"/>
                </a:cxn>
                <a:cxn ang="0">
                  <a:pos x="927" y="173"/>
                </a:cxn>
                <a:cxn ang="0">
                  <a:pos x="945" y="137"/>
                </a:cxn>
                <a:cxn ang="0">
                  <a:pos x="951" y="125"/>
                </a:cxn>
                <a:cxn ang="0">
                  <a:pos x="951" y="119"/>
                </a:cxn>
                <a:cxn ang="0">
                  <a:pos x="969" y="0"/>
                </a:cxn>
                <a:cxn ang="0">
                  <a:pos x="945" y="47"/>
                </a:cxn>
                <a:cxn ang="0">
                  <a:pos x="783" y="113"/>
                </a:cxn>
                <a:cxn ang="0">
                  <a:pos x="706" y="161"/>
                </a:cxn>
                <a:cxn ang="0">
                  <a:pos x="460" y="233"/>
                </a:cxn>
                <a:cxn ang="0">
                  <a:pos x="281" y="287"/>
                </a:cxn>
                <a:cxn ang="0">
                  <a:pos x="173" y="293"/>
                </a:cxn>
                <a:cxn ang="0">
                  <a:pos x="12" y="485"/>
                </a:cxn>
                <a:cxn ang="0">
                  <a:pos x="0" y="509"/>
                </a:cxn>
                <a:cxn ang="0">
                  <a:pos x="0" y="1186"/>
                </a:cxn>
                <a:cxn ang="0">
                  <a:pos x="96" y="1180"/>
                </a:cxn>
                <a:cxn ang="0">
                  <a:pos x="323" y="1186"/>
                </a:cxn>
                <a:cxn ang="0">
                  <a:pos x="323" y="1186"/>
                </a:cxn>
              </a:cxnLst>
              <a:rect l="0" t="0" r="r" b="b"/>
              <a:pathLst>
                <a:path w="969" h="1192">
                  <a:moveTo>
                    <a:pt x="323" y="1186"/>
                  </a:moveTo>
                  <a:lnTo>
                    <a:pt x="490" y="1192"/>
                  </a:lnTo>
                  <a:lnTo>
                    <a:pt x="580" y="1150"/>
                  </a:lnTo>
                  <a:lnTo>
                    <a:pt x="813" y="1085"/>
                  </a:lnTo>
                  <a:lnTo>
                    <a:pt x="933" y="1055"/>
                  </a:lnTo>
                  <a:lnTo>
                    <a:pt x="759" y="989"/>
                  </a:lnTo>
                  <a:lnTo>
                    <a:pt x="556" y="953"/>
                  </a:lnTo>
                  <a:lnTo>
                    <a:pt x="197" y="971"/>
                  </a:lnTo>
                  <a:lnTo>
                    <a:pt x="299" y="893"/>
                  </a:lnTo>
                  <a:lnTo>
                    <a:pt x="496" y="803"/>
                  </a:lnTo>
                  <a:lnTo>
                    <a:pt x="694" y="671"/>
                  </a:lnTo>
                  <a:lnTo>
                    <a:pt x="700" y="671"/>
                  </a:lnTo>
                  <a:lnTo>
                    <a:pt x="712" y="665"/>
                  </a:lnTo>
                  <a:lnTo>
                    <a:pt x="753" y="647"/>
                  </a:lnTo>
                  <a:lnTo>
                    <a:pt x="777" y="641"/>
                  </a:lnTo>
                  <a:lnTo>
                    <a:pt x="789" y="629"/>
                  </a:lnTo>
                  <a:lnTo>
                    <a:pt x="795" y="617"/>
                  </a:lnTo>
                  <a:lnTo>
                    <a:pt x="789" y="611"/>
                  </a:lnTo>
                  <a:lnTo>
                    <a:pt x="783" y="599"/>
                  </a:lnTo>
                  <a:lnTo>
                    <a:pt x="783" y="575"/>
                  </a:lnTo>
                  <a:lnTo>
                    <a:pt x="795" y="545"/>
                  </a:lnTo>
                  <a:lnTo>
                    <a:pt x="807" y="515"/>
                  </a:lnTo>
                  <a:lnTo>
                    <a:pt x="825" y="485"/>
                  </a:lnTo>
                  <a:lnTo>
                    <a:pt x="837" y="455"/>
                  </a:lnTo>
                  <a:lnTo>
                    <a:pt x="843" y="437"/>
                  </a:lnTo>
                  <a:lnTo>
                    <a:pt x="849" y="431"/>
                  </a:lnTo>
                  <a:lnTo>
                    <a:pt x="849" y="347"/>
                  </a:lnTo>
                  <a:lnTo>
                    <a:pt x="849" y="341"/>
                  </a:lnTo>
                  <a:lnTo>
                    <a:pt x="855" y="335"/>
                  </a:lnTo>
                  <a:lnTo>
                    <a:pt x="873" y="305"/>
                  </a:lnTo>
                  <a:lnTo>
                    <a:pt x="885" y="269"/>
                  </a:lnTo>
                  <a:lnTo>
                    <a:pt x="897" y="239"/>
                  </a:lnTo>
                  <a:lnTo>
                    <a:pt x="903" y="227"/>
                  </a:lnTo>
                  <a:lnTo>
                    <a:pt x="909" y="215"/>
                  </a:lnTo>
                  <a:lnTo>
                    <a:pt x="927" y="173"/>
                  </a:lnTo>
                  <a:lnTo>
                    <a:pt x="945" y="137"/>
                  </a:lnTo>
                  <a:lnTo>
                    <a:pt x="951" y="125"/>
                  </a:lnTo>
                  <a:lnTo>
                    <a:pt x="951" y="119"/>
                  </a:lnTo>
                  <a:lnTo>
                    <a:pt x="969" y="0"/>
                  </a:lnTo>
                  <a:lnTo>
                    <a:pt x="945" y="47"/>
                  </a:lnTo>
                  <a:lnTo>
                    <a:pt x="783" y="113"/>
                  </a:lnTo>
                  <a:lnTo>
                    <a:pt x="706" y="161"/>
                  </a:lnTo>
                  <a:lnTo>
                    <a:pt x="460" y="233"/>
                  </a:lnTo>
                  <a:lnTo>
                    <a:pt x="281" y="287"/>
                  </a:lnTo>
                  <a:lnTo>
                    <a:pt x="173" y="293"/>
                  </a:lnTo>
                  <a:lnTo>
                    <a:pt x="12" y="485"/>
                  </a:lnTo>
                  <a:lnTo>
                    <a:pt x="0" y="509"/>
                  </a:lnTo>
                  <a:lnTo>
                    <a:pt x="0" y="1186"/>
                  </a:lnTo>
                  <a:lnTo>
                    <a:pt x="96" y="1180"/>
                  </a:lnTo>
                  <a:lnTo>
                    <a:pt x="323" y="1186"/>
                  </a:lnTo>
                  <a:lnTo>
                    <a:pt x="323" y="1186"/>
                  </a:lnTo>
                  <a:close/>
                </a:path>
              </a:pathLst>
            </a:custGeom>
            <a:gradFill rotWithShape="0">
              <a:gsLst>
                <a:gs pos="0">
                  <a:schemeClr val="bg2"/>
                </a:gs>
                <a:gs pos="100000">
                  <a:schemeClr val="bg1"/>
                </a:gs>
              </a:gsLst>
              <a:lin ang="5400000" scaled="1"/>
            </a:gradFill>
            <a:ln w="9525">
              <a:noFill/>
              <a:round/>
              <a:headEnd/>
              <a:tailEnd/>
            </a:ln>
          </p:spPr>
          <p:txBody>
            <a:bodyPr/>
            <a:lstStyle/>
            <a:p>
              <a:pPr eaLnBrk="0" fontAlgn="base" hangingPunct="0">
                <a:spcBef>
                  <a:spcPct val="0"/>
                </a:spcBef>
                <a:spcAft>
                  <a:spcPct val="0"/>
                </a:spcAft>
                <a:defRPr/>
              </a:pPr>
              <a:endParaRPr lang="zh-CN" altLang="en-US">
                <a:solidFill>
                  <a:srgbClr val="FFFFFF"/>
                </a:solidFill>
                <a:effectLst>
                  <a:outerShdw blurRad="38100" dist="38100" dir="2700000" algn="tl">
                    <a:srgbClr val="000000">
                      <a:alpha val="43137"/>
                    </a:srgbClr>
                  </a:outerShdw>
                </a:effectLst>
                <a:latin typeface="Arial" charset="0"/>
              </a:endParaRPr>
            </a:p>
          </p:txBody>
        </p:sp>
        <p:sp>
          <p:nvSpPr>
            <p:cNvPr id="38919" name="Freeform 7"/>
            <p:cNvSpPr>
              <a:spLocks/>
            </p:cNvSpPr>
            <p:nvPr/>
          </p:nvSpPr>
          <p:spPr bwMode="hidden">
            <a:xfrm>
              <a:off x="3188" y="1"/>
              <a:ext cx="2570" cy="2266"/>
            </a:xfrm>
            <a:custGeom>
              <a:avLst/>
              <a:gdLst/>
              <a:ahLst/>
              <a:cxnLst>
                <a:cxn ang="0">
                  <a:pos x="859" y="612"/>
                </a:cxn>
                <a:cxn ang="0">
                  <a:pos x="1087" y="853"/>
                </a:cxn>
                <a:cxn ang="0">
                  <a:pos x="961" y="913"/>
                </a:cxn>
                <a:cxn ang="0">
                  <a:pos x="786" y="883"/>
                </a:cxn>
                <a:cxn ang="0">
                  <a:pos x="450" y="931"/>
                </a:cxn>
                <a:cxn ang="0">
                  <a:pos x="150" y="1075"/>
                </a:cxn>
                <a:cxn ang="0">
                  <a:pos x="78" y="1165"/>
                </a:cxn>
                <a:cxn ang="0">
                  <a:pos x="361" y="1256"/>
                </a:cxn>
                <a:cxn ang="0">
                  <a:pos x="444" y="1316"/>
                </a:cxn>
                <a:cxn ang="0">
                  <a:pos x="697" y="1400"/>
                </a:cxn>
                <a:cxn ang="0">
                  <a:pos x="1026" y="1346"/>
                </a:cxn>
                <a:cxn ang="0">
                  <a:pos x="991" y="1412"/>
                </a:cxn>
                <a:cxn ang="0">
                  <a:pos x="804" y="1574"/>
                </a:cxn>
                <a:cxn ang="0">
                  <a:pos x="726" y="1718"/>
                </a:cxn>
                <a:cxn ang="0">
                  <a:pos x="768" y="1742"/>
                </a:cxn>
                <a:cxn ang="0">
                  <a:pos x="865" y="1693"/>
                </a:cxn>
                <a:cxn ang="0">
                  <a:pos x="991" y="1699"/>
                </a:cxn>
                <a:cxn ang="0">
                  <a:pos x="1135" y="1627"/>
                </a:cxn>
                <a:cxn ang="0">
                  <a:pos x="1183" y="1669"/>
                </a:cxn>
                <a:cxn ang="0">
                  <a:pos x="1399" y="1436"/>
                </a:cxn>
                <a:cxn ang="0">
                  <a:pos x="1615" y="1334"/>
                </a:cxn>
                <a:cxn ang="0">
                  <a:pos x="1645" y="1370"/>
                </a:cxn>
                <a:cxn ang="0">
                  <a:pos x="1681" y="1430"/>
                </a:cxn>
                <a:cxn ang="0">
                  <a:pos x="1699" y="1466"/>
                </a:cxn>
                <a:cxn ang="0">
                  <a:pos x="1747" y="1550"/>
                </a:cxn>
                <a:cxn ang="0">
                  <a:pos x="1772" y="1586"/>
                </a:cxn>
                <a:cxn ang="0">
                  <a:pos x="2124" y="2248"/>
                </a:cxn>
                <a:cxn ang="0">
                  <a:pos x="1693" y="1322"/>
                </a:cxn>
                <a:cxn ang="0">
                  <a:pos x="1861" y="1165"/>
                </a:cxn>
                <a:cxn ang="0">
                  <a:pos x="2173" y="1099"/>
                </a:cxn>
                <a:cxn ang="0">
                  <a:pos x="2390" y="1009"/>
                </a:cxn>
                <a:cxn ang="0">
                  <a:pos x="2570" y="805"/>
                </a:cxn>
                <a:cxn ang="0">
                  <a:pos x="2342" y="781"/>
                </a:cxn>
                <a:cxn ang="0">
                  <a:pos x="2114" y="763"/>
                </a:cxn>
                <a:cxn ang="0">
                  <a:pos x="2408" y="433"/>
                </a:cxn>
                <a:cxn ang="0">
                  <a:pos x="2426" y="421"/>
                </a:cxn>
                <a:cxn ang="0">
                  <a:pos x="2474" y="379"/>
                </a:cxn>
                <a:cxn ang="0">
                  <a:pos x="2492" y="355"/>
                </a:cxn>
                <a:cxn ang="0">
                  <a:pos x="2474" y="337"/>
                </a:cxn>
                <a:cxn ang="0">
                  <a:pos x="2474" y="271"/>
                </a:cxn>
                <a:cxn ang="0">
                  <a:pos x="2492" y="192"/>
                </a:cxn>
                <a:cxn ang="0">
                  <a:pos x="2504" y="132"/>
                </a:cxn>
                <a:cxn ang="0">
                  <a:pos x="2492" y="36"/>
                </a:cxn>
                <a:cxn ang="0">
                  <a:pos x="2492" y="24"/>
                </a:cxn>
                <a:cxn ang="0">
                  <a:pos x="2102" y="0"/>
                </a:cxn>
                <a:cxn ang="0">
                  <a:pos x="1909" y="90"/>
                </a:cxn>
                <a:cxn ang="0">
                  <a:pos x="1747" y="535"/>
                </a:cxn>
                <a:cxn ang="0">
                  <a:pos x="1711" y="469"/>
                </a:cxn>
                <a:cxn ang="0">
                  <a:pos x="1633" y="144"/>
                </a:cxn>
                <a:cxn ang="0">
                  <a:pos x="1579" y="0"/>
                </a:cxn>
                <a:cxn ang="0">
                  <a:pos x="738" y="186"/>
                </a:cxn>
                <a:cxn ang="0">
                  <a:pos x="756" y="463"/>
                </a:cxn>
              </a:cxnLst>
              <a:rect l="0" t="0" r="r" b="b"/>
              <a:pathLst>
                <a:path w="2570" h="2266">
                  <a:moveTo>
                    <a:pt x="756" y="463"/>
                  </a:moveTo>
                  <a:lnTo>
                    <a:pt x="859" y="612"/>
                  </a:lnTo>
                  <a:lnTo>
                    <a:pt x="937" y="720"/>
                  </a:lnTo>
                  <a:lnTo>
                    <a:pt x="1087" y="853"/>
                  </a:lnTo>
                  <a:lnTo>
                    <a:pt x="1105" y="907"/>
                  </a:lnTo>
                  <a:lnTo>
                    <a:pt x="961" y="913"/>
                  </a:lnTo>
                  <a:lnTo>
                    <a:pt x="895" y="901"/>
                  </a:lnTo>
                  <a:lnTo>
                    <a:pt x="786" y="883"/>
                  </a:lnTo>
                  <a:lnTo>
                    <a:pt x="637" y="859"/>
                  </a:lnTo>
                  <a:lnTo>
                    <a:pt x="450" y="931"/>
                  </a:lnTo>
                  <a:lnTo>
                    <a:pt x="306" y="1021"/>
                  </a:lnTo>
                  <a:lnTo>
                    <a:pt x="150" y="1075"/>
                  </a:lnTo>
                  <a:lnTo>
                    <a:pt x="0" y="1153"/>
                  </a:lnTo>
                  <a:lnTo>
                    <a:pt x="78" y="1165"/>
                  </a:lnTo>
                  <a:lnTo>
                    <a:pt x="264" y="1220"/>
                  </a:lnTo>
                  <a:lnTo>
                    <a:pt x="361" y="1256"/>
                  </a:lnTo>
                  <a:lnTo>
                    <a:pt x="367" y="1298"/>
                  </a:lnTo>
                  <a:lnTo>
                    <a:pt x="444" y="1316"/>
                  </a:lnTo>
                  <a:lnTo>
                    <a:pt x="558" y="1400"/>
                  </a:lnTo>
                  <a:lnTo>
                    <a:pt x="697" y="1400"/>
                  </a:lnTo>
                  <a:lnTo>
                    <a:pt x="895" y="1346"/>
                  </a:lnTo>
                  <a:lnTo>
                    <a:pt x="1026" y="1346"/>
                  </a:lnTo>
                  <a:lnTo>
                    <a:pt x="1147" y="1358"/>
                  </a:lnTo>
                  <a:lnTo>
                    <a:pt x="991" y="1412"/>
                  </a:lnTo>
                  <a:lnTo>
                    <a:pt x="804" y="1538"/>
                  </a:lnTo>
                  <a:lnTo>
                    <a:pt x="804" y="1574"/>
                  </a:lnTo>
                  <a:lnTo>
                    <a:pt x="762" y="1645"/>
                  </a:lnTo>
                  <a:lnTo>
                    <a:pt x="726" y="1718"/>
                  </a:lnTo>
                  <a:lnTo>
                    <a:pt x="732" y="1754"/>
                  </a:lnTo>
                  <a:lnTo>
                    <a:pt x="768" y="1742"/>
                  </a:lnTo>
                  <a:lnTo>
                    <a:pt x="829" y="1730"/>
                  </a:lnTo>
                  <a:lnTo>
                    <a:pt x="865" y="1693"/>
                  </a:lnTo>
                  <a:lnTo>
                    <a:pt x="925" y="1663"/>
                  </a:lnTo>
                  <a:lnTo>
                    <a:pt x="991" y="1699"/>
                  </a:lnTo>
                  <a:lnTo>
                    <a:pt x="1087" y="1675"/>
                  </a:lnTo>
                  <a:lnTo>
                    <a:pt x="1135" y="1627"/>
                  </a:lnTo>
                  <a:lnTo>
                    <a:pt x="1147" y="1687"/>
                  </a:lnTo>
                  <a:lnTo>
                    <a:pt x="1183" y="1669"/>
                  </a:lnTo>
                  <a:lnTo>
                    <a:pt x="1333" y="1514"/>
                  </a:lnTo>
                  <a:lnTo>
                    <a:pt x="1399" y="1436"/>
                  </a:lnTo>
                  <a:lnTo>
                    <a:pt x="1526" y="1382"/>
                  </a:lnTo>
                  <a:lnTo>
                    <a:pt x="1615" y="1334"/>
                  </a:lnTo>
                  <a:lnTo>
                    <a:pt x="1627" y="1346"/>
                  </a:lnTo>
                  <a:lnTo>
                    <a:pt x="1645" y="1370"/>
                  </a:lnTo>
                  <a:lnTo>
                    <a:pt x="1669" y="1400"/>
                  </a:lnTo>
                  <a:lnTo>
                    <a:pt x="1681" y="1430"/>
                  </a:lnTo>
                  <a:lnTo>
                    <a:pt x="1687" y="1448"/>
                  </a:lnTo>
                  <a:lnTo>
                    <a:pt x="1699" y="1466"/>
                  </a:lnTo>
                  <a:lnTo>
                    <a:pt x="1729" y="1520"/>
                  </a:lnTo>
                  <a:lnTo>
                    <a:pt x="1747" y="1550"/>
                  </a:lnTo>
                  <a:lnTo>
                    <a:pt x="1766" y="1574"/>
                  </a:lnTo>
                  <a:lnTo>
                    <a:pt x="1772" y="1586"/>
                  </a:lnTo>
                  <a:lnTo>
                    <a:pt x="1778" y="1592"/>
                  </a:lnTo>
                  <a:lnTo>
                    <a:pt x="2124" y="2248"/>
                  </a:lnTo>
                  <a:lnTo>
                    <a:pt x="2215" y="2266"/>
                  </a:lnTo>
                  <a:lnTo>
                    <a:pt x="1693" y="1322"/>
                  </a:lnTo>
                  <a:lnTo>
                    <a:pt x="1723" y="1262"/>
                  </a:lnTo>
                  <a:lnTo>
                    <a:pt x="1861" y="1165"/>
                  </a:lnTo>
                  <a:lnTo>
                    <a:pt x="1988" y="1129"/>
                  </a:lnTo>
                  <a:lnTo>
                    <a:pt x="2173" y="1099"/>
                  </a:lnTo>
                  <a:lnTo>
                    <a:pt x="2318" y="1075"/>
                  </a:lnTo>
                  <a:lnTo>
                    <a:pt x="2390" y="1009"/>
                  </a:lnTo>
                  <a:lnTo>
                    <a:pt x="2570" y="895"/>
                  </a:lnTo>
                  <a:lnTo>
                    <a:pt x="2570" y="805"/>
                  </a:lnTo>
                  <a:lnTo>
                    <a:pt x="2516" y="787"/>
                  </a:lnTo>
                  <a:lnTo>
                    <a:pt x="2342" y="781"/>
                  </a:lnTo>
                  <a:lnTo>
                    <a:pt x="2042" y="871"/>
                  </a:lnTo>
                  <a:lnTo>
                    <a:pt x="2114" y="763"/>
                  </a:lnTo>
                  <a:lnTo>
                    <a:pt x="2264" y="624"/>
                  </a:lnTo>
                  <a:lnTo>
                    <a:pt x="2408" y="433"/>
                  </a:lnTo>
                  <a:lnTo>
                    <a:pt x="2414" y="433"/>
                  </a:lnTo>
                  <a:lnTo>
                    <a:pt x="2426" y="421"/>
                  </a:lnTo>
                  <a:lnTo>
                    <a:pt x="2456" y="397"/>
                  </a:lnTo>
                  <a:lnTo>
                    <a:pt x="2474" y="379"/>
                  </a:lnTo>
                  <a:lnTo>
                    <a:pt x="2486" y="367"/>
                  </a:lnTo>
                  <a:lnTo>
                    <a:pt x="2492" y="355"/>
                  </a:lnTo>
                  <a:lnTo>
                    <a:pt x="2486" y="349"/>
                  </a:lnTo>
                  <a:lnTo>
                    <a:pt x="2474" y="337"/>
                  </a:lnTo>
                  <a:lnTo>
                    <a:pt x="2474" y="307"/>
                  </a:lnTo>
                  <a:lnTo>
                    <a:pt x="2474" y="271"/>
                  </a:lnTo>
                  <a:lnTo>
                    <a:pt x="2480" y="228"/>
                  </a:lnTo>
                  <a:lnTo>
                    <a:pt x="2492" y="192"/>
                  </a:lnTo>
                  <a:lnTo>
                    <a:pt x="2498" y="156"/>
                  </a:lnTo>
                  <a:lnTo>
                    <a:pt x="2504" y="132"/>
                  </a:lnTo>
                  <a:lnTo>
                    <a:pt x="2504" y="126"/>
                  </a:lnTo>
                  <a:lnTo>
                    <a:pt x="2492" y="36"/>
                  </a:lnTo>
                  <a:lnTo>
                    <a:pt x="2492" y="36"/>
                  </a:lnTo>
                  <a:lnTo>
                    <a:pt x="2492" y="24"/>
                  </a:lnTo>
                  <a:lnTo>
                    <a:pt x="2498" y="0"/>
                  </a:lnTo>
                  <a:lnTo>
                    <a:pt x="2102" y="0"/>
                  </a:lnTo>
                  <a:lnTo>
                    <a:pt x="2006" y="60"/>
                  </a:lnTo>
                  <a:lnTo>
                    <a:pt x="1909" y="90"/>
                  </a:lnTo>
                  <a:lnTo>
                    <a:pt x="1808" y="337"/>
                  </a:lnTo>
                  <a:lnTo>
                    <a:pt x="1747" y="535"/>
                  </a:lnTo>
                  <a:lnTo>
                    <a:pt x="1687" y="588"/>
                  </a:lnTo>
                  <a:lnTo>
                    <a:pt x="1711" y="469"/>
                  </a:lnTo>
                  <a:lnTo>
                    <a:pt x="1687" y="343"/>
                  </a:lnTo>
                  <a:lnTo>
                    <a:pt x="1633" y="144"/>
                  </a:lnTo>
                  <a:lnTo>
                    <a:pt x="1585" y="12"/>
                  </a:lnTo>
                  <a:lnTo>
                    <a:pt x="1579" y="0"/>
                  </a:lnTo>
                  <a:lnTo>
                    <a:pt x="786" y="0"/>
                  </a:lnTo>
                  <a:lnTo>
                    <a:pt x="738" y="186"/>
                  </a:lnTo>
                  <a:lnTo>
                    <a:pt x="756" y="463"/>
                  </a:lnTo>
                  <a:lnTo>
                    <a:pt x="756" y="463"/>
                  </a:lnTo>
                  <a:close/>
                </a:path>
              </a:pathLst>
            </a:custGeom>
            <a:gradFill rotWithShape="0">
              <a:gsLst>
                <a:gs pos="0">
                  <a:schemeClr val="bg2"/>
                </a:gs>
                <a:gs pos="100000">
                  <a:schemeClr val="bg1"/>
                </a:gs>
              </a:gsLst>
              <a:lin ang="5400000" scaled="1"/>
            </a:gradFill>
            <a:ln w="9525">
              <a:noFill/>
              <a:round/>
              <a:headEnd/>
              <a:tailEnd/>
            </a:ln>
          </p:spPr>
          <p:txBody>
            <a:bodyPr/>
            <a:lstStyle/>
            <a:p>
              <a:pPr eaLnBrk="0" fontAlgn="base" hangingPunct="0">
                <a:spcBef>
                  <a:spcPct val="0"/>
                </a:spcBef>
                <a:spcAft>
                  <a:spcPct val="0"/>
                </a:spcAft>
                <a:defRPr/>
              </a:pPr>
              <a:endParaRPr lang="zh-CN" altLang="en-US">
                <a:solidFill>
                  <a:srgbClr val="FFFFFF"/>
                </a:solidFill>
                <a:effectLst>
                  <a:outerShdw blurRad="38100" dist="38100" dir="2700000" algn="tl">
                    <a:srgbClr val="000000">
                      <a:alpha val="43137"/>
                    </a:srgbClr>
                  </a:outerShdw>
                </a:effectLst>
                <a:latin typeface="Arial" charset="0"/>
              </a:endParaRPr>
            </a:p>
          </p:txBody>
        </p:sp>
        <p:sp>
          <p:nvSpPr>
            <p:cNvPr id="38920" name="Freeform 8"/>
            <p:cNvSpPr>
              <a:spLocks/>
            </p:cNvSpPr>
            <p:nvPr/>
          </p:nvSpPr>
          <p:spPr bwMode="hidden">
            <a:xfrm>
              <a:off x="3525" y="1"/>
              <a:ext cx="2185" cy="1508"/>
            </a:xfrm>
            <a:custGeom>
              <a:avLst/>
              <a:gdLst/>
              <a:ahLst/>
              <a:cxnLst>
                <a:cxn ang="0">
                  <a:pos x="1034" y="767"/>
                </a:cxn>
                <a:cxn ang="0">
                  <a:pos x="1190" y="1235"/>
                </a:cxn>
                <a:cxn ang="0">
                  <a:pos x="956" y="1193"/>
                </a:cxn>
                <a:cxn ang="0">
                  <a:pos x="723" y="1127"/>
                </a:cxn>
                <a:cxn ang="0">
                  <a:pos x="442" y="1109"/>
                </a:cxn>
                <a:cxn ang="0">
                  <a:pos x="0" y="1079"/>
                </a:cxn>
                <a:cxn ang="0">
                  <a:pos x="30" y="1115"/>
                </a:cxn>
                <a:cxn ang="0">
                  <a:pos x="496" y="1133"/>
                </a:cxn>
                <a:cxn ang="0">
                  <a:pos x="777" y="1187"/>
                </a:cxn>
                <a:cxn ang="0">
                  <a:pos x="1130" y="1301"/>
                </a:cxn>
                <a:cxn ang="0">
                  <a:pos x="1070" y="1319"/>
                </a:cxn>
                <a:cxn ang="0">
                  <a:pos x="711" y="1505"/>
                </a:cxn>
                <a:cxn ang="0">
                  <a:pos x="765" y="1481"/>
                </a:cxn>
                <a:cxn ang="0">
                  <a:pos x="861" y="1439"/>
                </a:cxn>
                <a:cxn ang="0">
                  <a:pos x="1022" y="1355"/>
                </a:cxn>
                <a:cxn ang="0">
                  <a:pos x="1214" y="1295"/>
                </a:cxn>
                <a:cxn ang="0">
                  <a:pos x="1267" y="1223"/>
                </a:cxn>
                <a:cxn ang="0">
                  <a:pos x="1632" y="1043"/>
                </a:cxn>
                <a:cxn ang="0">
                  <a:pos x="1931" y="953"/>
                </a:cxn>
                <a:cxn ang="0">
                  <a:pos x="2176" y="821"/>
                </a:cxn>
                <a:cxn ang="0">
                  <a:pos x="1961" y="911"/>
                </a:cxn>
                <a:cxn ang="0">
                  <a:pos x="1656" y="989"/>
                </a:cxn>
                <a:cxn ang="0">
                  <a:pos x="1339" y="1151"/>
                </a:cxn>
                <a:cxn ang="0">
                  <a:pos x="1501" y="905"/>
                </a:cxn>
                <a:cxn ang="0">
                  <a:pos x="1620" y="545"/>
                </a:cxn>
                <a:cxn ang="0">
                  <a:pos x="1740" y="372"/>
                </a:cxn>
                <a:cxn ang="0">
                  <a:pos x="1979" y="60"/>
                </a:cxn>
                <a:cxn ang="0">
                  <a:pos x="2003" y="0"/>
                </a:cxn>
                <a:cxn ang="0">
                  <a:pos x="1973" y="0"/>
                </a:cxn>
                <a:cxn ang="0">
                  <a:pos x="1596" y="480"/>
                </a:cxn>
                <a:cxn ang="0">
                  <a:pos x="1477" y="887"/>
                </a:cxn>
                <a:cxn ang="0">
                  <a:pos x="1255" y="1175"/>
                </a:cxn>
                <a:cxn ang="0">
                  <a:pos x="1130" y="905"/>
                </a:cxn>
                <a:cxn ang="0">
                  <a:pos x="1010" y="540"/>
                </a:cxn>
                <a:cxn ang="0">
                  <a:pos x="885" y="222"/>
                </a:cxn>
                <a:cxn ang="0">
                  <a:pos x="789" y="0"/>
                </a:cxn>
                <a:cxn ang="0">
                  <a:pos x="753" y="0"/>
                </a:cxn>
                <a:cxn ang="0">
                  <a:pos x="903" y="354"/>
                </a:cxn>
                <a:cxn ang="0">
                  <a:pos x="1034" y="767"/>
                </a:cxn>
                <a:cxn ang="0">
                  <a:pos x="1034" y="767"/>
                </a:cxn>
              </a:cxnLst>
              <a:rect l="0" t="0" r="r" b="b"/>
              <a:pathLst>
                <a:path w="2176" h="1505">
                  <a:moveTo>
                    <a:pt x="1034" y="767"/>
                  </a:moveTo>
                  <a:lnTo>
                    <a:pt x="1190" y="1235"/>
                  </a:lnTo>
                  <a:lnTo>
                    <a:pt x="956" y="1193"/>
                  </a:lnTo>
                  <a:lnTo>
                    <a:pt x="723" y="1127"/>
                  </a:lnTo>
                  <a:lnTo>
                    <a:pt x="442" y="1109"/>
                  </a:lnTo>
                  <a:lnTo>
                    <a:pt x="0" y="1079"/>
                  </a:lnTo>
                  <a:lnTo>
                    <a:pt x="30" y="1115"/>
                  </a:lnTo>
                  <a:lnTo>
                    <a:pt x="496" y="1133"/>
                  </a:lnTo>
                  <a:lnTo>
                    <a:pt x="777" y="1187"/>
                  </a:lnTo>
                  <a:lnTo>
                    <a:pt x="1130" y="1301"/>
                  </a:lnTo>
                  <a:lnTo>
                    <a:pt x="1070" y="1319"/>
                  </a:lnTo>
                  <a:lnTo>
                    <a:pt x="711" y="1505"/>
                  </a:lnTo>
                  <a:lnTo>
                    <a:pt x="765" y="1481"/>
                  </a:lnTo>
                  <a:lnTo>
                    <a:pt x="861" y="1439"/>
                  </a:lnTo>
                  <a:lnTo>
                    <a:pt x="1022" y="1355"/>
                  </a:lnTo>
                  <a:lnTo>
                    <a:pt x="1214" y="1295"/>
                  </a:lnTo>
                  <a:lnTo>
                    <a:pt x="1267" y="1223"/>
                  </a:lnTo>
                  <a:lnTo>
                    <a:pt x="1632" y="1043"/>
                  </a:lnTo>
                  <a:lnTo>
                    <a:pt x="1931" y="953"/>
                  </a:lnTo>
                  <a:lnTo>
                    <a:pt x="2176" y="821"/>
                  </a:lnTo>
                  <a:lnTo>
                    <a:pt x="1961" y="911"/>
                  </a:lnTo>
                  <a:lnTo>
                    <a:pt x="1656" y="989"/>
                  </a:lnTo>
                  <a:lnTo>
                    <a:pt x="1339" y="1151"/>
                  </a:lnTo>
                  <a:lnTo>
                    <a:pt x="1501" y="905"/>
                  </a:lnTo>
                  <a:lnTo>
                    <a:pt x="1620" y="545"/>
                  </a:lnTo>
                  <a:lnTo>
                    <a:pt x="1740" y="372"/>
                  </a:lnTo>
                  <a:lnTo>
                    <a:pt x="1979" y="60"/>
                  </a:lnTo>
                  <a:lnTo>
                    <a:pt x="2003" y="0"/>
                  </a:lnTo>
                  <a:lnTo>
                    <a:pt x="1973" y="0"/>
                  </a:lnTo>
                  <a:lnTo>
                    <a:pt x="1596" y="480"/>
                  </a:lnTo>
                  <a:lnTo>
                    <a:pt x="1477" y="887"/>
                  </a:lnTo>
                  <a:lnTo>
                    <a:pt x="1255" y="1175"/>
                  </a:lnTo>
                  <a:lnTo>
                    <a:pt x="1130" y="905"/>
                  </a:lnTo>
                  <a:lnTo>
                    <a:pt x="1010" y="540"/>
                  </a:lnTo>
                  <a:lnTo>
                    <a:pt x="885" y="222"/>
                  </a:lnTo>
                  <a:lnTo>
                    <a:pt x="789" y="0"/>
                  </a:lnTo>
                  <a:lnTo>
                    <a:pt x="753" y="0"/>
                  </a:lnTo>
                  <a:lnTo>
                    <a:pt x="903" y="354"/>
                  </a:lnTo>
                  <a:lnTo>
                    <a:pt x="1034" y="767"/>
                  </a:lnTo>
                  <a:lnTo>
                    <a:pt x="1034" y="767"/>
                  </a:lnTo>
                  <a:close/>
                </a:path>
              </a:pathLst>
            </a:custGeom>
            <a:gradFill rotWithShape="0">
              <a:gsLst>
                <a:gs pos="0">
                  <a:schemeClr val="accent2"/>
                </a:gs>
                <a:gs pos="100000">
                  <a:schemeClr val="bg1"/>
                </a:gs>
              </a:gsLst>
              <a:lin ang="5400000" scaled="1"/>
            </a:gradFill>
            <a:ln w="9525">
              <a:noFill/>
              <a:round/>
              <a:headEnd/>
              <a:tailEnd/>
            </a:ln>
          </p:spPr>
          <p:txBody>
            <a:bodyPr/>
            <a:lstStyle/>
            <a:p>
              <a:pPr eaLnBrk="0" fontAlgn="base" hangingPunct="0">
                <a:spcBef>
                  <a:spcPct val="0"/>
                </a:spcBef>
                <a:spcAft>
                  <a:spcPct val="0"/>
                </a:spcAft>
                <a:defRPr/>
              </a:pPr>
              <a:endParaRPr lang="zh-CN" altLang="en-US">
                <a:solidFill>
                  <a:srgbClr val="FFFFFF"/>
                </a:solidFill>
                <a:effectLst>
                  <a:outerShdw blurRad="38100" dist="38100" dir="2700000" algn="tl">
                    <a:srgbClr val="000000">
                      <a:alpha val="43137"/>
                    </a:srgbClr>
                  </a:outerShdw>
                </a:effectLst>
                <a:latin typeface="Arial" charset="0"/>
              </a:endParaRPr>
            </a:p>
          </p:txBody>
        </p:sp>
        <p:sp>
          <p:nvSpPr>
            <p:cNvPr id="38921" name="Freeform 9"/>
            <p:cNvSpPr>
              <a:spLocks/>
            </p:cNvSpPr>
            <p:nvPr/>
          </p:nvSpPr>
          <p:spPr bwMode="hidden">
            <a:xfrm>
              <a:off x="0" y="649"/>
              <a:ext cx="816" cy="806"/>
            </a:xfrm>
            <a:custGeom>
              <a:avLst/>
              <a:gdLst/>
              <a:ahLst/>
              <a:cxnLst>
                <a:cxn ang="0">
                  <a:pos x="161" y="564"/>
                </a:cxn>
                <a:cxn ang="0">
                  <a:pos x="329" y="438"/>
                </a:cxn>
                <a:cxn ang="0">
                  <a:pos x="646" y="216"/>
                </a:cxn>
                <a:cxn ang="0">
                  <a:pos x="813" y="0"/>
                </a:cxn>
                <a:cxn ang="0">
                  <a:pos x="676" y="150"/>
                </a:cxn>
                <a:cxn ang="0">
                  <a:pos x="144" y="504"/>
                </a:cxn>
                <a:cxn ang="0">
                  <a:pos x="0" y="732"/>
                </a:cxn>
                <a:cxn ang="0">
                  <a:pos x="0" y="804"/>
                </a:cxn>
                <a:cxn ang="0">
                  <a:pos x="161" y="564"/>
                </a:cxn>
                <a:cxn ang="0">
                  <a:pos x="161" y="564"/>
                </a:cxn>
              </a:cxnLst>
              <a:rect l="0" t="0" r="r" b="b"/>
              <a:pathLst>
                <a:path w="813" h="804">
                  <a:moveTo>
                    <a:pt x="161" y="564"/>
                  </a:moveTo>
                  <a:lnTo>
                    <a:pt x="329" y="438"/>
                  </a:lnTo>
                  <a:lnTo>
                    <a:pt x="646" y="216"/>
                  </a:lnTo>
                  <a:lnTo>
                    <a:pt x="813" y="0"/>
                  </a:lnTo>
                  <a:lnTo>
                    <a:pt x="676" y="150"/>
                  </a:lnTo>
                  <a:lnTo>
                    <a:pt x="144" y="504"/>
                  </a:lnTo>
                  <a:lnTo>
                    <a:pt x="0" y="732"/>
                  </a:lnTo>
                  <a:lnTo>
                    <a:pt x="0" y="804"/>
                  </a:lnTo>
                  <a:lnTo>
                    <a:pt x="161" y="564"/>
                  </a:lnTo>
                  <a:lnTo>
                    <a:pt x="161" y="564"/>
                  </a:lnTo>
                  <a:close/>
                </a:path>
              </a:pathLst>
            </a:custGeom>
            <a:gradFill rotWithShape="0">
              <a:gsLst>
                <a:gs pos="0">
                  <a:schemeClr val="accent2"/>
                </a:gs>
                <a:gs pos="100000">
                  <a:schemeClr val="bg1"/>
                </a:gs>
              </a:gsLst>
              <a:lin ang="5400000" scaled="1"/>
            </a:gradFill>
            <a:ln w="9525">
              <a:noFill/>
              <a:round/>
              <a:headEnd/>
              <a:tailEnd/>
            </a:ln>
          </p:spPr>
          <p:txBody>
            <a:bodyPr/>
            <a:lstStyle/>
            <a:p>
              <a:pPr eaLnBrk="0" fontAlgn="base" hangingPunct="0">
                <a:spcBef>
                  <a:spcPct val="0"/>
                </a:spcBef>
                <a:spcAft>
                  <a:spcPct val="0"/>
                </a:spcAft>
                <a:defRPr/>
              </a:pPr>
              <a:endParaRPr lang="zh-CN" altLang="en-US">
                <a:solidFill>
                  <a:srgbClr val="FFFFFF"/>
                </a:solidFill>
                <a:effectLst>
                  <a:outerShdw blurRad="38100" dist="38100" dir="2700000" algn="tl">
                    <a:srgbClr val="000000">
                      <a:alpha val="43137"/>
                    </a:srgbClr>
                  </a:outerShdw>
                </a:effectLst>
                <a:latin typeface="Arial" charset="0"/>
              </a:endParaRPr>
            </a:p>
          </p:txBody>
        </p:sp>
        <p:sp>
          <p:nvSpPr>
            <p:cNvPr id="38922" name="Freeform 10"/>
            <p:cNvSpPr>
              <a:spLocks/>
            </p:cNvSpPr>
            <p:nvPr/>
          </p:nvSpPr>
          <p:spPr bwMode="hidden">
            <a:xfrm>
              <a:off x="0" y="1545"/>
              <a:ext cx="762" cy="107"/>
            </a:xfrm>
            <a:custGeom>
              <a:avLst/>
              <a:gdLst/>
              <a:ahLst/>
              <a:cxnLst>
                <a:cxn ang="0">
                  <a:pos x="460" y="66"/>
                </a:cxn>
                <a:cxn ang="0">
                  <a:pos x="759" y="0"/>
                </a:cxn>
                <a:cxn ang="0">
                  <a:pos x="496" y="36"/>
                </a:cxn>
                <a:cxn ang="0">
                  <a:pos x="138" y="48"/>
                </a:cxn>
                <a:cxn ang="0">
                  <a:pos x="0" y="78"/>
                </a:cxn>
                <a:cxn ang="0">
                  <a:pos x="0" y="107"/>
                </a:cxn>
                <a:cxn ang="0">
                  <a:pos x="96" y="89"/>
                </a:cxn>
                <a:cxn ang="0">
                  <a:pos x="460" y="66"/>
                </a:cxn>
                <a:cxn ang="0">
                  <a:pos x="460" y="66"/>
                </a:cxn>
              </a:cxnLst>
              <a:rect l="0" t="0" r="r" b="b"/>
              <a:pathLst>
                <a:path w="759" h="107">
                  <a:moveTo>
                    <a:pt x="460" y="66"/>
                  </a:moveTo>
                  <a:lnTo>
                    <a:pt x="759" y="0"/>
                  </a:lnTo>
                  <a:lnTo>
                    <a:pt x="496" y="36"/>
                  </a:lnTo>
                  <a:lnTo>
                    <a:pt x="138" y="48"/>
                  </a:lnTo>
                  <a:lnTo>
                    <a:pt x="0" y="78"/>
                  </a:lnTo>
                  <a:lnTo>
                    <a:pt x="0" y="107"/>
                  </a:lnTo>
                  <a:lnTo>
                    <a:pt x="96" y="89"/>
                  </a:lnTo>
                  <a:lnTo>
                    <a:pt x="460" y="66"/>
                  </a:lnTo>
                  <a:lnTo>
                    <a:pt x="460" y="66"/>
                  </a:lnTo>
                  <a:close/>
                </a:path>
              </a:pathLst>
            </a:custGeom>
            <a:gradFill rotWithShape="0">
              <a:gsLst>
                <a:gs pos="0">
                  <a:schemeClr val="accent2"/>
                </a:gs>
                <a:gs pos="100000">
                  <a:schemeClr val="bg1"/>
                </a:gs>
              </a:gsLst>
              <a:lin ang="5400000" scaled="1"/>
            </a:gradFill>
            <a:ln w="9525">
              <a:noFill/>
              <a:round/>
              <a:headEnd/>
              <a:tailEnd/>
            </a:ln>
          </p:spPr>
          <p:txBody>
            <a:bodyPr/>
            <a:lstStyle/>
            <a:p>
              <a:pPr eaLnBrk="0" fontAlgn="base" hangingPunct="0">
                <a:spcBef>
                  <a:spcPct val="0"/>
                </a:spcBef>
                <a:spcAft>
                  <a:spcPct val="0"/>
                </a:spcAft>
                <a:defRPr/>
              </a:pPr>
              <a:endParaRPr lang="zh-CN" altLang="en-US">
                <a:solidFill>
                  <a:srgbClr val="FFFFFF"/>
                </a:solidFill>
                <a:effectLst>
                  <a:outerShdw blurRad="38100" dist="38100" dir="2700000" algn="tl">
                    <a:srgbClr val="000000">
                      <a:alpha val="43137"/>
                    </a:srgbClr>
                  </a:outerShdw>
                </a:effectLst>
                <a:latin typeface="Arial" charset="0"/>
              </a:endParaRPr>
            </a:p>
          </p:txBody>
        </p:sp>
        <p:sp>
          <p:nvSpPr>
            <p:cNvPr id="38923" name="Freeform 11"/>
            <p:cNvSpPr>
              <a:spLocks/>
            </p:cNvSpPr>
            <p:nvPr/>
          </p:nvSpPr>
          <p:spPr bwMode="hidden">
            <a:xfrm>
              <a:off x="2314" y="3431"/>
              <a:ext cx="3182" cy="745"/>
            </a:xfrm>
            <a:custGeom>
              <a:avLst/>
              <a:gdLst/>
              <a:ahLst/>
              <a:cxnLst>
                <a:cxn ang="0">
                  <a:pos x="1387" y="239"/>
                </a:cxn>
                <a:cxn ang="0">
                  <a:pos x="1734" y="233"/>
                </a:cxn>
                <a:cxn ang="0">
                  <a:pos x="2087" y="251"/>
                </a:cxn>
                <a:cxn ang="0">
                  <a:pos x="2505" y="233"/>
                </a:cxn>
                <a:cxn ang="0">
                  <a:pos x="3169" y="204"/>
                </a:cxn>
                <a:cxn ang="0">
                  <a:pos x="3115" y="186"/>
                </a:cxn>
                <a:cxn ang="0">
                  <a:pos x="2422" y="221"/>
                </a:cxn>
                <a:cxn ang="0">
                  <a:pos x="2003" y="221"/>
                </a:cxn>
                <a:cxn ang="0">
                  <a:pos x="1459" y="186"/>
                </a:cxn>
                <a:cxn ang="0">
                  <a:pos x="1543" y="168"/>
                </a:cxn>
                <a:cxn ang="0">
                  <a:pos x="2039" y="0"/>
                </a:cxn>
                <a:cxn ang="0">
                  <a:pos x="1961" y="24"/>
                </a:cxn>
                <a:cxn ang="0">
                  <a:pos x="1836" y="66"/>
                </a:cxn>
                <a:cxn ang="0">
                  <a:pos x="1602" y="138"/>
                </a:cxn>
                <a:cxn ang="0">
                  <a:pos x="1339" y="198"/>
                </a:cxn>
                <a:cxn ang="0">
                  <a:pos x="1268" y="251"/>
                </a:cxn>
                <a:cxn ang="0">
                  <a:pos x="765" y="413"/>
                </a:cxn>
                <a:cxn ang="0">
                  <a:pos x="335" y="503"/>
                </a:cxn>
                <a:cxn ang="0">
                  <a:pos x="0" y="617"/>
                </a:cxn>
                <a:cxn ang="0">
                  <a:pos x="299" y="539"/>
                </a:cxn>
                <a:cxn ang="0">
                  <a:pos x="735" y="449"/>
                </a:cxn>
                <a:cxn ang="0">
                  <a:pos x="1178" y="311"/>
                </a:cxn>
                <a:cxn ang="0">
                  <a:pos x="981" y="491"/>
                </a:cxn>
                <a:cxn ang="0">
                  <a:pos x="867" y="743"/>
                </a:cxn>
                <a:cxn ang="0">
                  <a:pos x="861" y="743"/>
                </a:cxn>
                <a:cxn ang="0">
                  <a:pos x="933" y="743"/>
                </a:cxn>
                <a:cxn ang="0">
                  <a:pos x="1022" y="497"/>
                </a:cxn>
                <a:cxn ang="0">
                  <a:pos x="1297" y="281"/>
                </a:cxn>
                <a:cxn ang="0">
                  <a:pos x="1531" y="449"/>
                </a:cxn>
                <a:cxn ang="0">
                  <a:pos x="1770" y="677"/>
                </a:cxn>
                <a:cxn ang="0">
                  <a:pos x="1854" y="743"/>
                </a:cxn>
                <a:cxn ang="0">
                  <a:pos x="1919" y="743"/>
                </a:cxn>
                <a:cxn ang="0">
                  <a:pos x="1692" y="527"/>
                </a:cxn>
                <a:cxn ang="0">
                  <a:pos x="1387" y="239"/>
                </a:cxn>
                <a:cxn ang="0">
                  <a:pos x="1387" y="239"/>
                </a:cxn>
              </a:cxnLst>
              <a:rect l="0" t="0" r="r" b="b"/>
              <a:pathLst>
                <a:path w="3169" h="743">
                  <a:moveTo>
                    <a:pt x="1387" y="239"/>
                  </a:moveTo>
                  <a:lnTo>
                    <a:pt x="1734" y="233"/>
                  </a:lnTo>
                  <a:lnTo>
                    <a:pt x="2087" y="251"/>
                  </a:lnTo>
                  <a:lnTo>
                    <a:pt x="2505" y="233"/>
                  </a:lnTo>
                  <a:lnTo>
                    <a:pt x="3169" y="204"/>
                  </a:lnTo>
                  <a:lnTo>
                    <a:pt x="3115" y="186"/>
                  </a:lnTo>
                  <a:lnTo>
                    <a:pt x="2422" y="221"/>
                  </a:lnTo>
                  <a:lnTo>
                    <a:pt x="2003" y="221"/>
                  </a:lnTo>
                  <a:lnTo>
                    <a:pt x="1459" y="186"/>
                  </a:lnTo>
                  <a:lnTo>
                    <a:pt x="1543" y="168"/>
                  </a:lnTo>
                  <a:lnTo>
                    <a:pt x="2039" y="0"/>
                  </a:lnTo>
                  <a:lnTo>
                    <a:pt x="1961" y="24"/>
                  </a:lnTo>
                  <a:lnTo>
                    <a:pt x="1836" y="66"/>
                  </a:lnTo>
                  <a:lnTo>
                    <a:pt x="1602" y="138"/>
                  </a:lnTo>
                  <a:lnTo>
                    <a:pt x="1339" y="198"/>
                  </a:lnTo>
                  <a:lnTo>
                    <a:pt x="1268" y="251"/>
                  </a:lnTo>
                  <a:lnTo>
                    <a:pt x="765" y="413"/>
                  </a:lnTo>
                  <a:lnTo>
                    <a:pt x="335" y="503"/>
                  </a:lnTo>
                  <a:lnTo>
                    <a:pt x="0" y="617"/>
                  </a:lnTo>
                  <a:lnTo>
                    <a:pt x="299" y="539"/>
                  </a:lnTo>
                  <a:lnTo>
                    <a:pt x="735" y="449"/>
                  </a:lnTo>
                  <a:lnTo>
                    <a:pt x="1178" y="311"/>
                  </a:lnTo>
                  <a:lnTo>
                    <a:pt x="981" y="491"/>
                  </a:lnTo>
                  <a:lnTo>
                    <a:pt x="867" y="743"/>
                  </a:lnTo>
                  <a:lnTo>
                    <a:pt x="861" y="743"/>
                  </a:lnTo>
                  <a:lnTo>
                    <a:pt x="933" y="743"/>
                  </a:lnTo>
                  <a:lnTo>
                    <a:pt x="1022" y="497"/>
                  </a:lnTo>
                  <a:lnTo>
                    <a:pt x="1297" y="281"/>
                  </a:lnTo>
                  <a:lnTo>
                    <a:pt x="1531" y="449"/>
                  </a:lnTo>
                  <a:lnTo>
                    <a:pt x="1770" y="677"/>
                  </a:lnTo>
                  <a:lnTo>
                    <a:pt x="1854" y="743"/>
                  </a:lnTo>
                  <a:lnTo>
                    <a:pt x="1919" y="743"/>
                  </a:lnTo>
                  <a:lnTo>
                    <a:pt x="1692" y="527"/>
                  </a:lnTo>
                  <a:lnTo>
                    <a:pt x="1387" y="239"/>
                  </a:lnTo>
                  <a:lnTo>
                    <a:pt x="1387" y="239"/>
                  </a:lnTo>
                  <a:close/>
                </a:path>
              </a:pathLst>
            </a:custGeom>
            <a:gradFill rotWithShape="0">
              <a:gsLst>
                <a:gs pos="0">
                  <a:schemeClr val="accent2"/>
                </a:gs>
                <a:gs pos="100000">
                  <a:schemeClr val="bg1"/>
                </a:gs>
              </a:gsLst>
              <a:lin ang="2700000" scaled="1"/>
            </a:gradFill>
            <a:ln w="9525">
              <a:noFill/>
              <a:round/>
              <a:headEnd/>
              <a:tailEnd/>
            </a:ln>
          </p:spPr>
          <p:txBody>
            <a:bodyPr/>
            <a:lstStyle/>
            <a:p>
              <a:pPr eaLnBrk="0" fontAlgn="base" hangingPunct="0">
                <a:spcBef>
                  <a:spcPct val="0"/>
                </a:spcBef>
                <a:spcAft>
                  <a:spcPct val="0"/>
                </a:spcAft>
                <a:defRPr/>
              </a:pPr>
              <a:endParaRPr lang="zh-CN" altLang="en-US">
                <a:solidFill>
                  <a:srgbClr val="FFFFFF"/>
                </a:solidFill>
                <a:effectLst>
                  <a:outerShdw blurRad="38100" dist="38100" dir="2700000" algn="tl">
                    <a:srgbClr val="000000">
                      <a:alpha val="43137"/>
                    </a:srgbClr>
                  </a:outerShdw>
                </a:effectLst>
                <a:latin typeface="Arial" charset="0"/>
              </a:endParaRPr>
            </a:p>
          </p:txBody>
        </p:sp>
        <p:sp>
          <p:nvSpPr>
            <p:cNvPr id="38924" name="Rectangle 12"/>
            <p:cNvSpPr>
              <a:spLocks noChangeArrowheads="1"/>
            </p:cNvSpPr>
            <p:nvPr/>
          </p:nvSpPr>
          <p:spPr bwMode="hidden">
            <a:xfrm>
              <a:off x="192" y="127"/>
              <a:ext cx="1" cy="1"/>
            </a:xfrm>
            <a:prstGeom prst="rect">
              <a:avLst/>
            </a:prstGeom>
            <a:solidFill>
              <a:srgbClr val="9A1E8D"/>
            </a:solidFill>
            <a:ln w="9525">
              <a:noFill/>
              <a:miter lim="800000"/>
              <a:headEnd/>
              <a:tailEnd/>
            </a:ln>
          </p:spPr>
          <p:txBody>
            <a:bodyPr/>
            <a:lstStyle/>
            <a:p>
              <a:pPr eaLnBrk="0" fontAlgn="base" hangingPunct="0">
                <a:spcBef>
                  <a:spcPct val="0"/>
                </a:spcBef>
                <a:spcAft>
                  <a:spcPct val="0"/>
                </a:spcAft>
                <a:defRPr/>
              </a:pPr>
              <a:endParaRPr lang="zh-CN" altLang="en-US">
                <a:solidFill>
                  <a:srgbClr val="FFFFFF"/>
                </a:solidFill>
                <a:effectLst>
                  <a:outerShdw blurRad="38100" dist="38100" dir="2700000" algn="tl">
                    <a:srgbClr val="000000">
                      <a:alpha val="43137"/>
                    </a:srgbClr>
                  </a:outerShdw>
                </a:effectLst>
                <a:latin typeface="Arial" charset="0"/>
              </a:endParaRPr>
            </a:p>
          </p:txBody>
        </p:sp>
        <p:sp>
          <p:nvSpPr>
            <p:cNvPr id="38925" name="Rectangle 13"/>
            <p:cNvSpPr>
              <a:spLocks noChangeArrowheads="1"/>
            </p:cNvSpPr>
            <p:nvPr/>
          </p:nvSpPr>
          <p:spPr bwMode="hidden">
            <a:xfrm>
              <a:off x="204" y="131"/>
              <a:ext cx="1" cy="1"/>
            </a:xfrm>
            <a:prstGeom prst="rect">
              <a:avLst/>
            </a:prstGeom>
            <a:solidFill>
              <a:srgbClr val="9A1E8D"/>
            </a:solidFill>
            <a:ln w="9525">
              <a:noFill/>
              <a:miter lim="800000"/>
              <a:headEnd/>
              <a:tailEnd/>
            </a:ln>
          </p:spPr>
          <p:txBody>
            <a:bodyPr/>
            <a:lstStyle/>
            <a:p>
              <a:pPr eaLnBrk="0" fontAlgn="base" hangingPunct="0">
                <a:spcBef>
                  <a:spcPct val="0"/>
                </a:spcBef>
                <a:spcAft>
                  <a:spcPct val="0"/>
                </a:spcAft>
                <a:defRPr/>
              </a:pPr>
              <a:endParaRPr lang="zh-CN" altLang="en-US">
                <a:solidFill>
                  <a:srgbClr val="FFFFFF"/>
                </a:solidFill>
                <a:effectLst>
                  <a:outerShdw blurRad="38100" dist="38100" dir="2700000" algn="tl">
                    <a:srgbClr val="000000">
                      <a:alpha val="43137"/>
                    </a:srgbClr>
                  </a:outerShdw>
                </a:effectLst>
                <a:latin typeface="Arial" charset="0"/>
              </a:endParaRPr>
            </a:p>
          </p:txBody>
        </p:sp>
        <p:sp>
          <p:nvSpPr>
            <p:cNvPr id="38926" name="Freeform 14"/>
            <p:cNvSpPr>
              <a:spLocks/>
            </p:cNvSpPr>
            <p:nvPr/>
          </p:nvSpPr>
          <p:spPr bwMode="hidden">
            <a:xfrm>
              <a:off x="0" y="4032"/>
              <a:ext cx="5760" cy="288"/>
            </a:xfrm>
            <a:custGeom>
              <a:avLst/>
              <a:gdLst/>
              <a:ahLst/>
              <a:cxnLst>
                <a:cxn ang="0">
                  <a:pos x="5740" y="288"/>
                </a:cxn>
                <a:cxn ang="0">
                  <a:pos x="0" y="288"/>
                </a:cxn>
                <a:cxn ang="0">
                  <a:pos x="0" y="0"/>
                </a:cxn>
                <a:cxn ang="0">
                  <a:pos x="5740" y="0"/>
                </a:cxn>
                <a:cxn ang="0">
                  <a:pos x="5740" y="288"/>
                </a:cxn>
                <a:cxn ang="0">
                  <a:pos x="5740" y="288"/>
                </a:cxn>
              </a:cxnLst>
              <a:rect l="0" t="0" r="r" b="b"/>
              <a:pathLst>
                <a:path w="5740" h="288">
                  <a:moveTo>
                    <a:pt x="5740" y="288"/>
                  </a:moveTo>
                  <a:lnTo>
                    <a:pt x="0" y="288"/>
                  </a:lnTo>
                  <a:lnTo>
                    <a:pt x="0" y="0"/>
                  </a:lnTo>
                  <a:lnTo>
                    <a:pt x="5740" y="0"/>
                  </a:lnTo>
                  <a:lnTo>
                    <a:pt x="5740" y="288"/>
                  </a:lnTo>
                  <a:lnTo>
                    <a:pt x="5740" y="288"/>
                  </a:lnTo>
                  <a:close/>
                </a:path>
              </a:pathLst>
            </a:custGeom>
            <a:gradFill rotWithShape="0">
              <a:gsLst>
                <a:gs pos="0">
                  <a:schemeClr val="bg1"/>
                </a:gs>
                <a:gs pos="100000">
                  <a:schemeClr val="bg1">
                    <a:gamma/>
                    <a:shade val="46275"/>
                    <a:invGamma/>
                  </a:schemeClr>
                </a:gs>
              </a:gsLst>
              <a:lin ang="5400000" scaled="1"/>
            </a:gradFill>
            <a:ln w="9525">
              <a:noFill/>
              <a:round/>
              <a:headEnd/>
              <a:tailEnd/>
            </a:ln>
          </p:spPr>
          <p:txBody>
            <a:bodyPr/>
            <a:lstStyle/>
            <a:p>
              <a:pPr eaLnBrk="0" fontAlgn="base" hangingPunct="0">
                <a:spcBef>
                  <a:spcPct val="0"/>
                </a:spcBef>
                <a:spcAft>
                  <a:spcPct val="0"/>
                </a:spcAft>
                <a:defRPr/>
              </a:pPr>
              <a:endParaRPr lang="zh-CN" altLang="en-US">
                <a:solidFill>
                  <a:srgbClr val="FFFFFF"/>
                </a:solidFill>
                <a:effectLst>
                  <a:outerShdw blurRad="38100" dist="38100" dir="2700000" algn="tl">
                    <a:srgbClr val="000000">
                      <a:alpha val="43137"/>
                    </a:srgbClr>
                  </a:outerShdw>
                </a:effectLst>
                <a:latin typeface="Arial" charset="0"/>
              </a:endParaRPr>
            </a:p>
          </p:txBody>
        </p:sp>
        <p:sp>
          <p:nvSpPr>
            <p:cNvPr id="38927" name="Freeform 15"/>
            <p:cNvSpPr>
              <a:spLocks/>
            </p:cNvSpPr>
            <p:nvPr/>
          </p:nvSpPr>
          <p:spPr bwMode="hidden">
            <a:xfrm>
              <a:off x="0" y="4032"/>
              <a:ext cx="5760" cy="336"/>
            </a:xfrm>
            <a:custGeom>
              <a:avLst/>
              <a:gdLst/>
              <a:ahLst/>
              <a:cxnLst>
                <a:cxn ang="0">
                  <a:pos x="5740" y="288"/>
                </a:cxn>
                <a:cxn ang="0">
                  <a:pos x="0" y="288"/>
                </a:cxn>
                <a:cxn ang="0">
                  <a:pos x="0" y="0"/>
                </a:cxn>
                <a:cxn ang="0">
                  <a:pos x="5740" y="0"/>
                </a:cxn>
                <a:cxn ang="0">
                  <a:pos x="5740" y="288"/>
                </a:cxn>
                <a:cxn ang="0">
                  <a:pos x="5740" y="288"/>
                </a:cxn>
              </a:cxnLst>
              <a:rect l="0" t="0" r="r" b="b"/>
              <a:pathLst>
                <a:path w="5740" h="288">
                  <a:moveTo>
                    <a:pt x="5740" y="288"/>
                  </a:moveTo>
                  <a:lnTo>
                    <a:pt x="0" y="288"/>
                  </a:lnTo>
                  <a:lnTo>
                    <a:pt x="0" y="0"/>
                  </a:lnTo>
                  <a:lnTo>
                    <a:pt x="5740" y="0"/>
                  </a:lnTo>
                  <a:lnTo>
                    <a:pt x="5740" y="288"/>
                  </a:lnTo>
                  <a:lnTo>
                    <a:pt x="5740" y="288"/>
                  </a:lnTo>
                  <a:close/>
                </a:path>
              </a:pathLst>
            </a:custGeom>
            <a:gradFill rotWithShape="0">
              <a:gsLst>
                <a:gs pos="0">
                  <a:schemeClr val="bg1"/>
                </a:gs>
                <a:gs pos="100000">
                  <a:schemeClr val="bg1">
                    <a:gamma/>
                    <a:shade val="46275"/>
                    <a:invGamma/>
                  </a:schemeClr>
                </a:gs>
              </a:gsLst>
              <a:lin ang="5400000" scaled="1"/>
            </a:gradFill>
            <a:ln w="9525">
              <a:noFill/>
              <a:round/>
              <a:headEnd/>
              <a:tailEnd/>
            </a:ln>
          </p:spPr>
          <p:txBody>
            <a:bodyPr/>
            <a:lstStyle/>
            <a:p>
              <a:pPr eaLnBrk="0" fontAlgn="base" hangingPunct="0">
                <a:spcBef>
                  <a:spcPct val="0"/>
                </a:spcBef>
                <a:spcAft>
                  <a:spcPct val="0"/>
                </a:spcAft>
                <a:defRPr/>
              </a:pPr>
              <a:endParaRPr lang="zh-CN" altLang="en-US">
                <a:solidFill>
                  <a:srgbClr val="FFFFFF"/>
                </a:solidFill>
                <a:effectLst>
                  <a:outerShdw blurRad="38100" dist="38100" dir="2700000" algn="tl">
                    <a:srgbClr val="000000">
                      <a:alpha val="43137"/>
                    </a:srgbClr>
                  </a:outerShdw>
                </a:effectLst>
                <a:latin typeface="Arial" charset="0"/>
              </a:endParaRPr>
            </a:p>
          </p:txBody>
        </p:sp>
        <p:sp>
          <p:nvSpPr>
            <p:cNvPr id="38928" name="Freeform 16"/>
            <p:cNvSpPr>
              <a:spLocks/>
            </p:cNvSpPr>
            <p:nvPr/>
          </p:nvSpPr>
          <p:spPr bwMode="hidden">
            <a:xfrm>
              <a:off x="0" y="0"/>
              <a:ext cx="5760" cy="288"/>
            </a:xfrm>
            <a:custGeom>
              <a:avLst/>
              <a:gdLst/>
              <a:ahLst/>
              <a:cxnLst>
                <a:cxn ang="0">
                  <a:pos x="5740" y="288"/>
                </a:cxn>
                <a:cxn ang="0">
                  <a:pos x="0" y="288"/>
                </a:cxn>
                <a:cxn ang="0">
                  <a:pos x="0" y="0"/>
                </a:cxn>
                <a:cxn ang="0">
                  <a:pos x="5740" y="0"/>
                </a:cxn>
                <a:cxn ang="0">
                  <a:pos x="5740" y="288"/>
                </a:cxn>
                <a:cxn ang="0">
                  <a:pos x="5740" y="288"/>
                </a:cxn>
              </a:cxnLst>
              <a:rect l="0" t="0" r="r" b="b"/>
              <a:pathLst>
                <a:path w="5740" h="288">
                  <a:moveTo>
                    <a:pt x="5740" y="288"/>
                  </a:moveTo>
                  <a:lnTo>
                    <a:pt x="0" y="288"/>
                  </a:lnTo>
                  <a:lnTo>
                    <a:pt x="0" y="0"/>
                  </a:lnTo>
                  <a:lnTo>
                    <a:pt x="5740" y="0"/>
                  </a:lnTo>
                  <a:lnTo>
                    <a:pt x="5740" y="288"/>
                  </a:lnTo>
                  <a:lnTo>
                    <a:pt x="5740" y="288"/>
                  </a:lnTo>
                  <a:close/>
                </a:path>
              </a:pathLst>
            </a:custGeom>
            <a:gradFill rotWithShape="0">
              <a:gsLst>
                <a:gs pos="0">
                  <a:schemeClr val="bg2">
                    <a:gamma/>
                    <a:shade val="56078"/>
                    <a:invGamma/>
                  </a:schemeClr>
                </a:gs>
                <a:gs pos="100000">
                  <a:schemeClr val="bg2"/>
                </a:gs>
              </a:gsLst>
              <a:lin ang="5400000" scaled="1"/>
            </a:gradFill>
            <a:ln w="9525">
              <a:noFill/>
              <a:round/>
              <a:headEnd/>
              <a:tailEnd/>
            </a:ln>
          </p:spPr>
          <p:txBody>
            <a:bodyPr/>
            <a:lstStyle/>
            <a:p>
              <a:pPr eaLnBrk="0" fontAlgn="base" hangingPunct="0">
                <a:spcBef>
                  <a:spcPct val="0"/>
                </a:spcBef>
                <a:spcAft>
                  <a:spcPct val="0"/>
                </a:spcAft>
                <a:defRPr/>
              </a:pPr>
              <a:endParaRPr lang="zh-CN" altLang="en-US">
                <a:solidFill>
                  <a:srgbClr val="FFFFFF"/>
                </a:solidFill>
                <a:effectLst>
                  <a:outerShdw blurRad="38100" dist="38100" dir="2700000" algn="tl">
                    <a:srgbClr val="000000">
                      <a:alpha val="43137"/>
                    </a:srgbClr>
                  </a:outerShdw>
                </a:effectLst>
                <a:latin typeface="Arial" charset="0"/>
              </a:endParaRPr>
            </a:p>
          </p:txBody>
        </p:sp>
        <p:sp>
          <p:nvSpPr>
            <p:cNvPr id="38929" name="Freeform 17"/>
            <p:cNvSpPr>
              <a:spLocks/>
            </p:cNvSpPr>
            <p:nvPr/>
          </p:nvSpPr>
          <p:spPr bwMode="hidden">
            <a:xfrm>
              <a:off x="509" y="229"/>
              <a:ext cx="3188" cy="2024"/>
            </a:xfrm>
            <a:custGeom>
              <a:avLst/>
              <a:gdLst/>
              <a:ahLst/>
              <a:cxnLst>
                <a:cxn ang="0">
                  <a:pos x="871" y="1423"/>
                </a:cxn>
                <a:cxn ang="0">
                  <a:pos x="907" y="1393"/>
                </a:cxn>
                <a:cxn ang="0">
                  <a:pos x="991" y="1320"/>
                </a:cxn>
                <a:cxn ang="0">
                  <a:pos x="1033" y="1297"/>
                </a:cxn>
                <a:cxn ang="0">
                  <a:pos x="1086" y="1249"/>
                </a:cxn>
                <a:cxn ang="0">
                  <a:pos x="1123" y="1219"/>
                </a:cxn>
                <a:cxn ang="0">
                  <a:pos x="1057" y="1153"/>
                </a:cxn>
                <a:cxn ang="0">
                  <a:pos x="877" y="1021"/>
                </a:cxn>
                <a:cxn ang="0">
                  <a:pos x="655" y="907"/>
                </a:cxn>
                <a:cxn ang="0">
                  <a:pos x="655" y="846"/>
                </a:cxn>
                <a:cxn ang="0">
                  <a:pos x="643" y="708"/>
                </a:cxn>
                <a:cxn ang="0">
                  <a:pos x="552" y="642"/>
                </a:cxn>
                <a:cxn ang="0">
                  <a:pos x="510" y="570"/>
                </a:cxn>
                <a:cxn ang="0">
                  <a:pos x="637" y="564"/>
                </a:cxn>
                <a:cxn ang="0">
                  <a:pos x="763" y="570"/>
                </a:cxn>
                <a:cxn ang="0">
                  <a:pos x="1091" y="850"/>
                </a:cxn>
                <a:cxn ang="0">
                  <a:pos x="1009" y="566"/>
                </a:cxn>
                <a:cxn ang="0">
                  <a:pos x="1054" y="265"/>
                </a:cxn>
                <a:cxn ang="0">
                  <a:pos x="1249" y="0"/>
                </a:cxn>
                <a:cxn ang="0">
                  <a:pos x="1466" y="292"/>
                </a:cxn>
                <a:cxn ang="0">
                  <a:pos x="1475" y="548"/>
                </a:cxn>
                <a:cxn ang="0">
                  <a:pos x="1567" y="630"/>
                </a:cxn>
                <a:cxn ang="0">
                  <a:pos x="1795" y="365"/>
                </a:cxn>
                <a:cxn ang="0">
                  <a:pos x="2245" y="150"/>
                </a:cxn>
                <a:cxn ang="0">
                  <a:pos x="2618" y="180"/>
                </a:cxn>
                <a:cxn ang="0">
                  <a:pos x="3050" y="150"/>
                </a:cxn>
                <a:cxn ang="0">
                  <a:pos x="3140" y="210"/>
                </a:cxn>
                <a:cxn ang="0">
                  <a:pos x="2990" y="210"/>
                </a:cxn>
                <a:cxn ang="0">
                  <a:pos x="2834" y="377"/>
                </a:cxn>
                <a:cxn ang="0">
                  <a:pos x="2702" y="648"/>
                </a:cxn>
                <a:cxn ang="0">
                  <a:pos x="2582" y="828"/>
                </a:cxn>
                <a:cxn ang="0">
                  <a:pos x="2234" y="1009"/>
                </a:cxn>
                <a:cxn ang="0">
                  <a:pos x="1963" y="1075"/>
                </a:cxn>
                <a:cxn ang="0">
                  <a:pos x="2257" y="1111"/>
                </a:cxn>
                <a:cxn ang="0">
                  <a:pos x="2600" y="1207"/>
                </a:cxn>
                <a:cxn ang="0">
                  <a:pos x="2894" y="1441"/>
                </a:cxn>
                <a:cxn ang="0">
                  <a:pos x="3122" y="1555"/>
                </a:cxn>
                <a:cxn ang="0">
                  <a:pos x="3032" y="1585"/>
                </a:cxn>
                <a:cxn ang="0">
                  <a:pos x="3008" y="1591"/>
                </a:cxn>
                <a:cxn ang="0">
                  <a:pos x="2960" y="1597"/>
                </a:cxn>
                <a:cxn ang="0">
                  <a:pos x="2882" y="1609"/>
                </a:cxn>
                <a:cxn ang="0">
                  <a:pos x="2846" y="1609"/>
                </a:cxn>
                <a:cxn ang="0">
                  <a:pos x="2774" y="1615"/>
                </a:cxn>
                <a:cxn ang="0">
                  <a:pos x="2726" y="1621"/>
                </a:cxn>
                <a:cxn ang="0">
                  <a:pos x="2708" y="1621"/>
                </a:cxn>
                <a:cxn ang="0">
                  <a:pos x="2594" y="1657"/>
                </a:cxn>
                <a:cxn ang="0">
                  <a:pos x="2533" y="1663"/>
                </a:cxn>
                <a:cxn ang="0">
                  <a:pos x="2444" y="1675"/>
                </a:cxn>
                <a:cxn ang="0">
                  <a:pos x="2378" y="1687"/>
                </a:cxn>
                <a:cxn ang="0">
                  <a:pos x="2360" y="1705"/>
                </a:cxn>
                <a:cxn ang="0">
                  <a:pos x="2305" y="1687"/>
                </a:cxn>
                <a:cxn ang="0">
                  <a:pos x="2263" y="1663"/>
                </a:cxn>
                <a:cxn ang="0">
                  <a:pos x="2017" y="1585"/>
                </a:cxn>
                <a:cxn ang="0">
                  <a:pos x="1711" y="1453"/>
                </a:cxn>
                <a:cxn ang="0">
                  <a:pos x="1880" y="1844"/>
                </a:cxn>
                <a:cxn ang="0">
                  <a:pos x="1771" y="1922"/>
                </a:cxn>
                <a:cxn ang="0">
                  <a:pos x="1531" y="1753"/>
                </a:cxn>
                <a:cxn ang="0">
                  <a:pos x="1411" y="1477"/>
                </a:cxn>
                <a:cxn ang="0">
                  <a:pos x="1219" y="1291"/>
                </a:cxn>
                <a:cxn ang="0">
                  <a:pos x="127" y="2006"/>
                </a:cxn>
                <a:cxn ang="0">
                  <a:pos x="865" y="1429"/>
                </a:cxn>
              </a:cxnLst>
              <a:rect l="0" t="0" r="r" b="b"/>
              <a:pathLst>
                <a:path w="3188" h="2024">
                  <a:moveTo>
                    <a:pt x="865" y="1429"/>
                  </a:moveTo>
                  <a:lnTo>
                    <a:pt x="871" y="1423"/>
                  </a:lnTo>
                  <a:lnTo>
                    <a:pt x="889" y="1411"/>
                  </a:lnTo>
                  <a:lnTo>
                    <a:pt x="907" y="1393"/>
                  </a:lnTo>
                  <a:lnTo>
                    <a:pt x="937" y="1369"/>
                  </a:lnTo>
                  <a:lnTo>
                    <a:pt x="991" y="1320"/>
                  </a:lnTo>
                  <a:lnTo>
                    <a:pt x="1015" y="1309"/>
                  </a:lnTo>
                  <a:lnTo>
                    <a:pt x="1033" y="1297"/>
                  </a:lnTo>
                  <a:lnTo>
                    <a:pt x="1057" y="1279"/>
                  </a:lnTo>
                  <a:lnTo>
                    <a:pt x="1086" y="1249"/>
                  </a:lnTo>
                  <a:lnTo>
                    <a:pt x="1111" y="1225"/>
                  </a:lnTo>
                  <a:lnTo>
                    <a:pt x="1123" y="1219"/>
                  </a:lnTo>
                  <a:lnTo>
                    <a:pt x="1123" y="1213"/>
                  </a:lnTo>
                  <a:lnTo>
                    <a:pt x="1057" y="1153"/>
                  </a:lnTo>
                  <a:lnTo>
                    <a:pt x="979" y="1051"/>
                  </a:lnTo>
                  <a:lnTo>
                    <a:pt x="877" y="1021"/>
                  </a:lnTo>
                  <a:lnTo>
                    <a:pt x="685" y="931"/>
                  </a:lnTo>
                  <a:lnTo>
                    <a:pt x="655" y="907"/>
                  </a:lnTo>
                  <a:lnTo>
                    <a:pt x="721" y="876"/>
                  </a:lnTo>
                  <a:lnTo>
                    <a:pt x="655" y="846"/>
                  </a:lnTo>
                  <a:lnTo>
                    <a:pt x="612" y="774"/>
                  </a:lnTo>
                  <a:lnTo>
                    <a:pt x="643" y="708"/>
                  </a:lnTo>
                  <a:lnTo>
                    <a:pt x="600" y="660"/>
                  </a:lnTo>
                  <a:lnTo>
                    <a:pt x="552" y="642"/>
                  </a:lnTo>
                  <a:lnTo>
                    <a:pt x="528" y="594"/>
                  </a:lnTo>
                  <a:lnTo>
                    <a:pt x="510" y="570"/>
                  </a:lnTo>
                  <a:lnTo>
                    <a:pt x="552" y="552"/>
                  </a:lnTo>
                  <a:lnTo>
                    <a:pt x="637" y="564"/>
                  </a:lnTo>
                  <a:lnTo>
                    <a:pt x="721" y="576"/>
                  </a:lnTo>
                  <a:lnTo>
                    <a:pt x="763" y="570"/>
                  </a:lnTo>
                  <a:lnTo>
                    <a:pt x="931" y="696"/>
                  </a:lnTo>
                  <a:lnTo>
                    <a:pt x="1091" y="850"/>
                  </a:lnTo>
                  <a:lnTo>
                    <a:pt x="1073" y="685"/>
                  </a:lnTo>
                  <a:lnTo>
                    <a:pt x="1009" y="566"/>
                  </a:lnTo>
                  <a:lnTo>
                    <a:pt x="945" y="393"/>
                  </a:lnTo>
                  <a:lnTo>
                    <a:pt x="1054" y="265"/>
                  </a:lnTo>
                  <a:lnTo>
                    <a:pt x="1137" y="45"/>
                  </a:lnTo>
                  <a:lnTo>
                    <a:pt x="1249" y="0"/>
                  </a:lnTo>
                  <a:lnTo>
                    <a:pt x="1338" y="137"/>
                  </a:lnTo>
                  <a:lnTo>
                    <a:pt x="1466" y="292"/>
                  </a:lnTo>
                  <a:lnTo>
                    <a:pt x="1502" y="411"/>
                  </a:lnTo>
                  <a:lnTo>
                    <a:pt x="1475" y="548"/>
                  </a:lnTo>
                  <a:lnTo>
                    <a:pt x="1347" y="768"/>
                  </a:lnTo>
                  <a:lnTo>
                    <a:pt x="1567" y="630"/>
                  </a:lnTo>
                  <a:lnTo>
                    <a:pt x="1687" y="462"/>
                  </a:lnTo>
                  <a:lnTo>
                    <a:pt x="1795" y="365"/>
                  </a:lnTo>
                  <a:lnTo>
                    <a:pt x="1940" y="239"/>
                  </a:lnTo>
                  <a:lnTo>
                    <a:pt x="2245" y="150"/>
                  </a:lnTo>
                  <a:lnTo>
                    <a:pt x="2498" y="138"/>
                  </a:lnTo>
                  <a:lnTo>
                    <a:pt x="2618" y="180"/>
                  </a:lnTo>
                  <a:lnTo>
                    <a:pt x="2815" y="138"/>
                  </a:lnTo>
                  <a:lnTo>
                    <a:pt x="3050" y="150"/>
                  </a:lnTo>
                  <a:lnTo>
                    <a:pt x="3176" y="168"/>
                  </a:lnTo>
                  <a:lnTo>
                    <a:pt x="3140" y="210"/>
                  </a:lnTo>
                  <a:lnTo>
                    <a:pt x="3116" y="192"/>
                  </a:lnTo>
                  <a:lnTo>
                    <a:pt x="2990" y="210"/>
                  </a:lnTo>
                  <a:lnTo>
                    <a:pt x="2906" y="263"/>
                  </a:lnTo>
                  <a:lnTo>
                    <a:pt x="2834" y="377"/>
                  </a:lnTo>
                  <a:lnTo>
                    <a:pt x="2768" y="534"/>
                  </a:lnTo>
                  <a:lnTo>
                    <a:pt x="2702" y="648"/>
                  </a:lnTo>
                  <a:lnTo>
                    <a:pt x="2738" y="726"/>
                  </a:lnTo>
                  <a:lnTo>
                    <a:pt x="2582" y="828"/>
                  </a:lnTo>
                  <a:lnTo>
                    <a:pt x="2444" y="913"/>
                  </a:lnTo>
                  <a:lnTo>
                    <a:pt x="2234" y="1009"/>
                  </a:lnTo>
                  <a:lnTo>
                    <a:pt x="2096" y="1063"/>
                  </a:lnTo>
                  <a:lnTo>
                    <a:pt x="1963" y="1075"/>
                  </a:lnTo>
                  <a:lnTo>
                    <a:pt x="2035" y="1117"/>
                  </a:lnTo>
                  <a:lnTo>
                    <a:pt x="2257" y="1111"/>
                  </a:lnTo>
                  <a:lnTo>
                    <a:pt x="2545" y="1135"/>
                  </a:lnTo>
                  <a:lnTo>
                    <a:pt x="2600" y="1207"/>
                  </a:lnTo>
                  <a:lnTo>
                    <a:pt x="2726" y="1303"/>
                  </a:lnTo>
                  <a:lnTo>
                    <a:pt x="2894" y="1441"/>
                  </a:lnTo>
                  <a:lnTo>
                    <a:pt x="2984" y="1471"/>
                  </a:lnTo>
                  <a:lnTo>
                    <a:pt x="3122" y="1555"/>
                  </a:lnTo>
                  <a:lnTo>
                    <a:pt x="3188" y="1543"/>
                  </a:lnTo>
                  <a:lnTo>
                    <a:pt x="3032" y="1585"/>
                  </a:lnTo>
                  <a:lnTo>
                    <a:pt x="3026" y="1585"/>
                  </a:lnTo>
                  <a:lnTo>
                    <a:pt x="3008" y="1591"/>
                  </a:lnTo>
                  <a:lnTo>
                    <a:pt x="2984" y="1591"/>
                  </a:lnTo>
                  <a:lnTo>
                    <a:pt x="2960" y="1597"/>
                  </a:lnTo>
                  <a:lnTo>
                    <a:pt x="2906" y="1603"/>
                  </a:lnTo>
                  <a:lnTo>
                    <a:pt x="2882" y="1609"/>
                  </a:lnTo>
                  <a:lnTo>
                    <a:pt x="2864" y="1609"/>
                  </a:lnTo>
                  <a:lnTo>
                    <a:pt x="2846" y="1609"/>
                  </a:lnTo>
                  <a:lnTo>
                    <a:pt x="2828" y="1609"/>
                  </a:lnTo>
                  <a:lnTo>
                    <a:pt x="2774" y="1615"/>
                  </a:lnTo>
                  <a:lnTo>
                    <a:pt x="2750" y="1615"/>
                  </a:lnTo>
                  <a:lnTo>
                    <a:pt x="2726" y="1621"/>
                  </a:lnTo>
                  <a:lnTo>
                    <a:pt x="2714" y="1621"/>
                  </a:lnTo>
                  <a:lnTo>
                    <a:pt x="2708" y="1621"/>
                  </a:lnTo>
                  <a:lnTo>
                    <a:pt x="2606" y="1657"/>
                  </a:lnTo>
                  <a:lnTo>
                    <a:pt x="2594" y="1657"/>
                  </a:lnTo>
                  <a:lnTo>
                    <a:pt x="2569" y="1657"/>
                  </a:lnTo>
                  <a:lnTo>
                    <a:pt x="2533" y="1663"/>
                  </a:lnTo>
                  <a:lnTo>
                    <a:pt x="2486" y="1669"/>
                  </a:lnTo>
                  <a:lnTo>
                    <a:pt x="2444" y="1675"/>
                  </a:lnTo>
                  <a:lnTo>
                    <a:pt x="2408" y="1681"/>
                  </a:lnTo>
                  <a:lnTo>
                    <a:pt x="2378" y="1687"/>
                  </a:lnTo>
                  <a:lnTo>
                    <a:pt x="2366" y="1699"/>
                  </a:lnTo>
                  <a:lnTo>
                    <a:pt x="2360" y="1705"/>
                  </a:lnTo>
                  <a:lnTo>
                    <a:pt x="2342" y="1705"/>
                  </a:lnTo>
                  <a:lnTo>
                    <a:pt x="2305" y="1687"/>
                  </a:lnTo>
                  <a:lnTo>
                    <a:pt x="2275" y="1669"/>
                  </a:lnTo>
                  <a:lnTo>
                    <a:pt x="2263" y="1663"/>
                  </a:lnTo>
                  <a:lnTo>
                    <a:pt x="2257" y="1657"/>
                  </a:lnTo>
                  <a:lnTo>
                    <a:pt x="2017" y="1585"/>
                  </a:lnTo>
                  <a:lnTo>
                    <a:pt x="1844" y="1489"/>
                  </a:lnTo>
                  <a:lnTo>
                    <a:pt x="1711" y="1453"/>
                  </a:lnTo>
                  <a:lnTo>
                    <a:pt x="1856" y="1693"/>
                  </a:lnTo>
                  <a:lnTo>
                    <a:pt x="1880" y="1844"/>
                  </a:lnTo>
                  <a:lnTo>
                    <a:pt x="1856" y="1994"/>
                  </a:lnTo>
                  <a:lnTo>
                    <a:pt x="1771" y="1922"/>
                  </a:lnTo>
                  <a:lnTo>
                    <a:pt x="1616" y="1795"/>
                  </a:lnTo>
                  <a:lnTo>
                    <a:pt x="1531" y="1753"/>
                  </a:lnTo>
                  <a:lnTo>
                    <a:pt x="1483" y="1633"/>
                  </a:lnTo>
                  <a:lnTo>
                    <a:pt x="1411" y="1477"/>
                  </a:lnTo>
                  <a:lnTo>
                    <a:pt x="1358" y="1381"/>
                  </a:lnTo>
                  <a:lnTo>
                    <a:pt x="1219" y="1291"/>
                  </a:lnTo>
                  <a:lnTo>
                    <a:pt x="1147" y="1279"/>
                  </a:lnTo>
                  <a:lnTo>
                    <a:pt x="127" y="2006"/>
                  </a:lnTo>
                  <a:lnTo>
                    <a:pt x="0" y="2024"/>
                  </a:lnTo>
                  <a:lnTo>
                    <a:pt x="865" y="1429"/>
                  </a:lnTo>
                  <a:lnTo>
                    <a:pt x="865" y="1429"/>
                  </a:lnTo>
                  <a:close/>
                </a:path>
              </a:pathLst>
            </a:custGeom>
            <a:gradFill rotWithShape="0">
              <a:gsLst>
                <a:gs pos="0">
                  <a:schemeClr val="bg2"/>
                </a:gs>
                <a:gs pos="100000">
                  <a:schemeClr val="bg1"/>
                </a:gs>
              </a:gsLst>
              <a:lin ang="2700000" scaled="1"/>
            </a:gradFill>
            <a:ln w="9525">
              <a:noFill/>
              <a:round/>
              <a:headEnd/>
              <a:tailEnd/>
            </a:ln>
          </p:spPr>
          <p:txBody>
            <a:bodyPr/>
            <a:lstStyle/>
            <a:p>
              <a:pPr eaLnBrk="0" fontAlgn="base" hangingPunct="0">
                <a:spcBef>
                  <a:spcPct val="0"/>
                </a:spcBef>
                <a:spcAft>
                  <a:spcPct val="0"/>
                </a:spcAft>
                <a:defRPr/>
              </a:pPr>
              <a:endParaRPr lang="zh-CN" altLang="en-US">
                <a:solidFill>
                  <a:srgbClr val="FFFFFF"/>
                </a:solidFill>
                <a:effectLst>
                  <a:outerShdw blurRad="38100" dist="38100" dir="2700000" algn="tl">
                    <a:srgbClr val="000000">
                      <a:alpha val="43137"/>
                    </a:srgbClr>
                  </a:outerShdw>
                </a:effectLst>
                <a:latin typeface="Arial" charset="0"/>
              </a:endParaRPr>
            </a:p>
          </p:txBody>
        </p:sp>
        <p:sp>
          <p:nvSpPr>
            <p:cNvPr id="38930" name="Freeform 18"/>
            <p:cNvSpPr>
              <a:spLocks/>
            </p:cNvSpPr>
            <p:nvPr/>
          </p:nvSpPr>
          <p:spPr bwMode="hidden">
            <a:xfrm>
              <a:off x="1344" y="293"/>
              <a:ext cx="2144" cy="1787"/>
            </a:xfrm>
            <a:custGeom>
              <a:avLst/>
              <a:gdLst/>
              <a:ahLst/>
              <a:cxnLst>
                <a:cxn ang="0">
                  <a:pos x="318" y="1078"/>
                </a:cxn>
                <a:cxn ang="0">
                  <a:pos x="217" y="928"/>
                </a:cxn>
                <a:cxn ang="0">
                  <a:pos x="102" y="808"/>
                </a:cxn>
                <a:cxn ang="0">
                  <a:pos x="36" y="742"/>
                </a:cxn>
                <a:cxn ang="0">
                  <a:pos x="0" y="700"/>
                </a:cxn>
                <a:cxn ang="0">
                  <a:pos x="270" y="958"/>
                </a:cxn>
                <a:cxn ang="0">
                  <a:pos x="294" y="1006"/>
                </a:cxn>
                <a:cxn ang="0">
                  <a:pos x="367" y="670"/>
                </a:cxn>
                <a:cxn ang="0">
                  <a:pos x="379" y="411"/>
                </a:cxn>
                <a:cxn ang="0">
                  <a:pos x="347" y="118"/>
                </a:cxn>
                <a:cxn ang="0">
                  <a:pos x="393" y="0"/>
                </a:cxn>
                <a:cxn ang="0">
                  <a:pos x="397" y="357"/>
                </a:cxn>
                <a:cxn ang="0">
                  <a:pos x="421" y="609"/>
                </a:cxn>
                <a:cxn ang="0">
                  <a:pos x="385" y="826"/>
                </a:cxn>
                <a:cxn ang="0">
                  <a:pos x="385" y="1036"/>
                </a:cxn>
                <a:cxn ang="0">
                  <a:pos x="877" y="784"/>
                </a:cxn>
                <a:cxn ang="0">
                  <a:pos x="1309" y="555"/>
                </a:cxn>
                <a:cxn ang="0">
                  <a:pos x="1802" y="249"/>
                </a:cxn>
                <a:cxn ang="0">
                  <a:pos x="2096" y="69"/>
                </a:cxn>
                <a:cxn ang="0">
                  <a:pos x="1814" y="279"/>
                </a:cxn>
                <a:cxn ang="0">
                  <a:pos x="1453" y="501"/>
                </a:cxn>
                <a:cxn ang="0">
                  <a:pos x="1123" y="700"/>
                </a:cxn>
                <a:cxn ang="0">
                  <a:pos x="739" y="898"/>
                </a:cxn>
                <a:cxn ang="0">
                  <a:pos x="463" y="1084"/>
                </a:cxn>
                <a:cxn ang="0">
                  <a:pos x="817" y="1193"/>
                </a:cxn>
                <a:cxn ang="0">
                  <a:pos x="1285" y="1187"/>
                </a:cxn>
                <a:cxn ang="0">
                  <a:pos x="1916" y="1396"/>
                </a:cxn>
                <a:cxn ang="0">
                  <a:pos x="2144" y="1420"/>
                </a:cxn>
                <a:cxn ang="0">
                  <a:pos x="1814" y="1408"/>
                </a:cxn>
                <a:cxn ang="0">
                  <a:pos x="1435" y="1288"/>
                </a:cxn>
                <a:cxn ang="0">
                  <a:pos x="1219" y="1229"/>
                </a:cxn>
                <a:cxn ang="0">
                  <a:pos x="799" y="1223"/>
                </a:cxn>
                <a:cxn ang="0">
                  <a:pos x="505" y="1145"/>
                </a:cxn>
                <a:cxn ang="0">
                  <a:pos x="733" y="1378"/>
                </a:cxn>
                <a:cxn ang="0">
                  <a:pos x="877" y="1619"/>
                </a:cxn>
                <a:cxn ang="0">
                  <a:pos x="1009" y="1787"/>
                </a:cxn>
                <a:cxn ang="0">
                  <a:pos x="817" y="1607"/>
                </a:cxn>
                <a:cxn ang="0">
                  <a:pos x="673" y="1372"/>
                </a:cxn>
                <a:cxn ang="0">
                  <a:pos x="415" y="1109"/>
                </a:cxn>
                <a:cxn ang="0">
                  <a:pos x="318" y="1078"/>
                </a:cxn>
                <a:cxn ang="0">
                  <a:pos x="318" y="1078"/>
                </a:cxn>
              </a:cxnLst>
              <a:rect l="0" t="0" r="r" b="b"/>
              <a:pathLst>
                <a:path w="2144" h="1787">
                  <a:moveTo>
                    <a:pt x="318" y="1078"/>
                  </a:moveTo>
                  <a:lnTo>
                    <a:pt x="217" y="928"/>
                  </a:lnTo>
                  <a:lnTo>
                    <a:pt x="102" y="808"/>
                  </a:lnTo>
                  <a:lnTo>
                    <a:pt x="36" y="742"/>
                  </a:lnTo>
                  <a:lnTo>
                    <a:pt x="0" y="700"/>
                  </a:lnTo>
                  <a:lnTo>
                    <a:pt x="270" y="958"/>
                  </a:lnTo>
                  <a:lnTo>
                    <a:pt x="294" y="1006"/>
                  </a:lnTo>
                  <a:lnTo>
                    <a:pt x="367" y="670"/>
                  </a:lnTo>
                  <a:lnTo>
                    <a:pt x="379" y="411"/>
                  </a:lnTo>
                  <a:lnTo>
                    <a:pt x="347" y="118"/>
                  </a:lnTo>
                  <a:lnTo>
                    <a:pt x="393" y="0"/>
                  </a:lnTo>
                  <a:lnTo>
                    <a:pt x="397" y="357"/>
                  </a:lnTo>
                  <a:lnTo>
                    <a:pt x="421" y="609"/>
                  </a:lnTo>
                  <a:lnTo>
                    <a:pt x="385" y="826"/>
                  </a:lnTo>
                  <a:lnTo>
                    <a:pt x="385" y="1036"/>
                  </a:lnTo>
                  <a:lnTo>
                    <a:pt x="877" y="784"/>
                  </a:lnTo>
                  <a:lnTo>
                    <a:pt x="1309" y="555"/>
                  </a:lnTo>
                  <a:lnTo>
                    <a:pt x="1802" y="249"/>
                  </a:lnTo>
                  <a:lnTo>
                    <a:pt x="2096" y="69"/>
                  </a:lnTo>
                  <a:lnTo>
                    <a:pt x="1814" y="279"/>
                  </a:lnTo>
                  <a:lnTo>
                    <a:pt x="1453" y="501"/>
                  </a:lnTo>
                  <a:lnTo>
                    <a:pt x="1123" y="700"/>
                  </a:lnTo>
                  <a:lnTo>
                    <a:pt x="739" y="898"/>
                  </a:lnTo>
                  <a:lnTo>
                    <a:pt x="463" y="1084"/>
                  </a:lnTo>
                  <a:lnTo>
                    <a:pt x="817" y="1193"/>
                  </a:lnTo>
                  <a:lnTo>
                    <a:pt x="1285" y="1187"/>
                  </a:lnTo>
                  <a:lnTo>
                    <a:pt x="1916" y="1396"/>
                  </a:lnTo>
                  <a:lnTo>
                    <a:pt x="2144" y="1420"/>
                  </a:lnTo>
                  <a:lnTo>
                    <a:pt x="1814" y="1408"/>
                  </a:lnTo>
                  <a:lnTo>
                    <a:pt x="1435" y="1288"/>
                  </a:lnTo>
                  <a:lnTo>
                    <a:pt x="1219" y="1229"/>
                  </a:lnTo>
                  <a:lnTo>
                    <a:pt x="799" y="1223"/>
                  </a:lnTo>
                  <a:lnTo>
                    <a:pt x="505" y="1145"/>
                  </a:lnTo>
                  <a:lnTo>
                    <a:pt x="733" y="1378"/>
                  </a:lnTo>
                  <a:lnTo>
                    <a:pt x="877" y="1619"/>
                  </a:lnTo>
                  <a:lnTo>
                    <a:pt x="1009" y="1787"/>
                  </a:lnTo>
                  <a:lnTo>
                    <a:pt x="817" y="1607"/>
                  </a:lnTo>
                  <a:lnTo>
                    <a:pt x="673" y="1372"/>
                  </a:lnTo>
                  <a:lnTo>
                    <a:pt x="415" y="1109"/>
                  </a:lnTo>
                  <a:lnTo>
                    <a:pt x="318" y="1078"/>
                  </a:lnTo>
                  <a:lnTo>
                    <a:pt x="318" y="1078"/>
                  </a:lnTo>
                  <a:close/>
                </a:path>
              </a:pathLst>
            </a:custGeom>
            <a:gradFill rotWithShape="0">
              <a:gsLst>
                <a:gs pos="0">
                  <a:schemeClr val="accent2"/>
                </a:gs>
                <a:gs pos="100000">
                  <a:schemeClr val="bg1"/>
                </a:gs>
              </a:gsLst>
              <a:lin ang="5400000" scaled="1"/>
            </a:gradFill>
            <a:ln w="9525">
              <a:noFill/>
              <a:round/>
              <a:headEnd/>
              <a:tailEnd/>
            </a:ln>
          </p:spPr>
          <p:txBody>
            <a:bodyPr/>
            <a:lstStyle/>
            <a:p>
              <a:pPr eaLnBrk="0" fontAlgn="base" hangingPunct="0">
                <a:spcBef>
                  <a:spcPct val="0"/>
                </a:spcBef>
                <a:spcAft>
                  <a:spcPct val="0"/>
                </a:spcAft>
                <a:defRPr/>
              </a:pPr>
              <a:endParaRPr lang="zh-CN" altLang="en-US">
                <a:solidFill>
                  <a:srgbClr val="FFFFFF"/>
                </a:solidFill>
                <a:effectLst>
                  <a:outerShdw blurRad="38100" dist="38100" dir="2700000" algn="tl">
                    <a:srgbClr val="000000">
                      <a:alpha val="43137"/>
                    </a:srgbClr>
                  </a:outerShdw>
                </a:effectLst>
                <a:latin typeface="Arial" charset="0"/>
              </a:endParaRPr>
            </a:p>
          </p:txBody>
        </p:sp>
        <p:sp>
          <p:nvSpPr>
            <p:cNvPr id="38931" name="Freeform 19"/>
            <p:cNvSpPr>
              <a:spLocks/>
            </p:cNvSpPr>
            <p:nvPr/>
          </p:nvSpPr>
          <p:spPr bwMode="hidden">
            <a:xfrm>
              <a:off x="2932" y="1728"/>
              <a:ext cx="2828" cy="2366"/>
            </a:xfrm>
            <a:custGeom>
              <a:avLst/>
              <a:gdLst/>
              <a:ahLst/>
              <a:cxnLst>
                <a:cxn ang="0">
                  <a:pos x="1814" y="606"/>
                </a:cxn>
                <a:cxn ang="0">
                  <a:pos x="1615" y="252"/>
                </a:cxn>
                <a:cxn ang="0">
                  <a:pos x="1345" y="132"/>
                </a:cxn>
                <a:cxn ang="0">
                  <a:pos x="1381" y="492"/>
                </a:cxn>
                <a:cxn ang="0">
                  <a:pos x="955" y="221"/>
                </a:cxn>
                <a:cxn ang="0">
                  <a:pos x="877" y="161"/>
                </a:cxn>
                <a:cxn ang="0">
                  <a:pos x="841" y="167"/>
                </a:cxn>
                <a:cxn ang="0">
                  <a:pos x="720" y="161"/>
                </a:cxn>
                <a:cxn ang="0">
                  <a:pos x="613" y="144"/>
                </a:cxn>
                <a:cxn ang="0">
                  <a:pos x="492" y="161"/>
                </a:cxn>
                <a:cxn ang="0">
                  <a:pos x="432" y="150"/>
                </a:cxn>
                <a:cxn ang="0">
                  <a:pos x="342" y="138"/>
                </a:cxn>
                <a:cxn ang="0">
                  <a:pos x="246" y="126"/>
                </a:cxn>
                <a:cxn ang="0">
                  <a:pos x="174" y="114"/>
                </a:cxn>
                <a:cxn ang="0">
                  <a:pos x="216" y="240"/>
                </a:cxn>
                <a:cxn ang="0">
                  <a:pos x="607" y="588"/>
                </a:cxn>
                <a:cxn ang="0">
                  <a:pos x="1177" y="817"/>
                </a:cxn>
                <a:cxn ang="0">
                  <a:pos x="972" y="871"/>
                </a:cxn>
                <a:cxn ang="0">
                  <a:pos x="492" y="1111"/>
                </a:cxn>
                <a:cxn ang="0">
                  <a:pos x="276" y="1441"/>
                </a:cxn>
                <a:cxn ang="0">
                  <a:pos x="42" y="1441"/>
                </a:cxn>
                <a:cxn ang="0">
                  <a:pos x="367" y="1585"/>
                </a:cxn>
                <a:cxn ang="0">
                  <a:pos x="949" y="1712"/>
                </a:cxn>
                <a:cxn ang="0">
                  <a:pos x="1519" y="1537"/>
                </a:cxn>
                <a:cxn ang="0">
                  <a:pos x="1735" y="1513"/>
                </a:cxn>
                <a:cxn ang="0">
                  <a:pos x="1723" y="1802"/>
                </a:cxn>
                <a:cxn ang="0">
                  <a:pos x="2042" y="2229"/>
                </a:cxn>
                <a:cxn ang="0">
                  <a:pos x="2191" y="2133"/>
                </a:cxn>
                <a:cxn ang="0">
                  <a:pos x="2270" y="1970"/>
                </a:cxn>
                <a:cxn ang="0">
                  <a:pos x="2233" y="1573"/>
                </a:cxn>
                <a:cxn ang="0">
                  <a:pos x="2294" y="1483"/>
                </a:cxn>
                <a:cxn ang="0">
                  <a:pos x="2588" y="1688"/>
                </a:cxn>
                <a:cxn ang="0">
                  <a:pos x="2695" y="1682"/>
                </a:cxn>
                <a:cxn ang="0">
                  <a:pos x="2588" y="1543"/>
                </a:cxn>
                <a:cxn ang="0">
                  <a:pos x="2510" y="1357"/>
                </a:cxn>
                <a:cxn ang="0">
                  <a:pos x="2354" y="1184"/>
                </a:cxn>
                <a:cxn ang="0">
                  <a:pos x="2102" y="931"/>
                </a:cxn>
                <a:cxn ang="0">
                  <a:pos x="2137" y="907"/>
                </a:cxn>
                <a:cxn ang="0">
                  <a:pos x="2215" y="871"/>
                </a:cxn>
                <a:cxn ang="0">
                  <a:pos x="2324" y="817"/>
                </a:cxn>
                <a:cxn ang="0">
                  <a:pos x="2372" y="787"/>
                </a:cxn>
                <a:cxn ang="0">
                  <a:pos x="2078" y="865"/>
                </a:cxn>
              </a:cxnLst>
              <a:rect l="0" t="0" r="r" b="b"/>
              <a:pathLst>
                <a:path w="2828" h="2366">
                  <a:moveTo>
                    <a:pt x="2006" y="835"/>
                  </a:moveTo>
                  <a:lnTo>
                    <a:pt x="1873" y="715"/>
                  </a:lnTo>
                  <a:lnTo>
                    <a:pt x="1814" y="606"/>
                  </a:lnTo>
                  <a:lnTo>
                    <a:pt x="1747" y="438"/>
                  </a:lnTo>
                  <a:lnTo>
                    <a:pt x="1699" y="312"/>
                  </a:lnTo>
                  <a:lnTo>
                    <a:pt x="1615" y="252"/>
                  </a:lnTo>
                  <a:lnTo>
                    <a:pt x="1453" y="84"/>
                  </a:lnTo>
                  <a:lnTo>
                    <a:pt x="1375" y="0"/>
                  </a:lnTo>
                  <a:lnTo>
                    <a:pt x="1345" y="132"/>
                  </a:lnTo>
                  <a:lnTo>
                    <a:pt x="1369" y="294"/>
                  </a:lnTo>
                  <a:lnTo>
                    <a:pt x="1513" y="558"/>
                  </a:lnTo>
                  <a:lnTo>
                    <a:pt x="1381" y="492"/>
                  </a:lnTo>
                  <a:lnTo>
                    <a:pt x="1201" y="360"/>
                  </a:lnTo>
                  <a:lnTo>
                    <a:pt x="961" y="227"/>
                  </a:lnTo>
                  <a:lnTo>
                    <a:pt x="955" y="221"/>
                  </a:lnTo>
                  <a:lnTo>
                    <a:pt x="949" y="215"/>
                  </a:lnTo>
                  <a:lnTo>
                    <a:pt x="913" y="185"/>
                  </a:lnTo>
                  <a:lnTo>
                    <a:pt x="877" y="161"/>
                  </a:lnTo>
                  <a:lnTo>
                    <a:pt x="859" y="156"/>
                  </a:lnTo>
                  <a:lnTo>
                    <a:pt x="853" y="161"/>
                  </a:lnTo>
                  <a:lnTo>
                    <a:pt x="841" y="167"/>
                  </a:lnTo>
                  <a:lnTo>
                    <a:pt x="810" y="173"/>
                  </a:lnTo>
                  <a:lnTo>
                    <a:pt x="768" y="167"/>
                  </a:lnTo>
                  <a:lnTo>
                    <a:pt x="720" y="161"/>
                  </a:lnTo>
                  <a:lnTo>
                    <a:pt x="678" y="156"/>
                  </a:lnTo>
                  <a:lnTo>
                    <a:pt x="637" y="150"/>
                  </a:lnTo>
                  <a:lnTo>
                    <a:pt x="613" y="144"/>
                  </a:lnTo>
                  <a:lnTo>
                    <a:pt x="601" y="144"/>
                  </a:lnTo>
                  <a:lnTo>
                    <a:pt x="498" y="161"/>
                  </a:lnTo>
                  <a:lnTo>
                    <a:pt x="492" y="161"/>
                  </a:lnTo>
                  <a:lnTo>
                    <a:pt x="480" y="156"/>
                  </a:lnTo>
                  <a:lnTo>
                    <a:pt x="456" y="156"/>
                  </a:lnTo>
                  <a:lnTo>
                    <a:pt x="432" y="150"/>
                  </a:lnTo>
                  <a:lnTo>
                    <a:pt x="379" y="144"/>
                  </a:lnTo>
                  <a:lnTo>
                    <a:pt x="361" y="138"/>
                  </a:lnTo>
                  <a:lnTo>
                    <a:pt x="342" y="138"/>
                  </a:lnTo>
                  <a:lnTo>
                    <a:pt x="324" y="138"/>
                  </a:lnTo>
                  <a:lnTo>
                    <a:pt x="300" y="132"/>
                  </a:lnTo>
                  <a:lnTo>
                    <a:pt x="246" y="126"/>
                  </a:lnTo>
                  <a:lnTo>
                    <a:pt x="216" y="120"/>
                  </a:lnTo>
                  <a:lnTo>
                    <a:pt x="192" y="120"/>
                  </a:lnTo>
                  <a:lnTo>
                    <a:pt x="174" y="114"/>
                  </a:lnTo>
                  <a:lnTo>
                    <a:pt x="168" y="114"/>
                  </a:lnTo>
                  <a:lnTo>
                    <a:pt x="6" y="120"/>
                  </a:lnTo>
                  <a:lnTo>
                    <a:pt x="216" y="240"/>
                  </a:lnTo>
                  <a:lnTo>
                    <a:pt x="306" y="294"/>
                  </a:lnTo>
                  <a:lnTo>
                    <a:pt x="480" y="462"/>
                  </a:lnTo>
                  <a:lnTo>
                    <a:pt x="607" y="588"/>
                  </a:lnTo>
                  <a:lnTo>
                    <a:pt x="655" y="672"/>
                  </a:lnTo>
                  <a:lnTo>
                    <a:pt x="949" y="769"/>
                  </a:lnTo>
                  <a:lnTo>
                    <a:pt x="1177" y="817"/>
                  </a:lnTo>
                  <a:lnTo>
                    <a:pt x="1249" y="871"/>
                  </a:lnTo>
                  <a:lnTo>
                    <a:pt x="1117" y="853"/>
                  </a:lnTo>
                  <a:lnTo>
                    <a:pt x="972" y="871"/>
                  </a:lnTo>
                  <a:lnTo>
                    <a:pt x="756" y="919"/>
                  </a:lnTo>
                  <a:lnTo>
                    <a:pt x="619" y="961"/>
                  </a:lnTo>
                  <a:lnTo>
                    <a:pt x="492" y="1111"/>
                  </a:lnTo>
                  <a:lnTo>
                    <a:pt x="420" y="1214"/>
                  </a:lnTo>
                  <a:lnTo>
                    <a:pt x="348" y="1345"/>
                  </a:lnTo>
                  <a:lnTo>
                    <a:pt x="276" y="1441"/>
                  </a:lnTo>
                  <a:lnTo>
                    <a:pt x="192" y="1471"/>
                  </a:lnTo>
                  <a:lnTo>
                    <a:pt x="66" y="1465"/>
                  </a:lnTo>
                  <a:lnTo>
                    <a:pt x="42" y="1441"/>
                  </a:lnTo>
                  <a:lnTo>
                    <a:pt x="0" y="1471"/>
                  </a:lnTo>
                  <a:lnTo>
                    <a:pt x="126" y="1519"/>
                  </a:lnTo>
                  <a:lnTo>
                    <a:pt x="367" y="1585"/>
                  </a:lnTo>
                  <a:lnTo>
                    <a:pt x="570" y="1591"/>
                  </a:lnTo>
                  <a:lnTo>
                    <a:pt x="690" y="1664"/>
                  </a:lnTo>
                  <a:lnTo>
                    <a:pt x="949" y="1712"/>
                  </a:lnTo>
                  <a:lnTo>
                    <a:pt x="1260" y="1694"/>
                  </a:lnTo>
                  <a:lnTo>
                    <a:pt x="1411" y="1603"/>
                  </a:lnTo>
                  <a:lnTo>
                    <a:pt x="1519" y="1537"/>
                  </a:lnTo>
                  <a:lnTo>
                    <a:pt x="1645" y="1399"/>
                  </a:lnTo>
                  <a:lnTo>
                    <a:pt x="1699" y="1387"/>
                  </a:lnTo>
                  <a:lnTo>
                    <a:pt x="1735" y="1513"/>
                  </a:lnTo>
                  <a:lnTo>
                    <a:pt x="1729" y="1567"/>
                  </a:lnTo>
                  <a:lnTo>
                    <a:pt x="1723" y="1670"/>
                  </a:lnTo>
                  <a:lnTo>
                    <a:pt x="1723" y="1802"/>
                  </a:lnTo>
                  <a:lnTo>
                    <a:pt x="1831" y="1964"/>
                  </a:lnTo>
                  <a:lnTo>
                    <a:pt x="1957" y="2090"/>
                  </a:lnTo>
                  <a:lnTo>
                    <a:pt x="2042" y="2229"/>
                  </a:lnTo>
                  <a:lnTo>
                    <a:pt x="2155" y="2366"/>
                  </a:lnTo>
                  <a:lnTo>
                    <a:pt x="2161" y="2295"/>
                  </a:lnTo>
                  <a:lnTo>
                    <a:pt x="2191" y="2133"/>
                  </a:lnTo>
                  <a:lnTo>
                    <a:pt x="2215" y="2048"/>
                  </a:lnTo>
                  <a:lnTo>
                    <a:pt x="2258" y="2042"/>
                  </a:lnTo>
                  <a:lnTo>
                    <a:pt x="2270" y="1970"/>
                  </a:lnTo>
                  <a:lnTo>
                    <a:pt x="2342" y="1868"/>
                  </a:lnTo>
                  <a:lnTo>
                    <a:pt x="2324" y="1748"/>
                  </a:lnTo>
                  <a:lnTo>
                    <a:pt x="2233" y="1573"/>
                  </a:lnTo>
                  <a:lnTo>
                    <a:pt x="2209" y="1453"/>
                  </a:lnTo>
                  <a:lnTo>
                    <a:pt x="2209" y="1345"/>
                  </a:lnTo>
                  <a:lnTo>
                    <a:pt x="2294" y="1483"/>
                  </a:lnTo>
                  <a:lnTo>
                    <a:pt x="2461" y="1651"/>
                  </a:lnTo>
                  <a:lnTo>
                    <a:pt x="2504" y="1651"/>
                  </a:lnTo>
                  <a:lnTo>
                    <a:pt x="2588" y="1688"/>
                  </a:lnTo>
                  <a:lnTo>
                    <a:pt x="2678" y="1718"/>
                  </a:lnTo>
                  <a:lnTo>
                    <a:pt x="2720" y="1712"/>
                  </a:lnTo>
                  <a:lnTo>
                    <a:pt x="2695" y="1682"/>
                  </a:lnTo>
                  <a:lnTo>
                    <a:pt x="2678" y="1627"/>
                  </a:lnTo>
                  <a:lnTo>
                    <a:pt x="2630" y="1597"/>
                  </a:lnTo>
                  <a:lnTo>
                    <a:pt x="2588" y="1543"/>
                  </a:lnTo>
                  <a:lnTo>
                    <a:pt x="2618" y="1483"/>
                  </a:lnTo>
                  <a:lnTo>
                    <a:pt x="2576" y="1399"/>
                  </a:lnTo>
                  <a:lnTo>
                    <a:pt x="2510" y="1357"/>
                  </a:lnTo>
                  <a:lnTo>
                    <a:pt x="2576" y="1351"/>
                  </a:lnTo>
                  <a:lnTo>
                    <a:pt x="2552" y="1315"/>
                  </a:lnTo>
                  <a:lnTo>
                    <a:pt x="2354" y="1184"/>
                  </a:lnTo>
                  <a:lnTo>
                    <a:pt x="2252" y="1123"/>
                  </a:lnTo>
                  <a:lnTo>
                    <a:pt x="2173" y="1009"/>
                  </a:lnTo>
                  <a:lnTo>
                    <a:pt x="2102" y="931"/>
                  </a:lnTo>
                  <a:lnTo>
                    <a:pt x="2108" y="931"/>
                  </a:lnTo>
                  <a:lnTo>
                    <a:pt x="2114" y="925"/>
                  </a:lnTo>
                  <a:lnTo>
                    <a:pt x="2137" y="907"/>
                  </a:lnTo>
                  <a:lnTo>
                    <a:pt x="2167" y="883"/>
                  </a:lnTo>
                  <a:lnTo>
                    <a:pt x="2197" y="877"/>
                  </a:lnTo>
                  <a:lnTo>
                    <a:pt x="2215" y="871"/>
                  </a:lnTo>
                  <a:lnTo>
                    <a:pt x="2240" y="859"/>
                  </a:lnTo>
                  <a:lnTo>
                    <a:pt x="2300" y="829"/>
                  </a:lnTo>
                  <a:lnTo>
                    <a:pt x="2324" y="817"/>
                  </a:lnTo>
                  <a:lnTo>
                    <a:pt x="2348" y="799"/>
                  </a:lnTo>
                  <a:lnTo>
                    <a:pt x="2366" y="793"/>
                  </a:lnTo>
                  <a:lnTo>
                    <a:pt x="2372" y="787"/>
                  </a:lnTo>
                  <a:lnTo>
                    <a:pt x="2828" y="588"/>
                  </a:lnTo>
                  <a:lnTo>
                    <a:pt x="2828" y="528"/>
                  </a:lnTo>
                  <a:lnTo>
                    <a:pt x="2078" y="865"/>
                  </a:lnTo>
                  <a:lnTo>
                    <a:pt x="2006" y="835"/>
                  </a:lnTo>
                  <a:lnTo>
                    <a:pt x="2006" y="835"/>
                  </a:lnTo>
                  <a:close/>
                </a:path>
              </a:pathLst>
            </a:custGeom>
            <a:gradFill rotWithShape="0">
              <a:gsLst>
                <a:gs pos="0">
                  <a:schemeClr val="bg2"/>
                </a:gs>
                <a:gs pos="50000">
                  <a:schemeClr val="bg1"/>
                </a:gs>
                <a:gs pos="100000">
                  <a:schemeClr val="bg2"/>
                </a:gs>
              </a:gsLst>
              <a:lin ang="2700000" scaled="1"/>
            </a:gradFill>
            <a:ln w="9525">
              <a:noFill/>
              <a:round/>
              <a:headEnd/>
              <a:tailEnd/>
            </a:ln>
          </p:spPr>
          <p:txBody>
            <a:bodyPr/>
            <a:lstStyle/>
            <a:p>
              <a:pPr eaLnBrk="0" fontAlgn="base" hangingPunct="0">
                <a:spcBef>
                  <a:spcPct val="0"/>
                </a:spcBef>
                <a:spcAft>
                  <a:spcPct val="0"/>
                </a:spcAft>
                <a:defRPr/>
              </a:pPr>
              <a:endParaRPr lang="zh-CN" altLang="en-US">
                <a:solidFill>
                  <a:srgbClr val="FFFFFF"/>
                </a:solidFill>
                <a:effectLst>
                  <a:outerShdw blurRad="38100" dist="38100" dir="2700000" algn="tl">
                    <a:srgbClr val="000000">
                      <a:alpha val="43137"/>
                    </a:srgbClr>
                  </a:outerShdw>
                </a:effectLst>
                <a:latin typeface="Arial" charset="0"/>
              </a:endParaRPr>
            </a:p>
          </p:txBody>
        </p:sp>
        <p:sp>
          <p:nvSpPr>
            <p:cNvPr id="38932" name="Freeform 20"/>
            <p:cNvSpPr>
              <a:spLocks/>
            </p:cNvSpPr>
            <p:nvPr/>
          </p:nvSpPr>
          <p:spPr bwMode="hidden">
            <a:xfrm>
              <a:off x="3160" y="1860"/>
              <a:ext cx="2162" cy="1934"/>
            </a:xfrm>
            <a:custGeom>
              <a:avLst/>
              <a:gdLst/>
              <a:ahLst/>
              <a:cxnLst>
                <a:cxn ang="0">
                  <a:pos x="1842" y="851"/>
                </a:cxn>
                <a:cxn ang="0">
                  <a:pos x="1937" y="1019"/>
                </a:cxn>
                <a:cxn ang="0">
                  <a:pos x="2051" y="1168"/>
                </a:cxn>
                <a:cxn ang="0">
                  <a:pos x="2117" y="1246"/>
                </a:cxn>
                <a:cxn ang="0">
                  <a:pos x="2153" y="1294"/>
                </a:cxn>
                <a:cxn ang="0">
                  <a:pos x="1889" y="977"/>
                </a:cxn>
                <a:cxn ang="0">
                  <a:pos x="1860" y="929"/>
                </a:cxn>
                <a:cxn ang="0">
                  <a:pos x="1782" y="1240"/>
                </a:cxn>
                <a:cxn ang="0">
                  <a:pos x="1770" y="1486"/>
                </a:cxn>
                <a:cxn ang="0">
                  <a:pos x="1818" y="1906"/>
                </a:cxn>
                <a:cxn ang="0">
                  <a:pos x="1788" y="1930"/>
                </a:cxn>
                <a:cxn ang="0">
                  <a:pos x="1746" y="1534"/>
                </a:cxn>
                <a:cxn ang="0">
                  <a:pos x="1728" y="1288"/>
                </a:cxn>
                <a:cxn ang="0">
                  <a:pos x="1764" y="1085"/>
                </a:cxn>
                <a:cxn ang="0">
                  <a:pos x="1770" y="875"/>
                </a:cxn>
                <a:cxn ang="0">
                  <a:pos x="1268" y="1007"/>
                </a:cxn>
                <a:cxn ang="0">
                  <a:pos x="825" y="1132"/>
                </a:cxn>
                <a:cxn ang="0">
                  <a:pos x="323" y="1312"/>
                </a:cxn>
                <a:cxn ang="0">
                  <a:pos x="18" y="1420"/>
                </a:cxn>
                <a:cxn ang="0">
                  <a:pos x="311" y="1282"/>
                </a:cxn>
                <a:cxn ang="0">
                  <a:pos x="682" y="1144"/>
                </a:cxn>
                <a:cxn ang="0">
                  <a:pos x="1022" y="1037"/>
                </a:cxn>
                <a:cxn ang="0">
                  <a:pos x="1411" y="929"/>
                </a:cxn>
                <a:cxn ang="0">
                  <a:pos x="1692" y="815"/>
                </a:cxn>
                <a:cxn ang="0">
                  <a:pos x="1333" y="623"/>
                </a:cxn>
                <a:cxn ang="0">
                  <a:pos x="861" y="515"/>
                </a:cxn>
                <a:cxn ang="0">
                  <a:pos x="227" y="161"/>
                </a:cxn>
                <a:cxn ang="0">
                  <a:pos x="0" y="83"/>
                </a:cxn>
                <a:cxn ang="0">
                  <a:pos x="329" y="179"/>
                </a:cxn>
                <a:cxn ang="0">
                  <a:pos x="712" y="383"/>
                </a:cxn>
                <a:cxn ang="0">
                  <a:pos x="933" y="491"/>
                </a:cxn>
                <a:cxn ang="0">
                  <a:pos x="1351" y="593"/>
                </a:cxn>
                <a:cxn ang="0">
                  <a:pos x="1650" y="743"/>
                </a:cxn>
                <a:cxn ang="0">
                  <a:pos x="1423" y="461"/>
                </a:cxn>
                <a:cxn ang="0">
                  <a:pos x="1286" y="191"/>
                </a:cxn>
                <a:cxn ang="0">
                  <a:pos x="1154" y="0"/>
                </a:cxn>
                <a:cxn ang="0">
                  <a:pos x="1339" y="215"/>
                </a:cxn>
                <a:cxn ang="0">
                  <a:pos x="1489" y="485"/>
                </a:cxn>
                <a:cxn ang="0">
                  <a:pos x="1746" y="803"/>
                </a:cxn>
                <a:cxn ang="0">
                  <a:pos x="1842" y="851"/>
                </a:cxn>
                <a:cxn ang="0">
                  <a:pos x="1842" y="851"/>
                </a:cxn>
              </a:cxnLst>
              <a:rect l="0" t="0" r="r" b="b"/>
              <a:pathLst>
                <a:path w="2153" h="1930">
                  <a:moveTo>
                    <a:pt x="1842" y="851"/>
                  </a:moveTo>
                  <a:lnTo>
                    <a:pt x="1937" y="1019"/>
                  </a:lnTo>
                  <a:lnTo>
                    <a:pt x="2051" y="1168"/>
                  </a:lnTo>
                  <a:lnTo>
                    <a:pt x="2117" y="1246"/>
                  </a:lnTo>
                  <a:lnTo>
                    <a:pt x="2153" y="1294"/>
                  </a:lnTo>
                  <a:lnTo>
                    <a:pt x="1889" y="977"/>
                  </a:lnTo>
                  <a:lnTo>
                    <a:pt x="1860" y="929"/>
                  </a:lnTo>
                  <a:lnTo>
                    <a:pt x="1782" y="1240"/>
                  </a:lnTo>
                  <a:lnTo>
                    <a:pt x="1770" y="1486"/>
                  </a:lnTo>
                  <a:lnTo>
                    <a:pt x="1818" y="1906"/>
                  </a:lnTo>
                  <a:lnTo>
                    <a:pt x="1788" y="1930"/>
                  </a:lnTo>
                  <a:lnTo>
                    <a:pt x="1746" y="1534"/>
                  </a:lnTo>
                  <a:lnTo>
                    <a:pt x="1728" y="1288"/>
                  </a:lnTo>
                  <a:lnTo>
                    <a:pt x="1764" y="1085"/>
                  </a:lnTo>
                  <a:lnTo>
                    <a:pt x="1770" y="875"/>
                  </a:lnTo>
                  <a:lnTo>
                    <a:pt x="1268" y="1007"/>
                  </a:lnTo>
                  <a:lnTo>
                    <a:pt x="825" y="1132"/>
                  </a:lnTo>
                  <a:lnTo>
                    <a:pt x="323" y="1312"/>
                  </a:lnTo>
                  <a:lnTo>
                    <a:pt x="18" y="1420"/>
                  </a:lnTo>
                  <a:lnTo>
                    <a:pt x="311" y="1282"/>
                  </a:lnTo>
                  <a:lnTo>
                    <a:pt x="682" y="1144"/>
                  </a:lnTo>
                  <a:lnTo>
                    <a:pt x="1022" y="1037"/>
                  </a:lnTo>
                  <a:lnTo>
                    <a:pt x="1411" y="929"/>
                  </a:lnTo>
                  <a:lnTo>
                    <a:pt x="1692" y="815"/>
                  </a:lnTo>
                  <a:lnTo>
                    <a:pt x="1333" y="623"/>
                  </a:lnTo>
                  <a:lnTo>
                    <a:pt x="861" y="515"/>
                  </a:lnTo>
                  <a:lnTo>
                    <a:pt x="227" y="161"/>
                  </a:lnTo>
                  <a:lnTo>
                    <a:pt x="0" y="83"/>
                  </a:lnTo>
                  <a:lnTo>
                    <a:pt x="329" y="179"/>
                  </a:lnTo>
                  <a:lnTo>
                    <a:pt x="712" y="383"/>
                  </a:lnTo>
                  <a:lnTo>
                    <a:pt x="933" y="491"/>
                  </a:lnTo>
                  <a:lnTo>
                    <a:pt x="1351" y="593"/>
                  </a:lnTo>
                  <a:lnTo>
                    <a:pt x="1650" y="743"/>
                  </a:lnTo>
                  <a:lnTo>
                    <a:pt x="1423" y="461"/>
                  </a:lnTo>
                  <a:lnTo>
                    <a:pt x="1286" y="191"/>
                  </a:lnTo>
                  <a:lnTo>
                    <a:pt x="1154" y="0"/>
                  </a:lnTo>
                  <a:lnTo>
                    <a:pt x="1339" y="215"/>
                  </a:lnTo>
                  <a:lnTo>
                    <a:pt x="1489" y="485"/>
                  </a:lnTo>
                  <a:lnTo>
                    <a:pt x="1746" y="803"/>
                  </a:lnTo>
                  <a:lnTo>
                    <a:pt x="1842" y="851"/>
                  </a:lnTo>
                  <a:lnTo>
                    <a:pt x="1842" y="851"/>
                  </a:lnTo>
                  <a:close/>
                </a:path>
              </a:pathLst>
            </a:custGeom>
            <a:gradFill rotWithShape="0">
              <a:gsLst>
                <a:gs pos="0">
                  <a:schemeClr val="accent2"/>
                </a:gs>
                <a:gs pos="100000">
                  <a:schemeClr val="bg1"/>
                </a:gs>
              </a:gsLst>
              <a:lin ang="5400000" scaled="1"/>
            </a:gradFill>
            <a:ln w="9525">
              <a:noFill/>
              <a:round/>
              <a:headEnd/>
              <a:tailEnd/>
            </a:ln>
          </p:spPr>
          <p:txBody>
            <a:bodyPr/>
            <a:lstStyle/>
            <a:p>
              <a:pPr eaLnBrk="0" fontAlgn="base" hangingPunct="0">
                <a:spcBef>
                  <a:spcPct val="0"/>
                </a:spcBef>
                <a:spcAft>
                  <a:spcPct val="0"/>
                </a:spcAft>
                <a:defRPr/>
              </a:pPr>
              <a:endParaRPr lang="zh-CN" altLang="en-US">
                <a:solidFill>
                  <a:srgbClr val="FFFFFF"/>
                </a:solidFill>
                <a:effectLst>
                  <a:outerShdw blurRad="38100" dist="38100" dir="2700000" algn="tl">
                    <a:srgbClr val="000000">
                      <a:alpha val="43137"/>
                    </a:srgbClr>
                  </a:outerShdw>
                </a:effectLst>
                <a:latin typeface="Arial" charset="0"/>
              </a:endParaRPr>
            </a:p>
          </p:txBody>
        </p:sp>
      </p:grpSp>
      <p:sp>
        <p:nvSpPr>
          <p:cNvPr id="38933" name="Rectangle 21"/>
          <p:cNvSpPr>
            <a:spLocks noGrp="1" noChangeArrowheads="1"/>
          </p:cNvSpPr>
          <p:nvPr>
            <p:ph type="title"/>
          </p:nvPr>
        </p:nvSpPr>
        <p:spPr bwMode="auto">
          <a:xfrm>
            <a:off x="457200" y="277813"/>
            <a:ext cx="8229600" cy="1143000"/>
          </a:xfrm>
          <a:prstGeom prst="rect">
            <a:avLst/>
          </a:prstGeom>
          <a:noFill/>
          <a:ln w="9525">
            <a:noFill/>
            <a:miter lim="800000"/>
            <a:headEnd/>
            <a:tailEnd/>
          </a:ln>
          <a:effectLst/>
        </p:spPr>
        <p:txBody>
          <a:bodyPr vert="horz" wrap="square" lIns="91389" tIns="45694" rIns="91389" bIns="45694" numCol="1" anchor="ctr" anchorCtr="0" compatLnSpc="1">
            <a:prstTxWarp prst="textNoShape">
              <a:avLst/>
            </a:prstTxWarp>
          </a:bodyPr>
          <a:lstStyle/>
          <a:p>
            <a:pPr lvl="0"/>
            <a:r>
              <a:rPr lang="zh-CN" altLang="en-US" dirty="0" smtClean="0"/>
              <a:t>单击此处编辑母版标题样式</a:t>
            </a:r>
          </a:p>
        </p:txBody>
      </p:sp>
      <p:sp>
        <p:nvSpPr>
          <p:cNvPr id="38934" name="Rectangle 22"/>
          <p:cNvSpPr>
            <a:spLocks noGrp="1" noChangeArrowheads="1"/>
          </p:cNvSpPr>
          <p:nvPr>
            <p:ph type="body" idx="1"/>
          </p:nvPr>
        </p:nvSpPr>
        <p:spPr bwMode="auto">
          <a:xfrm>
            <a:off x="457200" y="1600200"/>
            <a:ext cx="8229600" cy="4530725"/>
          </a:xfrm>
          <a:prstGeom prst="rect">
            <a:avLst/>
          </a:prstGeom>
          <a:noFill/>
          <a:ln w="9525">
            <a:noFill/>
            <a:miter lim="800000"/>
            <a:headEnd/>
            <a:tailEnd/>
          </a:ln>
          <a:effectLst/>
        </p:spPr>
        <p:txBody>
          <a:bodyPr vert="horz" wrap="square" lIns="91389" tIns="45694" rIns="91389" bIns="45694" numCol="1" anchor="t" anchorCtr="0" compatLnSpc="1">
            <a:prstTxWarp prst="textNoShape">
              <a:avLst/>
            </a:prstTxWarp>
          </a:bodyPr>
          <a:lstStyle/>
          <a:p>
            <a:pPr lvl="0"/>
            <a:r>
              <a:rPr lang="zh-CN" altLang="en-US" dirty="0" smtClean="0"/>
              <a:t>单击此处编辑母版文本样式</a:t>
            </a:r>
          </a:p>
          <a:p>
            <a:pPr lvl="1"/>
            <a:r>
              <a:rPr lang="zh-CN" altLang="en-US" dirty="0" smtClean="0"/>
              <a:t>第二级</a:t>
            </a:r>
          </a:p>
          <a:p>
            <a:pPr lvl="2"/>
            <a:r>
              <a:rPr lang="zh-CN" altLang="en-US" dirty="0" smtClean="0"/>
              <a:t>第三级</a:t>
            </a:r>
          </a:p>
          <a:p>
            <a:pPr lvl="3"/>
            <a:r>
              <a:rPr lang="zh-CN" altLang="en-US" dirty="0" smtClean="0"/>
              <a:t>第四级</a:t>
            </a:r>
          </a:p>
          <a:p>
            <a:pPr lvl="4"/>
            <a:r>
              <a:rPr lang="zh-CN" altLang="en-US" dirty="0" smtClean="0"/>
              <a:t>第五级</a:t>
            </a:r>
          </a:p>
        </p:txBody>
      </p:sp>
      <p:sp>
        <p:nvSpPr>
          <p:cNvPr id="38935" name="Rectangle 23"/>
          <p:cNvSpPr>
            <a:spLocks noGrp="1" noChangeArrowheads="1"/>
          </p:cNvSpPr>
          <p:nvPr>
            <p:ph type="dt" sz="half" idx="2"/>
          </p:nvPr>
        </p:nvSpPr>
        <p:spPr bwMode="auto">
          <a:xfrm>
            <a:off x="457200" y="6248400"/>
            <a:ext cx="2133600" cy="457200"/>
          </a:xfrm>
          <a:prstGeom prst="rect">
            <a:avLst/>
          </a:prstGeom>
          <a:noFill/>
          <a:ln w="9525">
            <a:noFill/>
            <a:miter lim="800000"/>
            <a:headEnd/>
            <a:tailEnd/>
          </a:ln>
          <a:effectLst/>
        </p:spPr>
        <p:txBody>
          <a:bodyPr vert="horz" wrap="square" lIns="91389" tIns="45694" rIns="91389" bIns="45694" numCol="1" anchor="t" anchorCtr="0" compatLnSpc="1">
            <a:prstTxWarp prst="textNoShape">
              <a:avLst/>
            </a:prstTxWarp>
          </a:bodyPr>
          <a:lstStyle>
            <a:lvl1pPr eaLnBrk="0" hangingPunct="0">
              <a:defRPr sz="1400">
                <a:effectLst>
                  <a:outerShdw blurRad="38100" dist="38100" dir="2700000" algn="tl">
                    <a:srgbClr val="000000"/>
                  </a:outerShdw>
                </a:effectLst>
                <a:latin typeface="Arial" charset="0"/>
                <a:ea typeface="+mn-ea"/>
              </a:defRPr>
            </a:lvl1pPr>
          </a:lstStyle>
          <a:p>
            <a:pPr fontAlgn="base">
              <a:spcBef>
                <a:spcPct val="0"/>
              </a:spcBef>
              <a:spcAft>
                <a:spcPct val="0"/>
              </a:spcAft>
              <a:defRPr/>
            </a:pPr>
            <a:r>
              <a:rPr lang="en-US" altLang="zh-CN">
                <a:solidFill>
                  <a:srgbClr val="FFFFFF"/>
                </a:solidFill>
              </a:rPr>
              <a:t>20111024</a:t>
            </a:r>
          </a:p>
        </p:txBody>
      </p:sp>
      <p:sp>
        <p:nvSpPr>
          <p:cNvPr id="38936" name="Rectangle 24"/>
          <p:cNvSpPr>
            <a:spLocks noGrp="1" noChangeArrowheads="1"/>
          </p:cNvSpPr>
          <p:nvPr>
            <p:ph type="ftr" sz="quarter" idx="3"/>
          </p:nvPr>
        </p:nvSpPr>
        <p:spPr bwMode="auto">
          <a:xfrm>
            <a:off x="3124200" y="6248400"/>
            <a:ext cx="2895600" cy="457200"/>
          </a:xfrm>
          <a:prstGeom prst="rect">
            <a:avLst/>
          </a:prstGeom>
          <a:noFill/>
          <a:ln w="9525">
            <a:noFill/>
            <a:miter lim="800000"/>
            <a:headEnd/>
            <a:tailEnd/>
          </a:ln>
          <a:effectLst/>
        </p:spPr>
        <p:txBody>
          <a:bodyPr vert="horz" wrap="square" lIns="91389" tIns="45694" rIns="91389" bIns="45694" numCol="1" anchor="t" anchorCtr="0" compatLnSpc="1">
            <a:prstTxWarp prst="textNoShape">
              <a:avLst/>
            </a:prstTxWarp>
          </a:bodyPr>
          <a:lstStyle>
            <a:lvl1pPr algn="ctr" eaLnBrk="0" hangingPunct="0">
              <a:defRPr sz="1400">
                <a:effectLst>
                  <a:outerShdw blurRad="38100" dist="38100" dir="2700000" algn="tl">
                    <a:srgbClr val="000000"/>
                  </a:outerShdw>
                </a:effectLst>
                <a:latin typeface="Arial" charset="0"/>
                <a:ea typeface="+mn-ea"/>
              </a:defRPr>
            </a:lvl1pPr>
          </a:lstStyle>
          <a:p>
            <a:pPr fontAlgn="base">
              <a:spcBef>
                <a:spcPct val="0"/>
              </a:spcBef>
              <a:spcAft>
                <a:spcPct val="0"/>
              </a:spcAft>
              <a:defRPr/>
            </a:pPr>
            <a:endParaRPr lang="en-US" altLang="zh-CN">
              <a:solidFill>
                <a:srgbClr val="FFFFFF"/>
              </a:solidFill>
            </a:endParaRPr>
          </a:p>
        </p:txBody>
      </p:sp>
      <p:sp>
        <p:nvSpPr>
          <p:cNvPr id="38937" name="Rectangle 25"/>
          <p:cNvSpPr>
            <a:spLocks noGrp="1" noChangeArrowheads="1"/>
          </p:cNvSpPr>
          <p:nvPr>
            <p:ph type="sldNum" sz="quarter" idx="4"/>
          </p:nvPr>
        </p:nvSpPr>
        <p:spPr bwMode="auto">
          <a:xfrm>
            <a:off x="6553200" y="6248400"/>
            <a:ext cx="2133600" cy="457200"/>
          </a:xfrm>
          <a:prstGeom prst="rect">
            <a:avLst/>
          </a:prstGeom>
          <a:noFill/>
          <a:ln w="9525">
            <a:noFill/>
            <a:miter lim="800000"/>
            <a:headEnd/>
            <a:tailEnd/>
          </a:ln>
          <a:effectLst/>
        </p:spPr>
        <p:txBody>
          <a:bodyPr vert="horz" wrap="square" lIns="91389" tIns="45694" rIns="91389" bIns="45694" numCol="1" anchor="t" anchorCtr="0" compatLnSpc="1">
            <a:prstTxWarp prst="textNoShape">
              <a:avLst/>
            </a:prstTxWarp>
          </a:bodyPr>
          <a:lstStyle>
            <a:lvl1pPr algn="r" eaLnBrk="0" hangingPunct="0">
              <a:defRPr sz="1400">
                <a:effectLst>
                  <a:outerShdw blurRad="38100" dist="38100" dir="2700000" algn="tl">
                    <a:srgbClr val="000000"/>
                  </a:outerShdw>
                </a:effectLst>
                <a:latin typeface="Arial" charset="0"/>
                <a:ea typeface="+mn-ea"/>
              </a:defRPr>
            </a:lvl1pPr>
          </a:lstStyle>
          <a:p>
            <a:pPr fontAlgn="base">
              <a:spcBef>
                <a:spcPct val="0"/>
              </a:spcBef>
              <a:spcAft>
                <a:spcPct val="0"/>
              </a:spcAft>
              <a:defRPr/>
            </a:pPr>
            <a:fld id="{B49E79A4-6D6C-49C4-9116-B748481BB2F0}" type="slidenum">
              <a:rPr lang="en-US" altLang="zh-CN">
                <a:solidFill>
                  <a:srgbClr val="FFFFFF"/>
                </a:solidFill>
              </a:rPr>
              <a:pPr fontAlgn="base">
                <a:spcBef>
                  <a:spcPct val="0"/>
                </a:spcBef>
                <a:spcAft>
                  <a:spcPct val="0"/>
                </a:spcAft>
                <a:defRPr/>
              </a:pPr>
              <a:t>‹#›</a:t>
            </a:fld>
            <a:endParaRPr lang="en-US" altLang="zh-CN">
              <a:solidFill>
                <a:srgbClr val="FFFFFF"/>
              </a:solidFill>
            </a:endParaRPr>
          </a:p>
        </p:txBody>
      </p:sp>
      <p:pic>
        <p:nvPicPr>
          <p:cNvPr id="10248" name="Picture 27" descr="60aa7aff2343bdbcb801a047"/>
          <p:cNvPicPr>
            <a:picLocks noChangeAspect="1" noChangeArrowheads="1"/>
          </p:cNvPicPr>
          <p:nvPr userDrawn="1"/>
        </p:nvPicPr>
        <p:blipFill>
          <a:blip r:embed="rId17" cstate="print"/>
          <a:srcRect/>
          <a:stretch>
            <a:fillRect/>
          </a:stretch>
        </p:blipFill>
        <p:spPr bwMode="auto">
          <a:xfrm>
            <a:off x="120650" y="0"/>
            <a:ext cx="9023350" cy="6858000"/>
          </a:xfrm>
          <a:prstGeom prst="rect">
            <a:avLst/>
          </a:prstGeom>
          <a:noFill/>
          <a:ln w="9525">
            <a:noFill/>
            <a:miter lim="800000"/>
            <a:headEnd/>
            <a:tailEnd/>
          </a:ln>
        </p:spPr>
      </p:pic>
      <p:pic>
        <p:nvPicPr>
          <p:cNvPr id="10249" name="Picture 31" descr="http://www.ppt123.net/beijing/UploadFiles_8374/201206/2012061221031882.jpg"/>
          <p:cNvPicPr>
            <a:picLocks noChangeAspect="1" noChangeArrowheads="1"/>
          </p:cNvPicPr>
          <p:nvPr userDrawn="1"/>
        </p:nvPicPr>
        <p:blipFill>
          <a:blip r:embed="rId18" cstate="print"/>
          <a:srcRect/>
          <a:stretch>
            <a:fillRect/>
          </a:stretch>
        </p:blipFill>
        <p:spPr bwMode="auto">
          <a:xfrm>
            <a:off x="0" y="0"/>
            <a:ext cx="9144000" cy="7010400"/>
          </a:xfrm>
          <a:prstGeom prst="rect">
            <a:avLst/>
          </a:prstGeom>
          <a:noFill/>
          <a:ln w="9525">
            <a:noFill/>
            <a:miter lim="800000"/>
            <a:headEnd/>
            <a:tailEnd/>
          </a:ln>
        </p:spPr>
      </p:pic>
      <p:pic>
        <p:nvPicPr>
          <p:cNvPr id="10250" name="Picture 2" descr="http://down1.sucaitianxia.com/psd01/psd109/psds15334.jpg"/>
          <p:cNvPicPr>
            <a:picLocks noChangeAspect="1" noChangeArrowheads="1"/>
          </p:cNvPicPr>
          <p:nvPr userDrawn="1"/>
        </p:nvPicPr>
        <p:blipFill>
          <a:blip r:embed="rId19" cstate="print"/>
          <a:srcRect/>
          <a:stretch>
            <a:fillRect/>
          </a:stretch>
        </p:blipFill>
        <p:spPr bwMode="auto">
          <a:xfrm>
            <a:off x="0" y="0"/>
            <a:ext cx="9144000" cy="6858000"/>
          </a:xfrm>
          <a:prstGeom prst="rect">
            <a:avLst/>
          </a:prstGeom>
          <a:noFill/>
          <a:ln w="9525">
            <a:noFill/>
            <a:miter lim="800000"/>
            <a:headEnd/>
            <a:tailEnd/>
          </a:ln>
        </p:spPr>
      </p:pic>
    </p:spTree>
  </p:cSld>
  <p:clrMap bg1="dk2" tx1="lt1" bg2="dk1" tx2="lt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 id="2147483684" r:id="rId12"/>
    <p:sldLayoutId id="2147483685" r:id="rId13"/>
    <p:sldLayoutId id="2147483686" r:id="rId14"/>
    <p:sldLayoutId id="2147483687" r:id="rId15"/>
  </p:sldLayoutIdLst>
  <p:transition spd="slow">
    <p:plus/>
  </p:transition>
  <p:timing>
    <p:tnLst>
      <p:par>
        <p:cTn id="1" dur="indefinite" restart="never" nodeType="tmRoot"/>
      </p:par>
    </p:tnLst>
  </p:timing>
  <p:hf sldNum="0" hdr="0" ftr="0"/>
  <p:txStyles>
    <p:titleStyle>
      <a:lvl1pPr algn="ctr" rtl="0" eaLnBrk="0" fontAlgn="base" hangingPunct="0">
        <a:spcBef>
          <a:spcPct val="0"/>
        </a:spcBef>
        <a:spcAft>
          <a:spcPct val="0"/>
        </a:spcAft>
        <a:defRPr sz="4400" b="1">
          <a:solidFill>
            <a:schemeClr val="tx2"/>
          </a:solidFill>
          <a:effectLst>
            <a:outerShdw blurRad="38100" dist="38100" dir="2700000" algn="tl">
              <a:srgbClr val="000000"/>
            </a:outerShdw>
          </a:effectLst>
          <a:latin typeface="黑体" pitchFamily="49" charset="-122"/>
          <a:ea typeface="+mj-ea"/>
          <a:cs typeface="+mj-cs"/>
        </a:defRPr>
      </a:lvl1pPr>
      <a:lvl2pPr algn="ctr" rtl="0" eaLnBrk="0" fontAlgn="base" hangingPunct="0">
        <a:spcBef>
          <a:spcPct val="0"/>
        </a:spcBef>
        <a:spcAft>
          <a:spcPct val="0"/>
        </a:spcAft>
        <a:defRPr sz="4400" b="1">
          <a:solidFill>
            <a:schemeClr val="tx2"/>
          </a:solidFill>
          <a:effectLst>
            <a:outerShdw blurRad="38100" dist="38100" dir="2700000" algn="tl">
              <a:srgbClr val="000000"/>
            </a:outerShdw>
          </a:effectLst>
          <a:latin typeface="Times New Roman" pitchFamily="18" charset="0"/>
          <a:ea typeface="宋体" pitchFamily="2" charset="-122"/>
        </a:defRPr>
      </a:lvl2pPr>
      <a:lvl3pPr algn="ctr" rtl="0" eaLnBrk="0" fontAlgn="base" hangingPunct="0">
        <a:spcBef>
          <a:spcPct val="0"/>
        </a:spcBef>
        <a:spcAft>
          <a:spcPct val="0"/>
        </a:spcAft>
        <a:defRPr sz="4400" b="1">
          <a:solidFill>
            <a:schemeClr val="tx2"/>
          </a:solidFill>
          <a:effectLst>
            <a:outerShdw blurRad="38100" dist="38100" dir="2700000" algn="tl">
              <a:srgbClr val="000000"/>
            </a:outerShdw>
          </a:effectLst>
          <a:latin typeface="Times New Roman" pitchFamily="18" charset="0"/>
          <a:ea typeface="宋体" pitchFamily="2" charset="-122"/>
        </a:defRPr>
      </a:lvl3pPr>
      <a:lvl4pPr algn="ctr" rtl="0" eaLnBrk="0" fontAlgn="base" hangingPunct="0">
        <a:spcBef>
          <a:spcPct val="0"/>
        </a:spcBef>
        <a:spcAft>
          <a:spcPct val="0"/>
        </a:spcAft>
        <a:defRPr sz="4400" b="1">
          <a:solidFill>
            <a:schemeClr val="tx2"/>
          </a:solidFill>
          <a:effectLst>
            <a:outerShdw blurRad="38100" dist="38100" dir="2700000" algn="tl">
              <a:srgbClr val="000000"/>
            </a:outerShdw>
          </a:effectLst>
          <a:latin typeface="Times New Roman" pitchFamily="18" charset="0"/>
          <a:ea typeface="宋体" pitchFamily="2" charset="-122"/>
        </a:defRPr>
      </a:lvl4pPr>
      <a:lvl5pPr algn="ctr" rtl="0" eaLnBrk="0" fontAlgn="base" hangingPunct="0">
        <a:spcBef>
          <a:spcPct val="0"/>
        </a:spcBef>
        <a:spcAft>
          <a:spcPct val="0"/>
        </a:spcAft>
        <a:defRPr sz="4400" b="1">
          <a:solidFill>
            <a:schemeClr val="tx2"/>
          </a:solidFill>
          <a:effectLst>
            <a:outerShdw blurRad="38100" dist="38100" dir="2700000" algn="tl">
              <a:srgbClr val="000000"/>
            </a:outerShdw>
          </a:effectLst>
          <a:latin typeface="Times New Roman" pitchFamily="18" charset="0"/>
          <a:ea typeface="宋体" pitchFamily="2" charset="-122"/>
        </a:defRPr>
      </a:lvl5pPr>
      <a:lvl6pPr marL="456945" algn="ctr" rtl="0" fontAlgn="base">
        <a:spcBef>
          <a:spcPct val="0"/>
        </a:spcBef>
        <a:spcAft>
          <a:spcPct val="0"/>
        </a:spcAft>
        <a:defRPr sz="4400" b="1">
          <a:solidFill>
            <a:schemeClr val="tx2"/>
          </a:solidFill>
          <a:effectLst>
            <a:outerShdw blurRad="38100" dist="38100" dir="2700000" algn="tl">
              <a:srgbClr val="000000"/>
            </a:outerShdw>
          </a:effectLst>
          <a:latin typeface="Times New Roman" pitchFamily="18" charset="0"/>
          <a:ea typeface="宋体" pitchFamily="2" charset="-122"/>
        </a:defRPr>
      </a:lvl6pPr>
      <a:lvl7pPr marL="913890" algn="ctr" rtl="0" fontAlgn="base">
        <a:spcBef>
          <a:spcPct val="0"/>
        </a:spcBef>
        <a:spcAft>
          <a:spcPct val="0"/>
        </a:spcAft>
        <a:defRPr sz="4400" b="1">
          <a:solidFill>
            <a:schemeClr val="tx2"/>
          </a:solidFill>
          <a:effectLst>
            <a:outerShdw blurRad="38100" dist="38100" dir="2700000" algn="tl">
              <a:srgbClr val="000000"/>
            </a:outerShdw>
          </a:effectLst>
          <a:latin typeface="Times New Roman" pitchFamily="18" charset="0"/>
          <a:ea typeface="宋体" pitchFamily="2" charset="-122"/>
        </a:defRPr>
      </a:lvl7pPr>
      <a:lvl8pPr marL="1370836" algn="ctr" rtl="0" fontAlgn="base">
        <a:spcBef>
          <a:spcPct val="0"/>
        </a:spcBef>
        <a:spcAft>
          <a:spcPct val="0"/>
        </a:spcAft>
        <a:defRPr sz="4400" b="1">
          <a:solidFill>
            <a:schemeClr val="tx2"/>
          </a:solidFill>
          <a:effectLst>
            <a:outerShdw blurRad="38100" dist="38100" dir="2700000" algn="tl">
              <a:srgbClr val="000000"/>
            </a:outerShdw>
          </a:effectLst>
          <a:latin typeface="Times New Roman" pitchFamily="18" charset="0"/>
          <a:ea typeface="宋体" pitchFamily="2" charset="-122"/>
        </a:defRPr>
      </a:lvl8pPr>
      <a:lvl9pPr marL="1827781" algn="ctr" rtl="0" fontAlgn="base">
        <a:spcBef>
          <a:spcPct val="0"/>
        </a:spcBef>
        <a:spcAft>
          <a:spcPct val="0"/>
        </a:spcAft>
        <a:defRPr sz="4400" b="1">
          <a:solidFill>
            <a:schemeClr val="tx2"/>
          </a:solidFill>
          <a:effectLst>
            <a:outerShdw blurRad="38100" dist="38100" dir="2700000" algn="tl">
              <a:srgbClr val="000000"/>
            </a:outerShdw>
          </a:effectLst>
          <a:latin typeface="Times New Roman" pitchFamily="18" charset="0"/>
          <a:ea typeface="宋体" pitchFamily="2" charset="-122"/>
        </a:defRPr>
      </a:lvl9pPr>
    </p:titleStyle>
    <p:bodyStyle>
      <a:lvl1pPr marL="341313" indent="-341313" algn="l" rtl="0" eaLnBrk="0" fontAlgn="base" hangingPunct="0">
        <a:spcBef>
          <a:spcPct val="20000"/>
        </a:spcBef>
        <a:spcAft>
          <a:spcPct val="0"/>
        </a:spcAft>
        <a:buClr>
          <a:schemeClr val="hlink"/>
        </a:buClr>
        <a:buSzPct val="60000"/>
        <a:buFont typeface="Wingdings" pitchFamily="2" charset="2"/>
        <a:buChar char="n"/>
        <a:defRPr sz="3200">
          <a:solidFill>
            <a:srgbClr val="000000"/>
          </a:solidFill>
          <a:effectLst>
            <a:outerShdw blurRad="38100" dist="38100" dir="2700000" algn="tl">
              <a:srgbClr val="FFFFFF"/>
            </a:outerShdw>
          </a:effectLst>
          <a:latin typeface="黑体" pitchFamily="49" charset="-122"/>
          <a:ea typeface="+mn-ea"/>
          <a:cs typeface="+mn-cs"/>
        </a:defRPr>
      </a:lvl1pPr>
      <a:lvl2pPr marL="741363" indent="-284163" algn="l" rtl="0" eaLnBrk="0" fontAlgn="base" hangingPunct="0">
        <a:spcBef>
          <a:spcPct val="20000"/>
        </a:spcBef>
        <a:spcAft>
          <a:spcPct val="0"/>
        </a:spcAft>
        <a:buClr>
          <a:schemeClr val="tx2"/>
        </a:buClr>
        <a:buSzPct val="60000"/>
        <a:buFont typeface="Wingdings" pitchFamily="2" charset="2"/>
        <a:buChar char="n"/>
        <a:defRPr sz="2800">
          <a:solidFill>
            <a:srgbClr val="000000"/>
          </a:solidFill>
          <a:effectLst>
            <a:outerShdw blurRad="38100" dist="38100" dir="2700000" algn="tl">
              <a:srgbClr val="FFFFFF"/>
            </a:outerShdw>
          </a:effectLst>
          <a:latin typeface="黑体" pitchFamily="49" charset="-122"/>
          <a:ea typeface="+mn-ea"/>
        </a:defRPr>
      </a:lvl2pPr>
      <a:lvl3pPr marL="1141413" indent="-227013" algn="l" rtl="0" eaLnBrk="0" fontAlgn="base" hangingPunct="0">
        <a:spcBef>
          <a:spcPct val="20000"/>
        </a:spcBef>
        <a:spcAft>
          <a:spcPct val="0"/>
        </a:spcAft>
        <a:buClr>
          <a:schemeClr val="folHlink"/>
        </a:buClr>
        <a:buSzPct val="60000"/>
        <a:buFont typeface="Wingdings" pitchFamily="2" charset="2"/>
        <a:buChar char="n"/>
        <a:defRPr sz="2500">
          <a:solidFill>
            <a:schemeClr val="tx1"/>
          </a:solidFill>
          <a:effectLst>
            <a:outerShdw blurRad="38100" dist="38100" dir="2700000" algn="tl">
              <a:srgbClr val="000000"/>
            </a:outerShdw>
          </a:effectLst>
          <a:latin typeface="黑体" pitchFamily="49" charset="-122"/>
          <a:ea typeface="+mn-ea"/>
        </a:defRPr>
      </a:lvl3pPr>
      <a:lvl4pPr marL="1598613" indent="-227013" algn="l" rtl="0" eaLnBrk="0" fontAlgn="base" hangingPunct="0">
        <a:spcBef>
          <a:spcPct val="20000"/>
        </a:spcBef>
        <a:spcAft>
          <a:spcPct val="0"/>
        </a:spcAft>
        <a:buClr>
          <a:schemeClr val="tx1"/>
        </a:buClr>
        <a:buSzPct val="60000"/>
        <a:buFont typeface="Wingdings" pitchFamily="2" charset="2"/>
        <a:buChar char="n"/>
        <a:defRPr sz="2000">
          <a:solidFill>
            <a:schemeClr val="tx1"/>
          </a:solidFill>
          <a:effectLst>
            <a:outerShdw blurRad="38100" dist="38100" dir="2700000" algn="tl">
              <a:srgbClr val="000000"/>
            </a:outerShdw>
          </a:effectLst>
          <a:latin typeface="黑体" pitchFamily="49" charset="-122"/>
          <a:ea typeface="+mn-ea"/>
        </a:defRPr>
      </a:lvl4pPr>
      <a:lvl5pPr marL="2055813" indent="-227013" algn="l" rtl="0" eaLnBrk="0" fontAlgn="base" hangingPunct="0">
        <a:spcBef>
          <a:spcPct val="20000"/>
        </a:spcBef>
        <a:spcAft>
          <a:spcPct val="0"/>
        </a:spcAft>
        <a:buClr>
          <a:schemeClr val="hlink"/>
        </a:buClr>
        <a:buSzPct val="60000"/>
        <a:buFont typeface="Wingdings" pitchFamily="2" charset="2"/>
        <a:buChar char="n"/>
        <a:defRPr sz="2000">
          <a:solidFill>
            <a:schemeClr val="tx1"/>
          </a:solidFill>
          <a:effectLst>
            <a:outerShdw blurRad="38100" dist="38100" dir="2700000" algn="tl">
              <a:srgbClr val="000000"/>
            </a:outerShdw>
          </a:effectLst>
          <a:latin typeface="黑体" pitchFamily="49" charset="-122"/>
          <a:ea typeface="+mn-ea"/>
        </a:defRPr>
      </a:lvl5pPr>
      <a:lvl6pPr marL="2513199" indent="-228472" algn="l" rtl="0" fontAlgn="base">
        <a:spcBef>
          <a:spcPct val="20000"/>
        </a:spcBef>
        <a:spcAft>
          <a:spcPct val="0"/>
        </a:spcAft>
        <a:buClr>
          <a:schemeClr val="hlink"/>
        </a:buClr>
        <a:buSzPct val="60000"/>
        <a:buFont typeface="Wingdings" pitchFamily="2" charset="2"/>
        <a:buChar char="n"/>
        <a:defRPr sz="2000">
          <a:solidFill>
            <a:schemeClr val="tx1"/>
          </a:solidFill>
          <a:effectLst>
            <a:outerShdw blurRad="38100" dist="38100" dir="2700000" algn="tl">
              <a:srgbClr val="000000"/>
            </a:outerShdw>
          </a:effectLst>
          <a:latin typeface="+mn-lt"/>
          <a:ea typeface="+mn-ea"/>
        </a:defRPr>
      </a:lvl6pPr>
      <a:lvl7pPr marL="2970143" indent="-228472" algn="l" rtl="0" fontAlgn="base">
        <a:spcBef>
          <a:spcPct val="20000"/>
        </a:spcBef>
        <a:spcAft>
          <a:spcPct val="0"/>
        </a:spcAft>
        <a:buClr>
          <a:schemeClr val="hlink"/>
        </a:buClr>
        <a:buSzPct val="60000"/>
        <a:buFont typeface="Wingdings" pitchFamily="2" charset="2"/>
        <a:buChar char="n"/>
        <a:defRPr sz="2000">
          <a:solidFill>
            <a:schemeClr val="tx1"/>
          </a:solidFill>
          <a:effectLst>
            <a:outerShdw blurRad="38100" dist="38100" dir="2700000" algn="tl">
              <a:srgbClr val="000000"/>
            </a:outerShdw>
          </a:effectLst>
          <a:latin typeface="+mn-lt"/>
          <a:ea typeface="+mn-ea"/>
        </a:defRPr>
      </a:lvl7pPr>
      <a:lvl8pPr marL="3427088" indent="-228472" algn="l" rtl="0" fontAlgn="base">
        <a:spcBef>
          <a:spcPct val="20000"/>
        </a:spcBef>
        <a:spcAft>
          <a:spcPct val="0"/>
        </a:spcAft>
        <a:buClr>
          <a:schemeClr val="hlink"/>
        </a:buClr>
        <a:buSzPct val="60000"/>
        <a:buFont typeface="Wingdings" pitchFamily="2" charset="2"/>
        <a:buChar char="n"/>
        <a:defRPr sz="2000">
          <a:solidFill>
            <a:schemeClr val="tx1"/>
          </a:solidFill>
          <a:effectLst>
            <a:outerShdw blurRad="38100" dist="38100" dir="2700000" algn="tl">
              <a:srgbClr val="000000"/>
            </a:outerShdw>
          </a:effectLst>
          <a:latin typeface="+mn-lt"/>
          <a:ea typeface="+mn-ea"/>
        </a:defRPr>
      </a:lvl8pPr>
      <a:lvl9pPr marL="3884034" indent="-228472" algn="l" rtl="0" fontAlgn="base">
        <a:spcBef>
          <a:spcPct val="20000"/>
        </a:spcBef>
        <a:spcAft>
          <a:spcPct val="0"/>
        </a:spcAft>
        <a:buClr>
          <a:schemeClr val="hlink"/>
        </a:buClr>
        <a:buSzPct val="60000"/>
        <a:buFont typeface="Wingdings" pitchFamily="2" charset="2"/>
        <a:buChar char="n"/>
        <a:defRPr sz="2000">
          <a:solidFill>
            <a:schemeClr val="tx1"/>
          </a:solidFill>
          <a:effectLst>
            <a:outerShdw blurRad="38100" dist="38100" dir="2700000" algn="tl">
              <a:srgbClr val="000000"/>
            </a:outerShdw>
          </a:effectLst>
          <a:latin typeface="+mn-lt"/>
          <a:ea typeface="+mn-ea"/>
        </a:defRPr>
      </a:lvl9pPr>
    </p:bodyStyle>
    <p:otherStyle>
      <a:defPPr>
        <a:defRPr lang="zh-CN"/>
      </a:defPPr>
      <a:lvl1pPr marL="0" algn="l" defTabSz="913890" rtl="0" eaLnBrk="1" latinLnBrk="0" hangingPunct="1">
        <a:defRPr sz="1800" kern="1200">
          <a:solidFill>
            <a:schemeClr val="tx1"/>
          </a:solidFill>
          <a:latin typeface="+mn-lt"/>
          <a:ea typeface="+mn-ea"/>
          <a:cs typeface="+mn-cs"/>
        </a:defRPr>
      </a:lvl1pPr>
      <a:lvl2pPr marL="456945" algn="l" defTabSz="913890" rtl="0" eaLnBrk="1" latinLnBrk="0" hangingPunct="1">
        <a:defRPr sz="1800" kern="1200">
          <a:solidFill>
            <a:schemeClr val="tx1"/>
          </a:solidFill>
          <a:latin typeface="+mn-lt"/>
          <a:ea typeface="+mn-ea"/>
          <a:cs typeface="+mn-cs"/>
        </a:defRPr>
      </a:lvl2pPr>
      <a:lvl3pPr marL="913890" algn="l" defTabSz="913890" rtl="0" eaLnBrk="1" latinLnBrk="0" hangingPunct="1">
        <a:defRPr sz="1800" kern="1200">
          <a:solidFill>
            <a:schemeClr val="tx1"/>
          </a:solidFill>
          <a:latin typeface="+mn-lt"/>
          <a:ea typeface="+mn-ea"/>
          <a:cs typeface="+mn-cs"/>
        </a:defRPr>
      </a:lvl3pPr>
      <a:lvl4pPr marL="1370836" algn="l" defTabSz="913890" rtl="0" eaLnBrk="1" latinLnBrk="0" hangingPunct="1">
        <a:defRPr sz="1800" kern="1200">
          <a:solidFill>
            <a:schemeClr val="tx1"/>
          </a:solidFill>
          <a:latin typeface="+mn-lt"/>
          <a:ea typeface="+mn-ea"/>
          <a:cs typeface="+mn-cs"/>
        </a:defRPr>
      </a:lvl4pPr>
      <a:lvl5pPr marL="1827781" algn="l" defTabSz="913890" rtl="0" eaLnBrk="1" latinLnBrk="0" hangingPunct="1">
        <a:defRPr sz="1800" kern="1200">
          <a:solidFill>
            <a:schemeClr val="tx1"/>
          </a:solidFill>
          <a:latin typeface="+mn-lt"/>
          <a:ea typeface="+mn-ea"/>
          <a:cs typeface="+mn-cs"/>
        </a:defRPr>
      </a:lvl5pPr>
      <a:lvl6pPr marL="2284726" algn="l" defTabSz="913890" rtl="0" eaLnBrk="1" latinLnBrk="0" hangingPunct="1">
        <a:defRPr sz="1800" kern="1200">
          <a:solidFill>
            <a:schemeClr val="tx1"/>
          </a:solidFill>
          <a:latin typeface="+mn-lt"/>
          <a:ea typeface="+mn-ea"/>
          <a:cs typeface="+mn-cs"/>
        </a:defRPr>
      </a:lvl6pPr>
      <a:lvl7pPr marL="2741672" algn="l" defTabSz="913890" rtl="0" eaLnBrk="1" latinLnBrk="0" hangingPunct="1">
        <a:defRPr sz="1800" kern="1200">
          <a:solidFill>
            <a:schemeClr val="tx1"/>
          </a:solidFill>
          <a:latin typeface="+mn-lt"/>
          <a:ea typeface="+mn-ea"/>
          <a:cs typeface="+mn-cs"/>
        </a:defRPr>
      </a:lvl7pPr>
      <a:lvl8pPr marL="3198616" algn="l" defTabSz="913890" rtl="0" eaLnBrk="1" latinLnBrk="0" hangingPunct="1">
        <a:defRPr sz="1800" kern="1200">
          <a:solidFill>
            <a:schemeClr val="tx1"/>
          </a:solidFill>
          <a:latin typeface="+mn-lt"/>
          <a:ea typeface="+mn-ea"/>
          <a:cs typeface="+mn-cs"/>
        </a:defRPr>
      </a:lvl8pPr>
      <a:lvl9pPr marL="3655563" algn="l" defTabSz="91389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4338" name="标题占位符 1"/>
          <p:cNvSpPr>
            <a:spLocks noGrp="1"/>
          </p:cNvSpPr>
          <p:nvPr>
            <p:ph type="title"/>
          </p:nvPr>
        </p:nvSpPr>
        <p:spPr bwMode="auto">
          <a:xfrm>
            <a:off x="457200" y="274638"/>
            <a:ext cx="8229600" cy="1143000"/>
          </a:xfrm>
          <a:prstGeom prst="rect">
            <a:avLst/>
          </a:prstGeom>
          <a:noFill/>
          <a:ln w="9525">
            <a:noFill/>
            <a:miter lim="800000"/>
            <a:headEnd/>
            <a:tailEnd/>
          </a:ln>
        </p:spPr>
        <p:txBody>
          <a:bodyPr vert="horz" wrap="square" lIns="91389" tIns="45694" rIns="91389" bIns="45694" numCol="1" anchor="ctr" anchorCtr="0" compatLnSpc="1">
            <a:prstTxWarp prst="textNoShape">
              <a:avLst/>
            </a:prstTxWarp>
          </a:bodyPr>
          <a:lstStyle/>
          <a:p>
            <a:pPr lvl="0"/>
            <a:r>
              <a:rPr lang="zh-CN" altLang="en-US" smtClean="0"/>
              <a:t>单击此处编辑母版标题样式</a:t>
            </a:r>
          </a:p>
        </p:txBody>
      </p:sp>
      <p:sp>
        <p:nvSpPr>
          <p:cNvPr id="14339" name="文本占位符 2"/>
          <p:cNvSpPr>
            <a:spLocks noGrp="1"/>
          </p:cNvSpPr>
          <p:nvPr>
            <p:ph type="body" idx="1"/>
          </p:nvPr>
        </p:nvSpPr>
        <p:spPr bwMode="auto">
          <a:xfrm>
            <a:off x="457200" y="1600200"/>
            <a:ext cx="8229600" cy="4525963"/>
          </a:xfrm>
          <a:prstGeom prst="rect">
            <a:avLst/>
          </a:prstGeom>
          <a:noFill/>
          <a:ln w="9525">
            <a:noFill/>
            <a:miter lim="800000"/>
            <a:headEnd/>
            <a:tailEnd/>
          </a:ln>
        </p:spPr>
        <p:txBody>
          <a:bodyPr vert="horz" wrap="square" lIns="91389" tIns="45694" rIns="91389" bIns="45694" numCol="1" anchor="t" anchorCtr="0" compatLnSpc="1">
            <a:prstTxWarp prst="textNoShape">
              <a:avLst/>
            </a:prstTxWarp>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p>
        </p:txBody>
      </p:sp>
      <p:sp>
        <p:nvSpPr>
          <p:cNvPr id="4" name="日期占位符 3"/>
          <p:cNvSpPr>
            <a:spLocks noGrp="1"/>
          </p:cNvSpPr>
          <p:nvPr>
            <p:ph type="dt" sz="half" idx="2"/>
          </p:nvPr>
        </p:nvSpPr>
        <p:spPr>
          <a:xfrm>
            <a:off x="457200" y="6356350"/>
            <a:ext cx="2133600" cy="365125"/>
          </a:xfrm>
          <a:prstGeom prst="rect">
            <a:avLst/>
          </a:prstGeom>
        </p:spPr>
        <p:txBody>
          <a:bodyPr vert="horz" lIns="91389" tIns="45694" rIns="91389" bIns="45694" rtlCol="0" anchor="ctr"/>
          <a:lstStyle>
            <a:lvl1pPr algn="l" fontAlgn="auto">
              <a:spcBef>
                <a:spcPts val="0"/>
              </a:spcBef>
              <a:spcAft>
                <a:spcPts val="0"/>
              </a:spcAft>
              <a:defRPr sz="1200">
                <a:solidFill>
                  <a:prstClr val="black">
                    <a:tint val="75000"/>
                  </a:prstClr>
                </a:solidFill>
                <a:latin typeface="Calibri"/>
              </a:defRPr>
            </a:lvl1pPr>
          </a:lstStyle>
          <a:p>
            <a:pPr>
              <a:defRPr/>
            </a:pPr>
            <a:fld id="{6239701F-FB93-4F65-9300-B2D9A0066AC0}" type="datetimeFigureOut">
              <a:rPr lang="zh-CN" altLang="en-US">
                <a:effectLst>
                  <a:outerShdw blurRad="38100" dist="38100" dir="2700000" algn="tl">
                    <a:srgbClr val="000000">
                      <a:alpha val="43137"/>
                    </a:srgbClr>
                  </a:outerShdw>
                </a:effectLst>
              </a:rPr>
              <a:pPr>
                <a:defRPr/>
              </a:pPr>
              <a:t>2017/12/7</a:t>
            </a:fld>
            <a:endParaRPr lang="zh-CN" altLang="en-US">
              <a:effectLst>
                <a:outerShdw blurRad="38100" dist="38100" dir="2700000" algn="tl">
                  <a:srgbClr val="000000">
                    <a:alpha val="43137"/>
                  </a:srgbClr>
                </a:outerShdw>
              </a:effectLst>
            </a:endParaRPr>
          </a:p>
        </p:txBody>
      </p:sp>
      <p:sp>
        <p:nvSpPr>
          <p:cNvPr id="5" name="页脚占位符 4"/>
          <p:cNvSpPr>
            <a:spLocks noGrp="1"/>
          </p:cNvSpPr>
          <p:nvPr>
            <p:ph type="ftr" sz="quarter" idx="3"/>
          </p:nvPr>
        </p:nvSpPr>
        <p:spPr>
          <a:xfrm>
            <a:off x="3124200" y="6356350"/>
            <a:ext cx="2895600" cy="365125"/>
          </a:xfrm>
          <a:prstGeom prst="rect">
            <a:avLst/>
          </a:prstGeom>
        </p:spPr>
        <p:txBody>
          <a:bodyPr vert="horz" lIns="91389" tIns="45694" rIns="91389" bIns="45694" rtlCol="0" anchor="ctr"/>
          <a:lstStyle>
            <a:lvl1pPr algn="ctr" fontAlgn="auto">
              <a:spcBef>
                <a:spcPts val="0"/>
              </a:spcBef>
              <a:spcAft>
                <a:spcPts val="0"/>
              </a:spcAft>
              <a:defRPr sz="1200">
                <a:solidFill>
                  <a:prstClr val="black">
                    <a:tint val="75000"/>
                  </a:prstClr>
                </a:solidFill>
                <a:latin typeface="Calibri"/>
              </a:defRPr>
            </a:lvl1pPr>
          </a:lstStyle>
          <a:p>
            <a:pPr>
              <a:defRPr/>
            </a:pPr>
            <a:endParaRPr lang="zh-CN" altLang="en-US">
              <a:effectLst>
                <a:outerShdw blurRad="38100" dist="38100" dir="2700000" algn="tl">
                  <a:srgbClr val="000000">
                    <a:alpha val="43137"/>
                  </a:srgbClr>
                </a:outerShdw>
              </a:effectLst>
            </a:endParaRPr>
          </a:p>
        </p:txBody>
      </p:sp>
      <p:sp>
        <p:nvSpPr>
          <p:cNvPr id="6" name="灯片编号占位符 5"/>
          <p:cNvSpPr>
            <a:spLocks noGrp="1"/>
          </p:cNvSpPr>
          <p:nvPr>
            <p:ph type="sldNum" sz="quarter" idx="4"/>
          </p:nvPr>
        </p:nvSpPr>
        <p:spPr>
          <a:xfrm>
            <a:off x="6553200" y="6356350"/>
            <a:ext cx="2133600" cy="365125"/>
          </a:xfrm>
          <a:prstGeom prst="rect">
            <a:avLst/>
          </a:prstGeom>
        </p:spPr>
        <p:txBody>
          <a:bodyPr vert="horz" lIns="91389" tIns="45694" rIns="91389" bIns="45694" rtlCol="0" anchor="ctr"/>
          <a:lstStyle>
            <a:lvl1pPr algn="r" fontAlgn="auto">
              <a:spcBef>
                <a:spcPts val="0"/>
              </a:spcBef>
              <a:spcAft>
                <a:spcPts val="0"/>
              </a:spcAft>
              <a:defRPr sz="1200">
                <a:solidFill>
                  <a:prstClr val="black">
                    <a:tint val="75000"/>
                  </a:prstClr>
                </a:solidFill>
                <a:latin typeface="Calibri"/>
              </a:defRPr>
            </a:lvl1pPr>
          </a:lstStyle>
          <a:p>
            <a:pPr>
              <a:defRPr/>
            </a:pPr>
            <a:fld id="{A9FF6D49-24AE-4FAF-B28B-8147F8ABD394}" type="slidenum">
              <a:rPr lang="zh-CN" altLang="en-US">
                <a:effectLst>
                  <a:outerShdw blurRad="38100" dist="38100" dir="2700000" algn="tl">
                    <a:srgbClr val="000000">
                      <a:alpha val="43137"/>
                    </a:srgbClr>
                  </a:outerShdw>
                </a:effectLst>
              </a:rPr>
              <a:pPr>
                <a:defRPr/>
              </a:pPr>
              <a:t>‹#›</a:t>
            </a:fld>
            <a:endParaRPr lang="zh-CN" altLang="en-US">
              <a:effectLst>
                <a:outerShdw blurRad="38100" dist="38100" dir="2700000" algn="tl">
                  <a:srgbClr val="000000">
                    <a:alpha val="43137"/>
                  </a:srgbClr>
                </a:outerShdw>
              </a:effectLst>
            </a:endParaRPr>
          </a:p>
        </p:txBody>
      </p:sp>
    </p:spTree>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5" r:id="rId7"/>
    <p:sldLayoutId id="2147483696" r:id="rId8"/>
    <p:sldLayoutId id="2147483697" r:id="rId9"/>
    <p:sldLayoutId id="2147483698" r:id="rId10"/>
    <p:sldLayoutId id="2147483699" r:id="rId11"/>
    <p:sldLayoutId id="2147483700" r:id="rId12"/>
    <p:sldLayoutId id="2147483701" r:id="rId13"/>
    <p:sldLayoutId id="2147483702" r:id="rId14"/>
    <p:sldLayoutId id="2147483703" r:id="rId15"/>
    <p:sldLayoutId id="2147483704" r:id="rId16"/>
    <p:sldLayoutId id="2147483705" r:id="rId17"/>
    <p:sldLayoutId id="2147483706" r:id="rId18"/>
  </p:sldLayoutIdLst>
  <p:txStyles>
    <p:title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ea typeface="宋体" pitchFamily="2" charset="-122"/>
        </a:defRPr>
      </a:lvl2pPr>
      <a:lvl3pPr algn="ctr" rtl="0" eaLnBrk="0" fontAlgn="base" hangingPunct="0">
        <a:spcBef>
          <a:spcPct val="0"/>
        </a:spcBef>
        <a:spcAft>
          <a:spcPct val="0"/>
        </a:spcAft>
        <a:defRPr sz="4400">
          <a:solidFill>
            <a:schemeClr val="tx1"/>
          </a:solidFill>
          <a:latin typeface="Calibri" pitchFamily="34" charset="0"/>
          <a:ea typeface="宋体" pitchFamily="2" charset="-122"/>
        </a:defRPr>
      </a:lvl3pPr>
      <a:lvl4pPr algn="ctr" rtl="0" eaLnBrk="0" fontAlgn="base" hangingPunct="0">
        <a:spcBef>
          <a:spcPct val="0"/>
        </a:spcBef>
        <a:spcAft>
          <a:spcPct val="0"/>
        </a:spcAft>
        <a:defRPr sz="4400">
          <a:solidFill>
            <a:schemeClr val="tx1"/>
          </a:solidFill>
          <a:latin typeface="Calibri" pitchFamily="34" charset="0"/>
          <a:ea typeface="宋体" pitchFamily="2" charset="-122"/>
        </a:defRPr>
      </a:lvl4pPr>
      <a:lvl5pPr algn="ctr" rtl="0" eaLnBrk="0" fontAlgn="base" hangingPunct="0">
        <a:spcBef>
          <a:spcPct val="0"/>
        </a:spcBef>
        <a:spcAft>
          <a:spcPct val="0"/>
        </a:spcAft>
        <a:defRPr sz="4400">
          <a:solidFill>
            <a:schemeClr val="tx1"/>
          </a:solidFill>
          <a:latin typeface="Calibri" pitchFamily="34" charset="0"/>
          <a:ea typeface="宋体" pitchFamily="2" charset="-122"/>
        </a:defRPr>
      </a:lvl5pPr>
      <a:lvl6pPr marL="456945" algn="ctr" rtl="0" fontAlgn="base">
        <a:spcBef>
          <a:spcPct val="0"/>
        </a:spcBef>
        <a:spcAft>
          <a:spcPct val="0"/>
        </a:spcAft>
        <a:defRPr sz="4400">
          <a:solidFill>
            <a:schemeClr val="tx1"/>
          </a:solidFill>
          <a:latin typeface="Calibri" pitchFamily="34" charset="0"/>
          <a:ea typeface="宋体" pitchFamily="2" charset="-122"/>
        </a:defRPr>
      </a:lvl6pPr>
      <a:lvl7pPr marL="913890" algn="ctr" rtl="0" fontAlgn="base">
        <a:spcBef>
          <a:spcPct val="0"/>
        </a:spcBef>
        <a:spcAft>
          <a:spcPct val="0"/>
        </a:spcAft>
        <a:defRPr sz="4400">
          <a:solidFill>
            <a:schemeClr val="tx1"/>
          </a:solidFill>
          <a:latin typeface="Calibri" pitchFamily="34" charset="0"/>
          <a:ea typeface="宋体" pitchFamily="2" charset="-122"/>
        </a:defRPr>
      </a:lvl7pPr>
      <a:lvl8pPr marL="1370836" algn="ctr" rtl="0" fontAlgn="base">
        <a:spcBef>
          <a:spcPct val="0"/>
        </a:spcBef>
        <a:spcAft>
          <a:spcPct val="0"/>
        </a:spcAft>
        <a:defRPr sz="4400">
          <a:solidFill>
            <a:schemeClr val="tx1"/>
          </a:solidFill>
          <a:latin typeface="Calibri" pitchFamily="34" charset="0"/>
          <a:ea typeface="宋体" pitchFamily="2" charset="-122"/>
        </a:defRPr>
      </a:lvl8pPr>
      <a:lvl9pPr marL="1827781" algn="ctr" rtl="0" fontAlgn="base">
        <a:spcBef>
          <a:spcPct val="0"/>
        </a:spcBef>
        <a:spcAft>
          <a:spcPct val="0"/>
        </a:spcAft>
        <a:defRPr sz="4400">
          <a:solidFill>
            <a:schemeClr val="tx1"/>
          </a:solidFill>
          <a:latin typeface="Calibri" pitchFamily="34" charset="0"/>
          <a:ea typeface="宋体" pitchFamily="2" charset="-122"/>
        </a:defRPr>
      </a:lvl9pPr>
    </p:titleStyle>
    <p:bodyStyle>
      <a:lvl1pPr marL="341313" indent="-341313" algn="l" rtl="0" eaLnBrk="0" fontAlgn="base" hangingPunct="0">
        <a:spcBef>
          <a:spcPct val="20000"/>
        </a:spcBef>
        <a:spcAft>
          <a:spcPct val="0"/>
        </a:spcAft>
        <a:buFont typeface="Arial" pitchFamily="34" charset="0"/>
        <a:buChar char="•"/>
        <a:defRPr sz="3200" kern="1200">
          <a:solidFill>
            <a:schemeClr val="tx1"/>
          </a:solidFill>
          <a:latin typeface="+mn-lt"/>
          <a:ea typeface="+mn-ea"/>
          <a:cs typeface="+mn-cs"/>
        </a:defRPr>
      </a:lvl1pPr>
      <a:lvl2pPr marL="741363" indent="-284163" algn="l" rtl="0" eaLnBrk="0" fontAlgn="base" hangingPunct="0">
        <a:spcBef>
          <a:spcPct val="20000"/>
        </a:spcBef>
        <a:spcAft>
          <a:spcPct val="0"/>
        </a:spcAft>
        <a:buFont typeface="Arial" pitchFamily="34" charset="0"/>
        <a:buChar char="–"/>
        <a:defRPr sz="2800" kern="1200">
          <a:solidFill>
            <a:schemeClr val="tx1"/>
          </a:solidFill>
          <a:latin typeface="+mn-lt"/>
          <a:ea typeface="+mn-ea"/>
          <a:cs typeface="+mn-cs"/>
        </a:defRPr>
      </a:lvl2pPr>
      <a:lvl3pPr marL="1141413" indent="-227013" algn="l" rtl="0" eaLnBrk="0" fontAlgn="base" hangingPunct="0">
        <a:spcBef>
          <a:spcPct val="20000"/>
        </a:spcBef>
        <a:spcAft>
          <a:spcPct val="0"/>
        </a:spcAft>
        <a:buFont typeface="Arial" pitchFamily="34" charset="0"/>
        <a:buChar char="•"/>
        <a:defRPr sz="2500" kern="1200">
          <a:solidFill>
            <a:schemeClr val="tx1"/>
          </a:solidFill>
          <a:latin typeface="+mn-lt"/>
          <a:ea typeface="+mn-ea"/>
          <a:cs typeface="+mn-cs"/>
        </a:defRPr>
      </a:lvl3pPr>
      <a:lvl4pPr marL="1598613" indent="-227013" algn="l" rtl="0" eaLnBrk="0" fontAlgn="base" hangingPunct="0">
        <a:spcBef>
          <a:spcPct val="20000"/>
        </a:spcBef>
        <a:spcAft>
          <a:spcPct val="0"/>
        </a:spcAft>
        <a:buFont typeface="Arial" pitchFamily="34" charset="0"/>
        <a:buChar char="–"/>
        <a:defRPr sz="2000" kern="1200">
          <a:solidFill>
            <a:schemeClr val="tx1"/>
          </a:solidFill>
          <a:latin typeface="+mn-lt"/>
          <a:ea typeface="+mn-ea"/>
          <a:cs typeface="+mn-cs"/>
        </a:defRPr>
      </a:lvl4pPr>
      <a:lvl5pPr marL="2055813" indent="-227013" algn="l" rtl="0" eaLnBrk="0" fontAlgn="base" hangingPunct="0">
        <a:spcBef>
          <a:spcPct val="20000"/>
        </a:spcBef>
        <a:spcAft>
          <a:spcPct val="0"/>
        </a:spcAft>
        <a:buFont typeface="Arial" pitchFamily="34" charset="0"/>
        <a:buChar char="»"/>
        <a:defRPr sz="2000" kern="1200">
          <a:solidFill>
            <a:schemeClr val="tx1"/>
          </a:solidFill>
          <a:latin typeface="+mn-lt"/>
          <a:ea typeface="+mn-ea"/>
          <a:cs typeface="+mn-cs"/>
        </a:defRPr>
      </a:lvl5pPr>
      <a:lvl6pPr marL="2513199" indent="-228472" algn="l" defTabSz="91389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143" indent="-228472" algn="l" defTabSz="91389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088" indent="-228472" algn="l" defTabSz="91389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4034" indent="-228472" algn="l" defTabSz="91389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zh-CN"/>
      </a:defPPr>
      <a:lvl1pPr marL="0" algn="l" defTabSz="913890" rtl="0" eaLnBrk="1" latinLnBrk="0" hangingPunct="1">
        <a:defRPr sz="1800" kern="1200">
          <a:solidFill>
            <a:schemeClr val="tx1"/>
          </a:solidFill>
          <a:latin typeface="+mn-lt"/>
          <a:ea typeface="+mn-ea"/>
          <a:cs typeface="+mn-cs"/>
        </a:defRPr>
      </a:lvl1pPr>
      <a:lvl2pPr marL="456945" algn="l" defTabSz="913890" rtl="0" eaLnBrk="1" latinLnBrk="0" hangingPunct="1">
        <a:defRPr sz="1800" kern="1200">
          <a:solidFill>
            <a:schemeClr val="tx1"/>
          </a:solidFill>
          <a:latin typeface="+mn-lt"/>
          <a:ea typeface="+mn-ea"/>
          <a:cs typeface="+mn-cs"/>
        </a:defRPr>
      </a:lvl2pPr>
      <a:lvl3pPr marL="913890" algn="l" defTabSz="913890" rtl="0" eaLnBrk="1" latinLnBrk="0" hangingPunct="1">
        <a:defRPr sz="1800" kern="1200">
          <a:solidFill>
            <a:schemeClr val="tx1"/>
          </a:solidFill>
          <a:latin typeface="+mn-lt"/>
          <a:ea typeface="+mn-ea"/>
          <a:cs typeface="+mn-cs"/>
        </a:defRPr>
      </a:lvl3pPr>
      <a:lvl4pPr marL="1370836" algn="l" defTabSz="913890" rtl="0" eaLnBrk="1" latinLnBrk="0" hangingPunct="1">
        <a:defRPr sz="1800" kern="1200">
          <a:solidFill>
            <a:schemeClr val="tx1"/>
          </a:solidFill>
          <a:latin typeface="+mn-lt"/>
          <a:ea typeface="+mn-ea"/>
          <a:cs typeface="+mn-cs"/>
        </a:defRPr>
      </a:lvl4pPr>
      <a:lvl5pPr marL="1827781" algn="l" defTabSz="913890" rtl="0" eaLnBrk="1" latinLnBrk="0" hangingPunct="1">
        <a:defRPr sz="1800" kern="1200">
          <a:solidFill>
            <a:schemeClr val="tx1"/>
          </a:solidFill>
          <a:latin typeface="+mn-lt"/>
          <a:ea typeface="+mn-ea"/>
          <a:cs typeface="+mn-cs"/>
        </a:defRPr>
      </a:lvl5pPr>
      <a:lvl6pPr marL="2284726" algn="l" defTabSz="913890" rtl="0" eaLnBrk="1" latinLnBrk="0" hangingPunct="1">
        <a:defRPr sz="1800" kern="1200">
          <a:solidFill>
            <a:schemeClr val="tx1"/>
          </a:solidFill>
          <a:latin typeface="+mn-lt"/>
          <a:ea typeface="+mn-ea"/>
          <a:cs typeface="+mn-cs"/>
        </a:defRPr>
      </a:lvl6pPr>
      <a:lvl7pPr marL="2741672" algn="l" defTabSz="913890" rtl="0" eaLnBrk="1" latinLnBrk="0" hangingPunct="1">
        <a:defRPr sz="1800" kern="1200">
          <a:solidFill>
            <a:schemeClr val="tx1"/>
          </a:solidFill>
          <a:latin typeface="+mn-lt"/>
          <a:ea typeface="+mn-ea"/>
          <a:cs typeface="+mn-cs"/>
        </a:defRPr>
      </a:lvl7pPr>
      <a:lvl8pPr marL="3198616" algn="l" defTabSz="913890" rtl="0" eaLnBrk="1" latinLnBrk="0" hangingPunct="1">
        <a:defRPr sz="1800" kern="1200">
          <a:solidFill>
            <a:schemeClr val="tx1"/>
          </a:solidFill>
          <a:latin typeface="+mn-lt"/>
          <a:ea typeface="+mn-ea"/>
          <a:cs typeface="+mn-cs"/>
        </a:defRPr>
      </a:lvl8pPr>
      <a:lvl9pPr marL="3655563" algn="l" defTabSz="91389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50840" name="Freeform 312"/>
          <p:cNvSpPr>
            <a:spLocks/>
          </p:cNvSpPr>
          <p:nvPr/>
        </p:nvSpPr>
        <p:spPr bwMode="gray">
          <a:xfrm>
            <a:off x="-9525" y="-9525"/>
            <a:ext cx="9172575" cy="887413"/>
          </a:xfrm>
          <a:custGeom>
            <a:avLst/>
            <a:gdLst/>
            <a:ahLst/>
            <a:cxnLst>
              <a:cxn ang="0">
                <a:pos x="0" y="565"/>
              </a:cxn>
              <a:cxn ang="0">
                <a:pos x="0" y="0"/>
              </a:cxn>
              <a:cxn ang="0">
                <a:pos x="5766" y="0"/>
              </a:cxn>
              <a:cxn ang="0">
                <a:pos x="5778" y="565"/>
              </a:cxn>
              <a:cxn ang="0">
                <a:pos x="0" y="565"/>
              </a:cxn>
            </a:cxnLst>
            <a:rect l="0" t="0" r="r" b="b"/>
            <a:pathLst>
              <a:path w="5778" h="565">
                <a:moveTo>
                  <a:pt x="0" y="565"/>
                </a:moveTo>
                <a:lnTo>
                  <a:pt x="0" y="0"/>
                </a:lnTo>
                <a:lnTo>
                  <a:pt x="5766" y="0"/>
                </a:lnTo>
                <a:lnTo>
                  <a:pt x="5778" y="565"/>
                </a:lnTo>
                <a:lnTo>
                  <a:pt x="0" y="565"/>
                </a:lnTo>
                <a:close/>
              </a:path>
            </a:pathLst>
          </a:custGeom>
          <a:gradFill rotWithShape="1">
            <a:gsLst>
              <a:gs pos="0">
                <a:schemeClr val="accent1"/>
              </a:gs>
              <a:gs pos="100000">
                <a:schemeClr val="accent2"/>
              </a:gs>
            </a:gsLst>
            <a:lin ang="5400000" scaled="1"/>
          </a:gradFill>
          <a:ln w="9525" cap="flat" cmpd="sng">
            <a:noFill/>
            <a:prstDash val="solid"/>
            <a:round/>
            <a:headEnd/>
            <a:tailEnd/>
          </a:ln>
          <a:effectLst/>
        </p:spPr>
        <p:txBody>
          <a:bodyPr wrap="none" lIns="91389" tIns="45694" rIns="91389" bIns="45694" anchor="ctr"/>
          <a:lstStyle/>
          <a:p>
            <a:pPr eaLnBrk="0" fontAlgn="base" hangingPunct="0">
              <a:spcBef>
                <a:spcPct val="0"/>
              </a:spcBef>
              <a:spcAft>
                <a:spcPct val="0"/>
              </a:spcAft>
              <a:buSzPct val="100000"/>
              <a:buFont typeface="Times New Roman" pitchFamily="18" charset="0"/>
              <a:buNone/>
              <a:defRPr/>
            </a:pPr>
            <a:endParaRPr lang="zh-CN" altLang="en-US" sz="3600" dirty="0">
              <a:solidFill>
                <a:srgbClr val="1C1C1C"/>
              </a:solidFill>
              <a:effectLst>
                <a:outerShdw blurRad="38100" dist="38100" dir="2700000" algn="tl">
                  <a:srgbClr val="000000">
                    <a:alpha val="43137"/>
                  </a:srgbClr>
                </a:outerShdw>
              </a:effectLst>
              <a:ea typeface="宋体" pitchFamily="2" charset="-122"/>
            </a:endParaRPr>
          </a:p>
        </p:txBody>
      </p:sp>
      <p:pic>
        <p:nvPicPr>
          <p:cNvPr id="12291" name="Picture 441" descr="light5"/>
          <p:cNvPicPr>
            <a:picLocks noChangeAspect="1" noChangeArrowheads="1"/>
          </p:cNvPicPr>
          <p:nvPr/>
        </p:nvPicPr>
        <p:blipFill>
          <a:blip r:embed="rId16" cstate="print"/>
          <a:srcRect b="-29"/>
          <a:stretch>
            <a:fillRect/>
          </a:stretch>
        </p:blipFill>
        <p:spPr bwMode="gray">
          <a:xfrm>
            <a:off x="3048000" y="0"/>
            <a:ext cx="6096000" cy="930275"/>
          </a:xfrm>
          <a:prstGeom prst="rect">
            <a:avLst/>
          </a:prstGeom>
          <a:noFill/>
          <a:ln w="9525">
            <a:noFill/>
            <a:miter lim="800000"/>
            <a:headEnd/>
            <a:tailEnd/>
          </a:ln>
        </p:spPr>
      </p:pic>
      <p:grpSp>
        <p:nvGrpSpPr>
          <p:cNvPr id="2" name="Group 437"/>
          <p:cNvGrpSpPr>
            <a:grpSpLocks/>
          </p:cNvGrpSpPr>
          <p:nvPr/>
        </p:nvGrpSpPr>
        <p:grpSpPr bwMode="auto">
          <a:xfrm flipH="1" flipV="1">
            <a:off x="4514850" y="5410200"/>
            <a:ext cx="4638675" cy="1517650"/>
            <a:chOff x="83" y="25"/>
            <a:chExt cx="3761" cy="1301"/>
          </a:xfrm>
        </p:grpSpPr>
        <p:sp>
          <p:nvSpPr>
            <p:cNvPr id="150966" name="Freeform 438"/>
            <p:cNvSpPr>
              <a:spLocks/>
            </p:cNvSpPr>
            <p:nvPr userDrawn="1"/>
          </p:nvSpPr>
          <p:spPr bwMode="gray">
            <a:xfrm>
              <a:off x="89" y="39"/>
              <a:ext cx="3681" cy="1203"/>
            </a:xfrm>
            <a:custGeom>
              <a:avLst/>
              <a:gdLst/>
              <a:ahLst/>
              <a:cxnLst>
                <a:cxn ang="0">
                  <a:pos x="0" y="1203"/>
                </a:cxn>
                <a:cxn ang="0">
                  <a:pos x="0" y="51"/>
                </a:cxn>
                <a:cxn ang="0">
                  <a:pos x="3682" y="51"/>
                </a:cxn>
                <a:cxn ang="0">
                  <a:pos x="1242" y="355"/>
                </a:cxn>
                <a:cxn ang="0">
                  <a:pos x="0" y="1203"/>
                </a:cxn>
              </a:cxnLst>
              <a:rect l="0" t="0" r="r" b="b"/>
              <a:pathLst>
                <a:path w="3682" h="1203">
                  <a:moveTo>
                    <a:pt x="0" y="1203"/>
                  </a:moveTo>
                  <a:lnTo>
                    <a:pt x="0" y="51"/>
                  </a:lnTo>
                  <a:cubicBezTo>
                    <a:pt x="0" y="51"/>
                    <a:pt x="3475" y="0"/>
                    <a:pt x="3682" y="51"/>
                  </a:cubicBezTo>
                  <a:cubicBezTo>
                    <a:pt x="2491" y="76"/>
                    <a:pt x="2161" y="90"/>
                    <a:pt x="1242" y="355"/>
                  </a:cubicBezTo>
                  <a:cubicBezTo>
                    <a:pt x="323" y="620"/>
                    <a:pt x="0" y="1203"/>
                    <a:pt x="0" y="1203"/>
                  </a:cubicBezTo>
                  <a:close/>
                </a:path>
              </a:pathLst>
            </a:custGeom>
            <a:gradFill rotWithShape="1">
              <a:gsLst>
                <a:gs pos="0">
                  <a:schemeClr val="accent1"/>
                </a:gs>
                <a:gs pos="100000">
                  <a:schemeClr val="accent2"/>
                </a:gs>
              </a:gsLst>
              <a:lin ang="5400000" scaled="1"/>
            </a:gradFill>
            <a:ln w="9525" cap="flat" cmpd="sng">
              <a:noFill/>
              <a:prstDash val="solid"/>
              <a:round/>
              <a:headEnd/>
              <a:tailEnd/>
            </a:ln>
            <a:effectLst/>
          </p:spPr>
          <p:txBody>
            <a:bodyPr wrap="none" anchor="ctr"/>
            <a:lstStyle/>
            <a:p>
              <a:pPr eaLnBrk="0" fontAlgn="base" hangingPunct="0">
                <a:spcBef>
                  <a:spcPct val="0"/>
                </a:spcBef>
                <a:spcAft>
                  <a:spcPct val="0"/>
                </a:spcAft>
                <a:buSzPct val="100000"/>
                <a:buFont typeface="Times New Roman" pitchFamily="18" charset="0"/>
                <a:buNone/>
                <a:defRPr/>
              </a:pPr>
              <a:endParaRPr lang="zh-CN" altLang="en-US" sz="3600" dirty="0">
                <a:solidFill>
                  <a:srgbClr val="1C1C1C"/>
                </a:solidFill>
                <a:effectLst>
                  <a:outerShdw blurRad="38100" dist="38100" dir="2700000" algn="tl">
                    <a:srgbClr val="000000">
                      <a:alpha val="43137"/>
                    </a:srgbClr>
                  </a:outerShdw>
                </a:effectLst>
                <a:ea typeface="宋体" pitchFamily="2" charset="-122"/>
              </a:endParaRPr>
            </a:p>
          </p:txBody>
        </p:sp>
        <p:sp>
          <p:nvSpPr>
            <p:cNvPr id="150967" name="Freeform 439"/>
            <p:cNvSpPr>
              <a:spLocks/>
            </p:cNvSpPr>
            <p:nvPr userDrawn="1"/>
          </p:nvSpPr>
          <p:spPr bwMode="gray">
            <a:xfrm>
              <a:off x="83" y="25"/>
              <a:ext cx="3761" cy="1301"/>
            </a:xfrm>
            <a:custGeom>
              <a:avLst/>
              <a:gdLst/>
              <a:ahLst/>
              <a:cxnLst>
                <a:cxn ang="0">
                  <a:pos x="0" y="1301"/>
                </a:cxn>
                <a:cxn ang="0">
                  <a:pos x="1514" y="330"/>
                </a:cxn>
                <a:cxn ang="0">
                  <a:pos x="3747" y="65"/>
                </a:cxn>
                <a:cxn ang="0">
                  <a:pos x="1469" y="246"/>
                </a:cxn>
                <a:cxn ang="0">
                  <a:pos x="7" y="1081"/>
                </a:cxn>
                <a:cxn ang="0">
                  <a:pos x="0" y="1301"/>
                </a:cxn>
              </a:cxnLst>
              <a:rect l="0" t="0" r="r" b="b"/>
              <a:pathLst>
                <a:path w="3761" h="1301">
                  <a:moveTo>
                    <a:pt x="0" y="1301"/>
                  </a:moveTo>
                  <a:cubicBezTo>
                    <a:pt x="537" y="615"/>
                    <a:pt x="887" y="532"/>
                    <a:pt x="1514" y="330"/>
                  </a:cubicBezTo>
                  <a:cubicBezTo>
                    <a:pt x="2141" y="128"/>
                    <a:pt x="3761" y="80"/>
                    <a:pt x="3747" y="65"/>
                  </a:cubicBezTo>
                  <a:cubicBezTo>
                    <a:pt x="2738" y="0"/>
                    <a:pt x="2001" y="110"/>
                    <a:pt x="1469" y="246"/>
                  </a:cubicBezTo>
                  <a:cubicBezTo>
                    <a:pt x="939" y="382"/>
                    <a:pt x="395" y="615"/>
                    <a:pt x="7" y="1081"/>
                  </a:cubicBezTo>
                  <a:lnTo>
                    <a:pt x="0" y="1301"/>
                  </a:lnTo>
                  <a:close/>
                </a:path>
              </a:pathLst>
            </a:custGeom>
            <a:solidFill>
              <a:srgbClr val="1C1C1C">
                <a:alpha val="10001"/>
              </a:srgbClr>
            </a:solidFill>
            <a:ln w="9525">
              <a:noFill/>
              <a:round/>
              <a:headEnd/>
              <a:tailEnd/>
            </a:ln>
            <a:effectLst/>
          </p:spPr>
          <p:txBody>
            <a:bodyPr/>
            <a:lstStyle/>
            <a:p>
              <a:pPr eaLnBrk="0" fontAlgn="base" hangingPunct="0">
                <a:spcBef>
                  <a:spcPct val="0"/>
                </a:spcBef>
                <a:spcAft>
                  <a:spcPct val="0"/>
                </a:spcAft>
                <a:buSzPct val="100000"/>
                <a:buFont typeface="Times New Roman" pitchFamily="18" charset="0"/>
                <a:buNone/>
                <a:defRPr/>
              </a:pPr>
              <a:endParaRPr lang="zh-CN" altLang="en-US" sz="3600" dirty="0">
                <a:solidFill>
                  <a:srgbClr val="1C1C1C"/>
                </a:solidFill>
                <a:effectLst>
                  <a:outerShdw blurRad="38100" dist="38100" dir="2700000" algn="tl">
                    <a:srgbClr val="000000">
                      <a:alpha val="43137"/>
                    </a:srgbClr>
                  </a:outerShdw>
                </a:effectLst>
                <a:ea typeface="宋体" pitchFamily="2" charset="-122"/>
              </a:endParaRPr>
            </a:p>
          </p:txBody>
        </p:sp>
      </p:grpSp>
      <p:sp>
        <p:nvSpPr>
          <p:cNvPr id="12293" name="Rectangle 5"/>
          <p:cNvSpPr>
            <a:spLocks noGrp="1" noChangeArrowheads="1"/>
          </p:cNvSpPr>
          <p:nvPr>
            <p:ph type="body" idx="1"/>
          </p:nvPr>
        </p:nvSpPr>
        <p:spPr bwMode="auto">
          <a:xfrm>
            <a:off x="457200" y="1328738"/>
            <a:ext cx="8229600" cy="4525962"/>
          </a:xfrm>
          <a:prstGeom prst="rect">
            <a:avLst/>
          </a:prstGeom>
          <a:noFill/>
          <a:ln w="9525">
            <a:noFill/>
            <a:miter lim="800000"/>
            <a:headEnd/>
            <a:tailEnd/>
          </a:ln>
        </p:spPr>
        <p:txBody>
          <a:bodyPr vert="horz" wrap="square" lIns="91389" tIns="45694" rIns="91389" bIns="45694" numCol="1" anchor="t" anchorCtr="0" compatLnSpc="1">
            <a:prstTxWarp prst="textNoShape">
              <a:avLst/>
            </a:prstTxWarp>
          </a:bodyPr>
          <a:lstStyle/>
          <a:p>
            <a:pPr lvl="0"/>
            <a:r>
              <a:rPr lang="en-US" altLang="zh-CN" smtClean="0"/>
              <a:t>Click to edit Master text styles</a:t>
            </a:r>
          </a:p>
          <a:p>
            <a:pPr lvl="1"/>
            <a:r>
              <a:rPr lang="en-US" altLang="zh-CN" smtClean="0"/>
              <a:t>Second level</a:t>
            </a:r>
          </a:p>
          <a:p>
            <a:pPr lvl="2"/>
            <a:r>
              <a:rPr lang="en-US" altLang="zh-CN" smtClean="0"/>
              <a:t>Third level</a:t>
            </a:r>
          </a:p>
          <a:p>
            <a:pPr lvl="3"/>
            <a:r>
              <a:rPr lang="en-US" altLang="zh-CN" smtClean="0"/>
              <a:t>Fourth level</a:t>
            </a:r>
          </a:p>
          <a:p>
            <a:pPr lvl="4"/>
            <a:r>
              <a:rPr lang="en-US" altLang="zh-CN" smtClean="0"/>
              <a:t>Fifth level</a:t>
            </a:r>
          </a:p>
        </p:txBody>
      </p:sp>
      <p:sp>
        <p:nvSpPr>
          <p:cNvPr id="150834" name="Rectangle 306"/>
          <p:cNvSpPr>
            <a:spLocks noChangeArrowheads="1"/>
          </p:cNvSpPr>
          <p:nvPr/>
        </p:nvSpPr>
        <p:spPr bwMode="gray">
          <a:xfrm>
            <a:off x="3124200" y="6245225"/>
            <a:ext cx="2895600" cy="476250"/>
          </a:xfrm>
          <a:prstGeom prst="rect">
            <a:avLst/>
          </a:prstGeom>
          <a:noFill/>
          <a:ln w="9525">
            <a:noFill/>
            <a:miter lim="800000"/>
            <a:headEnd/>
            <a:tailEnd/>
          </a:ln>
          <a:effectLst/>
        </p:spPr>
        <p:txBody>
          <a:bodyPr lIns="91389" tIns="45694" rIns="91389" bIns="45694"/>
          <a:lstStyle/>
          <a:p>
            <a:pPr eaLnBrk="0" fontAlgn="base" hangingPunct="0">
              <a:spcBef>
                <a:spcPct val="0"/>
              </a:spcBef>
              <a:spcAft>
                <a:spcPct val="0"/>
              </a:spcAft>
              <a:buSzPct val="100000"/>
              <a:buFont typeface="Times New Roman" pitchFamily="18" charset="0"/>
              <a:buNone/>
              <a:defRPr/>
            </a:pPr>
            <a:endParaRPr lang="en-US" altLang="zh-CN" sz="1400" dirty="0">
              <a:solidFill>
                <a:srgbClr val="1C1C1C"/>
              </a:solidFill>
              <a:effectLst>
                <a:outerShdw blurRad="38100" dist="38100" dir="2700000" algn="tl">
                  <a:srgbClr val="000000">
                    <a:alpha val="43137"/>
                  </a:srgbClr>
                </a:outerShdw>
              </a:effectLst>
              <a:ea typeface="宋体" pitchFamily="2" charset="-122"/>
            </a:endParaRPr>
          </a:p>
        </p:txBody>
      </p:sp>
      <p:sp>
        <p:nvSpPr>
          <p:cNvPr id="150835" name="Rectangle 307"/>
          <p:cNvSpPr>
            <a:spLocks noChangeArrowheads="1"/>
          </p:cNvSpPr>
          <p:nvPr/>
        </p:nvSpPr>
        <p:spPr bwMode="gray">
          <a:xfrm>
            <a:off x="6553200" y="6245225"/>
            <a:ext cx="2133600" cy="476250"/>
          </a:xfrm>
          <a:prstGeom prst="rect">
            <a:avLst/>
          </a:prstGeom>
          <a:noFill/>
          <a:ln w="9525">
            <a:noFill/>
            <a:miter lim="800000"/>
            <a:headEnd/>
            <a:tailEnd/>
          </a:ln>
          <a:effectLst/>
        </p:spPr>
        <p:txBody>
          <a:bodyPr lIns="91389" tIns="45694" rIns="91389" bIns="45694"/>
          <a:lstStyle/>
          <a:p>
            <a:pPr algn="r" eaLnBrk="0" fontAlgn="base" hangingPunct="0">
              <a:spcBef>
                <a:spcPct val="0"/>
              </a:spcBef>
              <a:spcAft>
                <a:spcPct val="0"/>
              </a:spcAft>
              <a:buSzPct val="100000"/>
              <a:buFont typeface="Times New Roman" pitchFamily="18" charset="0"/>
              <a:buNone/>
              <a:defRPr/>
            </a:pPr>
            <a:endParaRPr lang="zh-CN" altLang="zh-CN" sz="1400" dirty="0">
              <a:solidFill>
                <a:srgbClr val="1C1C1C"/>
              </a:solidFill>
              <a:effectLst>
                <a:outerShdw blurRad="38100" dist="38100" dir="2700000" algn="tl">
                  <a:srgbClr val="000000">
                    <a:alpha val="43137"/>
                  </a:srgbClr>
                </a:outerShdw>
              </a:effectLst>
              <a:ea typeface="宋体" pitchFamily="2" charset="-122"/>
            </a:endParaRPr>
          </a:p>
        </p:txBody>
      </p:sp>
      <p:sp>
        <p:nvSpPr>
          <p:cNvPr id="150846" name="Rectangle 318"/>
          <p:cNvSpPr>
            <a:spLocks noChangeArrowheads="1"/>
          </p:cNvSpPr>
          <p:nvPr/>
        </p:nvSpPr>
        <p:spPr bwMode="gray">
          <a:xfrm>
            <a:off x="0" y="822325"/>
            <a:ext cx="9144000" cy="128588"/>
          </a:xfrm>
          <a:prstGeom prst="rect">
            <a:avLst/>
          </a:prstGeom>
          <a:solidFill>
            <a:srgbClr val="1C1C1C">
              <a:alpha val="10001"/>
            </a:srgbClr>
          </a:solidFill>
          <a:ln w="9525" algn="ctr">
            <a:noFill/>
            <a:miter lim="800000"/>
            <a:headEnd/>
            <a:tailEnd/>
          </a:ln>
          <a:effectLst/>
        </p:spPr>
        <p:txBody>
          <a:bodyPr wrap="none" lIns="91389" tIns="45694" rIns="91389" bIns="45694" anchor="ctr"/>
          <a:lstStyle/>
          <a:p>
            <a:pPr eaLnBrk="0" fontAlgn="base" hangingPunct="0">
              <a:spcBef>
                <a:spcPct val="0"/>
              </a:spcBef>
              <a:spcAft>
                <a:spcPct val="0"/>
              </a:spcAft>
              <a:buSzPct val="100000"/>
              <a:buFont typeface="Times New Roman" pitchFamily="18" charset="0"/>
              <a:buNone/>
              <a:defRPr/>
            </a:pPr>
            <a:endParaRPr lang="zh-CN" altLang="en-US" sz="3600" dirty="0">
              <a:solidFill>
                <a:srgbClr val="1C1C1C"/>
              </a:solidFill>
              <a:effectLst>
                <a:outerShdw blurRad="38100" dist="38100" dir="2700000" algn="tl">
                  <a:srgbClr val="000000">
                    <a:alpha val="43137"/>
                  </a:srgbClr>
                </a:outerShdw>
              </a:effectLst>
              <a:ea typeface="宋体" pitchFamily="2" charset="-122"/>
            </a:endParaRPr>
          </a:p>
        </p:txBody>
      </p:sp>
      <p:grpSp>
        <p:nvGrpSpPr>
          <p:cNvPr id="3" name="Group 411"/>
          <p:cNvGrpSpPr>
            <a:grpSpLocks/>
          </p:cNvGrpSpPr>
          <p:nvPr/>
        </p:nvGrpSpPr>
        <p:grpSpPr bwMode="auto">
          <a:xfrm flipV="1">
            <a:off x="-12700" y="5416550"/>
            <a:ext cx="4779963" cy="1517650"/>
            <a:chOff x="83" y="25"/>
            <a:chExt cx="3761" cy="1301"/>
          </a:xfrm>
        </p:grpSpPr>
        <p:sp>
          <p:nvSpPr>
            <p:cNvPr id="150940" name="Freeform 412"/>
            <p:cNvSpPr>
              <a:spLocks/>
            </p:cNvSpPr>
            <p:nvPr userDrawn="1"/>
          </p:nvSpPr>
          <p:spPr bwMode="gray">
            <a:xfrm>
              <a:off x="90" y="39"/>
              <a:ext cx="3681" cy="1203"/>
            </a:xfrm>
            <a:custGeom>
              <a:avLst/>
              <a:gdLst/>
              <a:ahLst/>
              <a:cxnLst>
                <a:cxn ang="0">
                  <a:pos x="0" y="1203"/>
                </a:cxn>
                <a:cxn ang="0">
                  <a:pos x="0" y="51"/>
                </a:cxn>
                <a:cxn ang="0">
                  <a:pos x="3682" y="51"/>
                </a:cxn>
                <a:cxn ang="0">
                  <a:pos x="1242" y="355"/>
                </a:cxn>
                <a:cxn ang="0">
                  <a:pos x="0" y="1203"/>
                </a:cxn>
              </a:cxnLst>
              <a:rect l="0" t="0" r="r" b="b"/>
              <a:pathLst>
                <a:path w="3682" h="1203">
                  <a:moveTo>
                    <a:pt x="0" y="1203"/>
                  </a:moveTo>
                  <a:lnTo>
                    <a:pt x="0" y="51"/>
                  </a:lnTo>
                  <a:cubicBezTo>
                    <a:pt x="0" y="51"/>
                    <a:pt x="3475" y="0"/>
                    <a:pt x="3682" y="51"/>
                  </a:cubicBezTo>
                  <a:cubicBezTo>
                    <a:pt x="2491" y="76"/>
                    <a:pt x="2161" y="90"/>
                    <a:pt x="1242" y="355"/>
                  </a:cubicBezTo>
                  <a:cubicBezTo>
                    <a:pt x="323" y="620"/>
                    <a:pt x="0" y="1203"/>
                    <a:pt x="0" y="1203"/>
                  </a:cubicBezTo>
                  <a:close/>
                </a:path>
              </a:pathLst>
            </a:custGeom>
            <a:gradFill rotWithShape="1">
              <a:gsLst>
                <a:gs pos="0">
                  <a:schemeClr val="accent1"/>
                </a:gs>
                <a:gs pos="100000">
                  <a:schemeClr val="accent2"/>
                </a:gs>
              </a:gsLst>
              <a:lin ang="5400000" scaled="1"/>
            </a:gradFill>
            <a:ln w="9525" cap="flat" cmpd="sng">
              <a:noFill/>
              <a:prstDash val="solid"/>
              <a:round/>
              <a:headEnd/>
              <a:tailEnd/>
            </a:ln>
            <a:effectLst/>
          </p:spPr>
          <p:txBody>
            <a:bodyPr wrap="none" anchor="ctr"/>
            <a:lstStyle/>
            <a:p>
              <a:pPr eaLnBrk="0" fontAlgn="base" hangingPunct="0">
                <a:spcBef>
                  <a:spcPct val="0"/>
                </a:spcBef>
                <a:spcAft>
                  <a:spcPct val="0"/>
                </a:spcAft>
                <a:buSzPct val="100000"/>
                <a:buFont typeface="Times New Roman" pitchFamily="18" charset="0"/>
                <a:buNone/>
                <a:defRPr/>
              </a:pPr>
              <a:endParaRPr lang="zh-CN" altLang="en-US" sz="3600" dirty="0">
                <a:solidFill>
                  <a:srgbClr val="1C1C1C"/>
                </a:solidFill>
                <a:effectLst>
                  <a:outerShdw blurRad="38100" dist="38100" dir="2700000" algn="tl">
                    <a:srgbClr val="000000">
                      <a:alpha val="43137"/>
                    </a:srgbClr>
                  </a:outerShdw>
                </a:effectLst>
                <a:ea typeface="宋体" pitchFamily="2" charset="-122"/>
              </a:endParaRPr>
            </a:p>
          </p:txBody>
        </p:sp>
        <p:sp>
          <p:nvSpPr>
            <p:cNvPr id="150941" name="Freeform 413"/>
            <p:cNvSpPr>
              <a:spLocks/>
            </p:cNvSpPr>
            <p:nvPr userDrawn="1"/>
          </p:nvSpPr>
          <p:spPr bwMode="gray">
            <a:xfrm>
              <a:off x="83" y="25"/>
              <a:ext cx="3761" cy="1301"/>
            </a:xfrm>
            <a:custGeom>
              <a:avLst/>
              <a:gdLst/>
              <a:ahLst/>
              <a:cxnLst>
                <a:cxn ang="0">
                  <a:pos x="0" y="1301"/>
                </a:cxn>
                <a:cxn ang="0">
                  <a:pos x="1514" y="330"/>
                </a:cxn>
                <a:cxn ang="0">
                  <a:pos x="3747" y="65"/>
                </a:cxn>
                <a:cxn ang="0">
                  <a:pos x="1469" y="246"/>
                </a:cxn>
                <a:cxn ang="0">
                  <a:pos x="7" y="1081"/>
                </a:cxn>
                <a:cxn ang="0">
                  <a:pos x="0" y="1301"/>
                </a:cxn>
              </a:cxnLst>
              <a:rect l="0" t="0" r="r" b="b"/>
              <a:pathLst>
                <a:path w="3761" h="1301">
                  <a:moveTo>
                    <a:pt x="0" y="1301"/>
                  </a:moveTo>
                  <a:cubicBezTo>
                    <a:pt x="537" y="615"/>
                    <a:pt x="887" y="532"/>
                    <a:pt x="1514" y="330"/>
                  </a:cubicBezTo>
                  <a:cubicBezTo>
                    <a:pt x="2141" y="128"/>
                    <a:pt x="3761" y="80"/>
                    <a:pt x="3747" y="65"/>
                  </a:cubicBezTo>
                  <a:cubicBezTo>
                    <a:pt x="2738" y="0"/>
                    <a:pt x="2001" y="110"/>
                    <a:pt x="1469" y="246"/>
                  </a:cubicBezTo>
                  <a:cubicBezTo>
                    <a:pt x="939" y="382"/>
                    <a:pt x="395" y="615"/>
                    <a:pt x="7" y="1081"/>
                  </a:cubicBezTo>
                  <a:lnTo>
                    <a:pt x="0" y="1301"/>
                  </a:lnTo>
                  <a:close/>
                </a:path>
              </a:pathLst>
            </a:custGeom>
            <a:solidFill>
              <a:srgbClr val="1C1C1C">
                <a:alpha val="10001"/>
              </a:srgbClr>
            </a:solidFill>
            <a:ln w="9525">
              <a:noFill/>
              <a:round/>
              <a:headEnd/>
              <a:tailEnd/>
            </a:ln>
            <a:effectLst/>
          </p:spPr>
          <p:txBody>
            <a:bodyPr/>
            <a:lstStyle/>
            <a:p>
              <a:pPr eaLnBrk="0" fontAlgn="base" hangingPunct="0">
                <a:spcBef>
                  <a:spcPct val="0"/>
                </a:spcBef>
                <a:spcAft>
                  <a:spcPct val="0"/>
                </a:spcAft>
                <a:buSzPct val="100000"/>
                <a:buFont typeface="Times New Roman" pitchFamily="18" charset="0"/>
                <a:buNone/>
                <a:defRPr/>
              </a:pPr>
              <a:endParaRPr lang="zh-CN" altLang="en-US" sz="3600" dirty="0">
                <a:solidFill>
                  <a:srgbClr val="1C1C1C"/>
                </a:solidFill>
                <a:effectLst>
                  <a:outerShdw blurRad="38100" dist="38100" dir="2700000" algn="tl">
                    <a:srgbClr val="000000">
                      <a:alpha val="43137"/>
                    </a:srgbClr>
                  </a:outerShdw>
                </a:effectLst>
                <a:ea typeface="宋体" pitchFamily="2" charset="-122"/>
              </a:endParaRPr>
            </a:p>
          </p:txBody>
        </p:sp>
      </p:grpSp>
      <p:sp>
        <p:nvSpPr>
          <p:cNvPr id="150833" name="Rectangle 305"/>
          <p:cNvSpPr>
            <a:spLocks noChangeArrowheads="1"/>
          </p:cNvSpPr>
          <p:nvPr/>
        </p:nvSpPr>
        <p:spPr bwMode="gray">
          <a:xfrm>
            <a:off x="457200" y="6245225"/>
            <a:ext cx="2133600" cy="476250"/>
          </a:xfrm>
          <a:prstGeom prst="rect">
            <a:avLst/>
          </a:prstGeom>
          <a:noFill/>
          <a:ln w="9525">
            <a:noFill/>
            <a:miter lim="800000"/>
            <a:headEnd/>
            <a:tailEnd/>
          </a:ln>
          <a:effectLst/>
        </p:spPr>
        <p:txBody>
          <a:bodyPr lIns="91389" tIns="45694" rIns="91389" bIns="45694"/>
          <a:lstStyle/>
          <a:p>
            <a:pPr eaLnBrk="0" fontAlgn="base" hangingPunct="0">
              <a:spcBef>
                <a:spcPct val="0"/>
              </a:spcBef>
              <a:spcAft>
                <a:spcPct val="0"/>
              </a:spcAft>
              <a:buSzPct val="100000"/>
              <a:buFont typeface="Times New Roman" pitchFamily="18" charset="0"/>
              <a:buNone/>
              <a:defRPr/>
            </a:pPr>
            <a:endParaRPr lang="en-US" altLang="zh-CN" sz="1400" dirty="0">
              <a:solidFill>
                <a:srgbClr val="1C1C1C"/>
              </a:solidFill>
              <a:effectLst>
                <a:outerShdw blurRad="38100" dist="38100" dir="2700000" algn="tl">
                  <a:srgbClr val="000000">
                    <a:alpha val="43137"/>
                  </a:srgbClr>
                </a:outerShdw>
              </a:effectLst>
              <a:ea typeface="宋体" pitchFamily="2" charset="-122"/>
            </a:endParaRPr>
          </a:p>
        </p:txBody>
      </p:sp>
      <p:pic>
        <p:nvPicPr>
          <p:cNvPr id="12299" name="Picture 3" descr="C:\Documents and Settings\Administrator\桌面\PPT\杂志社logo带网址_副本.jpg"/>
          <p:cNvPicPr>
            <a:picLocks noChangeAspect="1" noChangeArrowheads="1"/>
          </p:cNvPicPr>
          <p:nvPr userDrawn="1"/>
        </p:nvPicPr>
        <p:blipFill>
          <a:blip r:embed="rId17" cstate="print">
            <a:clrChange>
              <a:clrFrom>
                <a:srgbClr val="FDFDFD"/>
              </a:clrFrom>
              <a:clrTo>
                <a:srgbClr val="FDFDFD">
                  <a:alpha val="0"/>
                </a:srgbClr>
              </a:clrTo>
            </a:clrChange>
          </a:blip>
          <a:srcRect/>
          <a:stretch>
            <a:fillRect/>
          </a:stretch>
        </p:blipFill>
        <p:spPr bwMode="auto">
          <a:xfrm>
            <a:off x="7485063" y="6496050"/>
            <a:ext cx="1665287" cy="355600"/>
          </a:xfrm>
          <a:prstGeom prst="rect">
            <a:avLst/>
          </a:prstGeom>
          <a:noFill/>
          <a:ln w="9525">
            <a:noFill/>
            <a:miter lim="800000"/>
            <a:headEnd/>
            <a:tailEnd/>
          </a:ln>
        </p:spPr>
      </p:pic>
      <p:pic>
        <p:nvPicPr>
          <p:cNvPr id="12300" name="图片 2"/>
          <p:cNvPicPr>
            <a:picLocks noChangeAspect="1"/>
          </p:cNvPicPr>
          <p:nvPr userDrawn="1"/>
        </p:nvPicPr>
        <p:blipFill>
          <a:blip r:embed="rId18" cstate="print">
            <a:clrChange>
              <a:clrFrom>
                <a:srgbClr val="FFFFFF"/>
              </a:clrFrom>
              <a:clrTo>
                <a:srgbClr val="FFFFFF">
                  <a:alpha val="0"/>
                </a:srgbClr>
              </a:clrTo>
            </a:clrChange>
          </a:blip>
          <a:srcRect/>
          <a:stretch>
            <a:fillRect/>
          </a:stretch>
        </p:blipFill>
        <p:spPr bwMode="auto">
          <a:xfrm>
            <a:off x="8172450" y="-9525"/>
            <a:ext cx="846138" cy="912813"/>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3708" r:id="rId1"/>
    <p:sldLayoutId id="2147483709" r:id="rId2"/>
    <p:sldLayoutId id="2147483710" r:id="rId3"/>
    <p:sldLayoutId id="2147483711" r:id="rId4"/>
    <p:sldLayoutId id="2147483712" r:id="rId5"/>
    <p:sldLayoutId id="2147483713" r:id="rId6"/>
    <p:sldLayoutId id="2147483714" r:id="rId7"/>
    <p:sldLayoutId id="2147483715" r:id="rId8"/>
    <p:sldLayoutId id="2147483716" r:id="rId9"/>
    <p:sldLayoutId id="2147483717" r:id="rId10"/>
    <p:sldLayoutId id="2147483718" r:id="rId11"/>
    <p:sldLayoutId id="2147483719" r:id="rId12"/>
    <p:sldLayoutId id="2147483720" r:id="rId13"/>
    <p:sldLayoutId id="2147483721" r:id="rId14"/>
  </p:sldLayoutIdLst>
  <p:timing>
    <p:tnLst>
      <p:par>
        <p:cTn id="1" dur="indefinite" restart="never" nodeType="tmRoot"/>
      </p:par>
    </p:tnLst>
  </p:timing>
  <p:txStyles>
    <p:titleStyle>
      <a:lvl1pPr algn="ctr" rtl="0" eaLnBrk="0" fontAlgn="base" hangingPunct="0">
        <a:spcBef>
          <a:spcPct val="0"/>
        </a:spcBef>
        <a:spcAft>
          <a:spcPct val="0"/>
        </a:spcAft>
        <a:defRPr sz="4400" b="1">
          <a:solidFill>
            <a:schemeClr val="bg1"/>
          </a:solidFill>
          <a:latin typeface="+mj-lt"/>
          <a:ea typeface="+mj-ea"/>
          <a:cs typeface="+mj-cs"/>
        </a:defRPr>
      </a:lvl1pPr>
      <a:lvl2pPr algn="ctr" rtl="0" eaLnBrk="0" fontAlgn="base" hangingPunct="0">
        <a:spcBef>
          <a:spcPct val="0"/>
        </a:spcBef>
        <a:spcAft>
          <a:spcPct val="0"/>
        </a:spcAft>
        <a:defRPr sz="4400" b="1">
          <a:solidFill>
            <a:schemeClr val="bg1"/>
          </a:solidFill>
          <a:latin typeface="Arial" pitchFamily="34" charset="0"/>
        </a:defRPr>
      </a:lvl2pPr>
      <a:lvl3pPr algn="ctr" rtl="0" eaLnBrk="0" fontAlgn="base" hangingPunct="0">
        <a:spcBef>
          <a:spcPct val="0"/>
        </a:spcBef>
        <a:spcAft>
          <a:spcPct val="0"/>
        </a:spcAft>
        <a:defRPr sz="4400" b="1">
          <a:solidFill>
            <a:schemeClr val="bg1"/>
          </a:solidFill>
          <a:latin typeface="Arial" pitchFamily="34" charset="0"/>
        </a:defRPr>
      </a:lvl3pPr>
      <a:lvl4pPr algn="ctr" rtl="0" eaLnBrk="0" fontAlgn="base" hangingPunct="0">
        <a:spcBef>
          <a:spcPct val="0"/>
        </a:spcBef>
        <a:spcAft>
          <a:spcPct val="0"/>
        </a:spcAft>
        <a:defRPr sz="4400" b="1">
          <a:solidFill>
            <a:schemeClr val="bg1"/>
          </a:solidFill>
          <a:latin typeface="Arial" pitchFamily="34" charset="0"/>
        </a:defRPr>
      </a:lvl4pPr>
      <a:lvl5pPr algn="ctr" rtl="0" eaLnBrk="0" fontAlgn="base" hangingPunct="0">
        <a:spcBef>
          <a:spcPct val="0"/>
        </a:spcBef>
        <a:spcAft>
          <a:spcPct val="0"/>
        </a:spcAft>
        <a:defRPr sz="4400" b="1">
          <a:solidFill>
            <a:schemeClr val="bg1"/>
          </a:solidFill>
          <a:latin typeface="Arial" pitchFamily="34" charset="0"/>
        </a:defRPr>
      </a:lvl5pPr>
      <a:lvl6pPr marL="456945" algn="ctr" rtl="0" fontAlgn="base">
        <a:spcBef>
          <a:spcPct val="0"/>
        </a:spcBef>
        <a:spcAft>
          <a:spcPct val="0"/>
        </a:spcAft>
        <a:defRPr sz="4400" b="1">
          <a:solidFill>
            <a:schemeClr val="bg1"/>
          </a:solidFill>
          <a:latin typeface="Arial" pitchFamily="34" charset="0"/>
        </a:defRPr>
      </a:lvl6pPr>
      <a:lvl7pPr marL="913890" algn="ctr" rtl="0" fontAlgn="base">
        <a:spcBef>
          <a:spcPct val="0"/>
        </a:spcBef>
        <a:spcAft>
          <a:spcPct val="0"/>
        </a:spcAft>
        <a:defRPr sz="4400" b="1">
          <a:solidFill>
            <a:schemeClr val="bg1"/>
          </a:solidFill>
          <a:latin typeface="Arial" pitchFamily="34" charset="0"/>
        </a:defRPr>
      </a:lvl7pPr>
      <a:lvl8pPr marL="1370836" algn="ctr" rtl="0" fontAlgn="base">
        <a:spcBef>
          <a:spcPct val="0"/>
        </a:spcBef>
        <a:spcAft>
          <a:spcPct val="0"/>
        </a:spcAft>
        <a:defRPr sz="4400" b="1">
          <a:solidFill>
            <a:schemeClr val="bg1"/>
          </a:solidFill>
          <a:latin typeface="Arial" pitchFamily="34" charset="0"/>
        </a:defRPr>
      </a:lvl8pPr>
      <a:lvl9pPr marL="1827781" algn="ctr" rtl="0" fontAlgn="base">
        <a:spcBef>
          <a:spcPct val="0"/>
        </a:spcBef>
        <a:spcAft>
          <a:spcPct val="0"/>
        </a:spcAft>
        <a:defRPr sz="4400" b="1">
          <a:solidFill>
            <a:schemeClr val="bg1"/>
          </a:solidFill>
          <a:latin typeface="Arial" pitchFamily="34" charset="0"/>
        </a:defRPr>
      </a:lvl9pPr>
    </p:titleStyle>
    <p:bodyStyle>
      <a:lvl1pPr marL="341313" indent="-341313" algn="l" rtl="0" eaLnBrk="0" fontAlgn="base" hangingPunct="0">
        <a:spcBef>
          <a:spcPct val="20000"/>
        </a:spcBef>
        <a:spcAft>
          <a:spcPct val="0"/>
        </a:spcAft>
        <a:buChar char="•"/>
        <a:defRPr sz="3200" b="1">
          <a:solidFill>
            <a:schemeClr val="accent1"/>
          </a:solidFill>
          <a:latin typeface="+mn-lt"/>
          <a:ea typeface="+mn-ea"/>
          <a:cs typeface="+mn-cs"/>
        </a:defRPr>
      </a:lvl1pPr>
      <a:lvl2pPr marL="741363" indent="-284163" algn="l" rtl="0" eaLnBrk="0" fontAlgn="base" hangingPunct="0">
        <a:spcBef>
          <a:spcPct val="20000"/>
        </a:spcBef>
        <a:spcAft>
          <a:spcPct val="0"/>
        </a:spcAft>
        <a:buChar char="–"/>
        <a:defRPr sz="2800">
          <a:solidFill>
            <a:schemeClr val="tx2"/>
          </a:solidFill>
          <a:latin typeface="+mn-lt"/>
        </a:defRPr>
      </a:lvl2pPr>
      <a:lvl3pPr marL="1141413" indent="-227013" algn="l" rtl="0" eaLnBrk="0" fontAlgn="base" hangingPunct="0">
        <a:spcBef>
          <a:spcPct val="20000"/>
        </a:spcBef>
        <a:spcAft>
          <a:spcPct val="0"/>
        </a:spcAft>
        <a:buChar char="•"/>
        <a:defRPr sz="2500">
          <a:solidFill>
            <a:schemeClr val="tx2"/>
          </a:solidFill>
          <a:latin typeface="+mn-lt"/>
        </a:defRPr>
      </a:lvl3pPr>
      <a:lvl4pPr marL="1598613" indent="-227013" algn="l" rtl="0" eaLnBrk="0" fontAlgn="base" hangingPunct="0">
        <a:spcBef>
          <a:spcPct val="20000"/>
        </a:spcBef>
        <a:spcAft>
          <a:spcPct val="0"/>
        </a:spcAft>
        <a:buChar char="–"/>
        <a:defRPr sz="2000">
          <a:solidFill>
            <a:schemeClr val="tx2"/>
          </a:solidFill>
          <a:latin typeface="+mn-lt"/>
        </a:defRPr>
      </a:lvl4pPr>
      <a:lvl5pPr marL="2055813" indent="-227013" algn="l" rtl="0" eaLnBrk="0" fontAlgn="base" hangingPunct="0">
        <a:spcBef>
          <a:spcPct val="20000"/>
        </a:spcBef>
        <a:spcAft>
          <a:spcPct val="0"/>
        </a:spcAft>
        <a:buChar char="»"/>
        <a:defRPr sz="2000">
          <a:solidFill>
            <a:schemeClr val="tx2"/>
          </a:solidFill>
          <a:latin typeface="+mn-lt"/>
        </a:defRPr>
      </a:lvl5pPr>
      <a:lvl6pPr marL="2513199" indent="-228472" algn="l" rtl="0" fontAlgn="base">
        <a:spcBef>
          <a:spcPct val="20000"/>
        </a:spcBef>
        <a:spcAft>
          <a:spcPct val="0"/>
        </a:spcAft>
        <a:buChar char="»"/>
        <a:defRPr sz="2000">
          <a:solidFill>
            <a:schemeClr val="tx2"/>
          </a:solidFill>
          <a:latin typeface="+mn-lt"/>
        </a:defRPr>
      </a:lvl6pPr>
      <a:lvl7pPr marL="2970143" indent="-228472" algn="l" rtl="0" fontAlgn="base">
        <a:spcBef>
          <a:spcPct val="20000"/>
        </a:spcBef>
        <a:spcAft>
          <a:spcPct val="0"/>
        </a:spcAft>
        <a:buChar char="»"/>
        <a:defRPr sz="2000">
          <a:solidFill>
            <a:schemeClr val="tx2"/>
          </a:solidFill>
          <a:latin typeface="+mn-lt"/>
        </a:defRPr>
      </a:lvl7pPr>
      <a:lvl8pPr marL="3427088" indent="-228472" algn="l" rtl="0" fontAlgn="base">
        <a:spcBef>
          <a:spcPct val="20000"/>
        </a:spcBef>
        <a:spcAft>
          <a:spcPct val="0"/>
        </a:spcAft>
        <a:buChar char="»"/>
        <a:defRPr sz="2000">
          <a:solidFill>
            <a:schemeClr val="tx2"/>
          </a:solidFill>
          <a:latin typeface="+mn-lt"/>
        </a:defRPr>
      </a:lvl8pPr>
      <a:lvl9pPr marL="3884034" indent="-228472" algn="l" rtl="0" fontAlgn="base">
        <a:spcBef>
          <a:spcPct val="20000"/>
        </a:spcBef>
        <a:spcAft>
          <a:spcPct val="0"/>
        </a:spcAft>
        <a:buChar char="»"/>
        <a:defRPr sz="2000">
          <a:solidFill>
            <a:schemeClr val="tx2"/>
          </a:solidFill>
          <a:latin typeface="+mn-lt"/>
        </a:defRPr>
      </a:lvl9pPr>
    </p:bodyStyle>
    <p:otherStyle>
      <a:defPPr>
        <a:defRPr lang="zh-CN"/>
      </a:defPPr>
      <a:lvl1pPr marL="0" algn="l" defTabSz="913890" rtl="0" eaLnBrk="1" latinLnBrk="0" hangingPunct="1">
        <a:defRPr sz="1800" kern="1200">
          <a:solidFill>
            <a:schemeClr val="tx1"/>
          </a:solidFill>
          <a:latin typeface="+mn-lt"/>
          <a:ea typeface="+mn-ea"/>
          <a:cs typeface="+mn-cs"/>
        </a:defRPr>
      </a:lvl1pPr>
      <a:lvl2pPr marL="456945" algn="l" defTabSz="913890" rtl="0" eaLnBrk="1" latinLnBrk="0" hangingPunct="1">
        <a:defRPr sz="1800" kern="1200">
          <a:solidFill>
            <a:schemeClr val="tx1"/>
          </a:solidFill>
          <a:latin typeface="+mn-lt"/>
          <a:ea typeface="+mn-ea"/>
          <a:cs typeface="+mn-cs"/>
        </a:defRPr>
      </a:lvl2pPr>
      <a:lvl3pPr marL="913890" algn="l" defTabSz="913890" rtl="0" eaLnBrk="1" latinLnBrk="0" hangingPunct="1">
        <a:defRPr sz="1800" kern="1200">
          <a:solidFill>
            <a:schemeClr val="tx1"/>
          </a:solidFill>
          <a:latin typeface="+mn-lt"/>
          <a:ea typeface="+mn-ea"/>
          <a:cs typeface="+mn-cs"/>
        </a:defRPr>
      </a:lvl3pPr>
      <a:lvl4pPr marL="1370836" algn="l" defTabSz="913890" rtl="0" eaLnBrk="1" latinLnBrk="0" hangingPunct="1">
        <a:defRPr sz="1800" kern="1200">
          <a:solidFill>
            <a:schemeClr val="tx1"/>
          </a:solidFill>
          <a:latin typeface="+mn-lt"/>
          <a:ea typeface="+mn-ea"/>
          <a:cs typeface="+mn-cs"/>
        </a:defRPr>
      </a:lvl4pPr>
      <a:lvl5pPr marL="1827781" algn="l" defTabSz="913890" rtl="0" eaLnBrk="1" latinLnBrk="0" hangingPunct="1">
        <a:defRPr sz="1800" kern="1200">
          <a:solidFill>
            <a:schemeClr val="tx1"/>
          </a:solidFill>
          <a:latin typeface="+mn-lt"/>
          <a:ea typeface="+mn-ea"/>
          <a:cs typeface="+mn-cs"/>
        </a:defRPr>
      </a:lvl5pPr>
      <a:lvl6pPr marL="2284726" algn="l" defTabSz="913890" rtl="0" eaLnBrk="1" latinLnBrk="0" hangingPunct="1">
        <a:defRPr sz="1800" kern="1200">
          <a:solidFill>
            <a:schemeClr val="tx1"/>
          </a:solidFill>
          <a:latin typeface="+mn-lt"/>
          <a:ea typeface="+mn-ea"/>
          <a:cs typeface="+mn-cs"/>
        </a:defRPr>
      </a:lvl6pPr>
      <a:lvl7pPr marL="2741672" algn="l" defTabSz="913890" rtl="0" eaLnBrk="1" latinLnBrk="0" hangingPunct="1">
        <a:defRPr sz="1800" kern="1200">
          <a:solidFill>
            <a:schemeClr val="tx1"/>
          </a:solidFill>
          <a:latin typeface="+mn-lt"/>
          <a:ea typeface="+mn-ea"/>
          <a:cs typeface="+mn-cs"/>
        </a:defRPr>
      </a:lvl7pPr>
      <a:lvl8pPr marL="3198616" algn="l" defTabSz="913890" rtl="0" eaLnBrk="1" latinLnBrk="0" hangingPunct="1">
        <a:defRPr sz="1800" kern="1200">
          <a:solidFill>
            <a:schemeClr val="tx1"/>
          </a:solidFill>
          <a:latin typeface="+mn-lt"/>
          <a:ea typeface="+mn-ea"/>
          <a:cs typeface="+mn-cs"/>
        </a:defRPr>
      </a:lvl8pPr>
      <a:lvl9pPr marL="3655563" algn="l" defTabSz="91389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7" name="图片 6"/>
          <p:cNvPicPr>
            <a:picLocks noChangeAspect="1"/>
          </p:cNvPicPr>
          <p:nvPr/>
        </p:nvPicPr>
        <p:blipFill>
          <a:blip r:embed="rId25" cstate="print">
            <a:extLst>
              <a:ext uri="{28A0092B-C50C-407E-A947-70E740481C1C}">
                <a14:useLocalDpi xmlns="" xmlns:a14="http://schemas.microsoft.com/office/drawing/2010/main" val="0"/>
              </a:ext>
            </a:extLst>
          </a:blip>
          <a:stretch>
            <a:fillRect/>
          </a:stretch>
        </p:blipFill>
        <p:spPr>
          <a:xfrm>
            <a:off x="0" y="0"/>
            <a:ext cx="9144000" cy="6858000"/>
          </a:xfrm>
          <a:prstGeom prst="rect">
            <a:avLst/>
          </a:prstGeom>
        </p:spPr>
      </p:pic>
      <p:sp>
        <p:nvSpPr>
          <p:cNvPr id="3" name="Text Placeholder 2"/>
          <p:cNvSpPr>
            <a:spLocks noGrp="1"/>
          </p:cNvSpPr>
          <p:nvPr>
            <p:ph type="body" idx="1"/>
          </p:nvPr>
        </p:nvSpPr>
        <p:spPr>
          <a:xfrm>
            <a:off x="558866" y="1270750"/>
            <a:ext cx="8097453" cy="4999421"/>
          </a:xfrm>
          <a:prstGeom prst="rect">
            <a:avLst/>
          </a:prstGeom>
        </p:spPr>
        <p:txBody>
          <a:bodyPr vert="horz" lIns="91440" tIns="45720" rIns="91440" bIns="45720" rtlCol="0">
            <a:normAutofit/>
          </a:bodyPr>
          <a:lstStyle/>
          <a:p>
            <a:pPr lvl="0"/>
            <a:r>
              <a:rPr lang="zh-CN" altLang="en-US" dirty="0" smtClean="0"/>
              <a:t>单击此处编辑母版文本样式</a:t>
            </a:r>
          </a:p>
          <a:p>
            <a:pPr lvl="1"/>
            <a:r>
              <a:rPr lang="zh-CN" altLang="en-US" dirty="0" smtClean="0"/>
              <a:t>第二级</a:t>
            </a:r>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30820CF-B880-4189-942D-D702A7CBA730}" type="datetimeFigureOut">
              <a:rPr lang="zh-CN" altLang="en-US" smtClean="0">
                <a:solidFill>
                  <a:srgbClr val="5F5F5F">
                    <a:tint val="75000"/>
                  </a:srgbClr>
                </a:solidFill>
              </a:rPr>
              <a:pPr/>
              <a:t>2017/12/7</a:t>
            </a:fld>
            <a:endParaRPr lang="zh-CN" altLang="en-US">
              <a:solidFill>
                <a:srgbClr val="5F5F5F">
                  <a:tint val="75000"/>
                </a:srgbClr>
              </a:solidFill>
            </a:endParaRPr>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zh-CN" altLang="en-US">
              <a:solidFill>
                <a:srgbClr val="5F5F5F">
                  <a:tint val="75000"/>
                </a:srgbClr>
              </a:solidFill>
            </a:endParaRPr>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C913308-F349-4B6D-A68A-DD1791B4A57B}" type="slidenum">
              <a:rPr lang="zh-CN" altLang="en-US" smtClean="0">
                <a:solidFill>
                  <a:srgbClr val="5F5F5F">
                    <a:tint val="75000"/>
                  </a:srgbClr>
                </a:solidFill>
              </a:rPr>
              <a:pPr/>
              <a:t>‹#›</a:t>
            </a:fld>
            <a:endParaRPr lang="zh-CN" altLang="en-US">
              <a:solidFill>
                <a:srgbClr val="5F5F5F">
                  <a:tint val="75000"/>
                </a:srgbClr>
              </a:solidFill>
            </a:endParaRPr>
          </a:p>
        </p:txBody>
      </p:sp>
      <p:sp>
        <p:nvSpPr>
          <p:cNvPr id="2" name="Title Placeholder 1"/>
          <p:cNvSpPr>
            <a:spLocks noGrp="1"/>
          </p:cNvSpPr>
          <p:nvPr>
            <p:ph type="title"/>
          </p:nvPr>
        </p:nvSpPr>
        <p:spPr>
          <a:xfrm>
            <a:off x="1349829" y="334652"/>
            <a:ext cx="7306490" cy="740790"/>
          </a:xfrm>
          <a:prstGeom prst="rect">
            <a:avLst/>
          </a:prstGeom>
          <a:noFill/>
        </p:spPr>
        <p:txBody>
          <a:bodyPr vert="horz" lIns="91440" tIns="45720" rIns="91440" bIns="45720" rtlCol="0" anchor="ctr">
            <a:normAutofit/>
          </a:bodyPr>
          <a:lstStyle/>
          <a:p>
            <a:r>
              <a:rPr lang="zh-CN" altLang="en-US" dirty="0" smtClean="0"/>
              <a:t>单击此处编辑母版标题样式</a:t>
            </a:r>
            <a:endParaRPr lang="en-US" dirty="0"/>
          </a:p>
        </p:txBody>
      </p:sp>
      <p:pic>
        <p:nvPicPr>
          <p:cNvPr id="8" name="Picture 29" descr="运动边框"/>
          <p:cNvPicPr>
            <a:picLocks noChangeAspect="1" noChangeArrowheads="1" noCrop="1"/>
          </p:cNvPicPr>
          <p:nvPr userDrawn="1"/>
        </p:nvPicPr>
        <p:blipFill>
          <a:blip r:embed="rId26" cstate="print"/>
          <a:srcRect/>
          <a:stretch>
            <a:fillRect/>
          </a:stretch>
        </p:blipFill>
        <p:spPr bwMode="auto">
          <a:xfrm>
            <a:off x="5562600" y="6399213"/>
            <a:ext cx="3581400" cy="458787"/>
          </a:xfrm>
          <a:prstGeom prst="rect">
            <a:avLst/>
          </a:prstGeom>
          <a:noFill/>
          <a:ln w="9525">
            <a:noFill/>
            <a:miter lim="800000"/>
            <a:headEnd/>
            <a:tailEnd/>
          </a:ln>
        </p:spPr>
      </p:pic>
      <p:sp>
        <p:nvSpPr>
          <p:cNvPr id="9" name="TextBox 20"/>
          <p:cNvSpPr txBox="1">
            <a:spLocks noChangeArrowheads="1"/>
          </p:cNvSpPr>
          <p:nvPr userDrawn="1"/>
        </p:nvSpPr>
        <p:spPr bwMode="auto">
          <a:xfrm>
            <a:off x="5652120" y="6488113"/>
            <a:ext cx="3491880" cy="338502"/>
          </a:xfrm>
          <a:prstGeom prst="rect">
            <a:avLst/>
          </a:prstGeom>
          <a:noFill/>
          <a:ln w="9525">
            <a:noFill/>
            <a:miter lim="800000"/>
            <a:headEnd/>
            <a:tailEnd/>
          </a:ln>
        </p:spPr>
        <p:txBody>
          <a:bodyPr wrap="square" lIns="91389" tIns="45694" rIns="91389" bIns="45694">
            <a:spAutoFit/>
          </a:bodyPr>
          <a:lstStyle/>
          <a:p>
            <a:pPr>
              <a:defRPr/>
            </a:pPr>
            <a:r>
              <a:rPr lang="zh-CN" altLang="en-US" sz="1600" dirty="0" smtClean="0">
                <a:solidFill>
                  <a:srgbClr val="FFFFFF"/>
                </a:solidFill>
                <a:latin typeface="微软雅黑" pitchFamily="34" charset="-122"/>
                <a:ea typeface="微软雅黑" pitchFamily="34" charset="-122"/>
              </a:rPr>
              <a:t>正确认识和处理竞争与合作的关系</a:t>
            </a:r>
            <a:endParaRPr lang="zh-CN" altLang="en-US" sz="1600" dirty="0">
              <a:solidFill>
                <a:srgbClr val="FFFFFF"/>
              </a:solidFill>
              <a:latin typeface="微软雅黑" pitchFamily="34" charset="-122"/>
              <a:ea typeface="微软雅黑" pitchFamily="34" charset="-122"/>
            </a:endParaRPr>
          </a:p>
        </p:txBody>
      </p:sp>
    </p:spTree>
    <p:extLst>
      <p:ext uri="{BB962C8B-B14F-4D97-AF65-F5344CB8AC3E}">
        <p14:creationId xmlns="" xmlns:p14="http://schemas.microsoft.com/office/powerpoint/2010/main" val="1390095371"/>
      </p:ext>
    </p:extLst>
  </p:cSld>
  <p:clrMap bg1="lt1" tx1="dk1" bg2="lt2" tx2="dk2" accent1="accent1" accent2="accent2" accent3="accent3" accent4="accent4" accent5="accent5" accent6="accent6" hlink="hlink" folHlink="folHlink"/>
  <p:sldLayoutIdLst>
    <p:sldLayoutId id="2147483723" r:id="rId1"/>
    <p:sldLayoutId id="2147483724" r:id="rId2"/>
    <p:sldLayoutId id="2147483725" r:id="rId3"/>
    <p:sldLayoutId id="2147483726" r:id="rId4"/>
    <p:sldLayoutId id="2147483727" r:id="rId5"/>
    <p:sldLayoutId id="2147483728" r:id="rId6"/>
    <p:sldLayoutId id="2147483729" r:id="rId7"/>
    <p:sldLayoutId id="2147483730" r:id="rId8"/>
    <p:sldLayoutId id="2147483731" r:id="rId9"/>
    <p:sldLayoutId id="2147483732" r:id="rId10"/>
    <p:sldLayoutId id="2147483733" r:id="rId11"/>
    <p:sldLayoutId id="2147483734" r:id="rId12"/>
    <p:sldLayoutId id="2147483735" r:id="rId13"/>
    <p:sldLayoutId id="2147483736" r:id="rId14"/>
    <p:sldLayoutId id="2147483737" r:id="rId15"/>
    <p:sldLayoutId id="2147483738" r:id="rId16"/>
    <p:sldLayoutId id="2147483739" r:id="rId17"/>
    <p:sldLayoutId id="2147483740" r:id="rId18"/>
    <p:sldLayoutId id="2147483741" r:id="rId19"/>
    <p:sldLayoutId id="2147483742" r:id="rId20"/>
    <p:sldLayoutId id="2147483743" r:id="rId21"/>
    <p:sldLayoutId id="2147483744" r:id="rId22"/>
    <p:sldLayoutId id="2147483745" r:id="rId23"/>
  </p:sldLayoutIdLst>
  <p:txStyles>
    <p:titleStyle>
      <a:lvl1pPr algn="l" defTabSz="914400" rtl="0" eaLnBrk="1" latinLnBrk="0" hangingPunct="1">
        <a:lnSpc>
          <a:spcPct val="90000"/>
        </a:lnSpc>
        <a:spcBef>
          <a:spcPct val="0"/>
        </a:spcBef>
        <a:buNone/>
        <a:defRPr sz="2800" b="1" kern="1200">
          <a:solidFill>
            <a:schemeClr val="accent1">
              <a:lumMod val="50000"/>
            </a:schemeClr>
          </a:solidFill>
          <a:latin typeface="+mj-lt"/>
          <a:ea typeface="+mj-ea"/>
          <a:cs typeface="+mj-cs"/>
        </a:defRPr>
      </a:lvl1pPr>
    </p:titleStyle>
    <p:bodyStyle>
      <a:lvl1pPr marL="357188" indent="-357188" algn="l" defTabSz="914400" rtl="0" eaLnBrk="1" latinLnBrk="0" hangingPunct="1">
        <a:lnSpc>
          <a:spcPct val="110000"/>
        </a:lnSpc>
        <a:spcBef>
          <a:spcPts val="1800"/>
        </a:spcBef>
        <a:buClr>
          <a:schemeClr val="accent1"/>
        </a:buClr>
        <a:buSzPct val="60000"/>
        <a:buFont typeface="Wingdings 2" panose="05020102010507070707" pitchFamily="18" charset="2"/>
        <a:buChar char=""/>
        <a:defRPr sz="2000" kern="1200">
          <a:solidFill>
            <a:schemeClr val="accent2">
              <a:lumMod val="75000"/>
            </a:schemeClr>
          </a:solidFill>
          <a:latin typeface="+mn-lt"/>
          <a:ea typeface="+mn-ea"/>
          <a:cs typeface="+mn-cs"/>
        </a:defRPr>
      </a:lvl1pPr>
      <a:lvl2pPr marL="357188" indent="-357188" algn="l" defTabSz="914400" rtl="0" eaLnBrk="1" latinLnBrk="0" hangingPunct="1">
        <a:lnSpc>
          <a:spcPct val="120000"/>
        </a:lnSpc>
        <a:spcBef>
          <a:spcPts val="500"/>
        </a:spcBef>
        <a:buFont typeface="Calibri" panose="020F0502020204030204" pitchFamily="34" charset="0"/>
        <a:buChar char=" "/>
        <a:defRPr sz="1600" kern="1200">
          <a:solidFill>
            <a:schemeClr val="bg1">
              <a:lumMod val="50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 xmlns:p15="http://schemas.microsoft.com/office/powerpoint/2012/main"/>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22.gif"/><Relationship Id="rId1" Type="http://schemas.openxmlformats.org/officeDocument/2006/relationships/slideLayout" Target="../slideLayouts/slideLayout17.xml"/></Relationships>
</file>

<file path=ppt/slides/_rels/slide10.xml.rels><?xml version="1.0" encoding="UTF-8" standalone="yes"?>
<Relationships xmlns="http://schemas.openxmlformats.org/package/2006/relationships"><Relationship Id="rId8" Type="http://schemas.openxmlformats.org/officeDocument/2006/relationships/diagramColors" Target="../diagrams/colors3.xml"/><Relationship Id="rId13" Type="http://schemas.openxmlformats.org/officeDocument/2006/relationships/image" Target="../media/image48.jpeg"/><Relationship Id="rId3" Type="http://schemas.openxmlformats.org/officeDocument/2006/relationships/slideLayout" Target="../slideLayouts/slideLayout29.xml"/><Relationship Id="rId7" Type="http://schemas.openxmlformats.org/officeDocument/2006/relationships/diagramQuickStyle" Target="../diagrams/quickStyle3.xml"/><Relationship Id="rId12" Type="http://schemas.openxmlformats.org/officeDocument/2006/relationships/image" Target="../media/image22.gif"/><Relationship Id="rId2" Type="http://schemas.openxmlformats.org/officeDocument/2006/relationships/control" Target="../activeX/activeX1.xml"/><Relationship Id="rId1" Type="http://schemas.openxmlformats.org/officeDocument/2006/relationships/vmlDrawing" Target="../drawings/vmlDrawing2.vml"/><Relationship Id="rId6" Type="http://schemas.openxmlformats.org/officeDocument/2006/relationships/diagramLayout" Target="../diagrams/layout3.xml"/><Relationship Id="rId11" Type="http://schemas.openxmlformats.org/officeDocument/2006/relationships/image" Target="../media/image47.jpeg"/><Relationship Id="rId5" Type="http://schemas.openxmlformats.org/officeDocument/2006/relationships/diagramData" Target="../diagrams/data3.xml"/><Relationship Id="rId10" Type="http://schemas.openxmlformats.org/officeDocument/2006/relationships/image" Target="../media/image46.jpeg"/><Relationship Id="rId4" Type="http://schemas.openxmlformats.org/officeDocument/2006/relationships/image" Target="../media/image30.jpeg"/><Relationship Id="rId9" Type="http://schemas.microsoft.com/office/2007/relationships/diagramDrawing" Target="../diagrams/drawing3.xml"/><Relationship Id="rId14" Type="http://schemas.openxmlformats.org/officeDocument/2006/relationships/image" Target="../media/image49.jpeg"/></Relationships>
</file>

<file path=ppt/slides/_rels/slide11.xml.rels><?xml version="1.0" encoding="UTF-8" standalone="yes"?>
<Relationships xmlns="http://schemas.openxmlformats.org/package/2006/relationships"><Relationship Id="rId8" Type="http://schemas.openxmlformats.org/officeDocument/2006/relationships/image" Target="../media/image30.jpeg"/><Relationship Id="rId13" Type="http://schemas.microsoft.com/office/2007/relationships/diagramDrawing" Target="../diagrams/drawing4.xml"/><Relationship Id="rId3" Type="http://schemas.openxmlformats.org/officeDocument/2006/relationships/tags" Target="../tags/tag9.xml"/><Relationship Id="rId7" Type="http://schemas.openxmlformats.org/officeDocument/2006/relationships/slideLayout" Target="../slideLayouts/slideLayout44.xml"/><Relationship Id="rId12" Type="http://schemas.openxmlformats.org/officeDocument/2006/relationships/diagramColors" Target="../diagrams/colors4.xml"/><Relationship Id="rId2" Type="http://schemas.openxmlformats.org/officeDocument/2006/relationships/tags" Target="../tags/tag8.xml"/><Relationship Id="rId16" Type="http://schemas.openxmlformats.org/officeDocument/2006/relationships/image" Target="../media/image22.gif"/><Relationship Id="rId1" Type="http://schemas.openxmlformats.org/officeDocument/2006/relationships/tags" Target="../tags/tag7.xml"/><Relationship Id="rId6" Type="http://schemas.openxmlformats.org/officeDocument/2006/relationships/tags" Target="../tags/tag12.xml"/><Relationship Id="rId11" Type="http://schemas.openxmlformats.org/officeDocument/2006/relationships/diagramQuickStyle" Target="../diagrams/quickStyle4.xml"/><Relationship Id="rId5" Type="http://schemas.openxmlformats.org/officeDocument/2006/relationships/tags" Target="../tags/tag11.xml"/><Relationship Id="rId15" Type="http://schemas.openxmlformats.org/officeDocument/2006/relationships/image" Target="../media/image51.jpeg"/><Relationship Id="rId10" Type="http://schemas.openxmlformats.org/officeDocument/2006/relationships/diagramLayout" Target="../diagrams/layout4.xml"/><Relationship Id="rId4" Type="http://schemas.openxmlformats.org/officeDocument/2006/relationships/tags" Target="../tags/tag10.xml"/><Relationship Id="rId9" Type="http://schemas.openxmlformats.org/officeDocument/2006/relationships/diagramData" Target="../diagrams/data4.xml"/><Relationship Id="rId14" Type="http://schemas.openxmlformats.org/officeDocument/2006/relationships/image" Target="../media/image50.jpeg"/></Relationships>
</file>

<file path=ppt/slides/_rels/slide12.xml.rels><?xml version="1.0" encoding="UTF-8" standalone="yes"?>
<Relationships xmlns="http://schemas.openxmlformats.org/package/2006/relationships"><Relationship Id="rId3" Type="http://schemas.openxmlformats.org/officeDocument/2006/relationships/image" Target="../media/image53.jpeg"/><Relationship Id="rId2" Type="http://schemas.openxmlformats.org/officeDocument/2006/relationships/image" Target="../media/image52.jpeg"/><Relationship Id="rId1" Type="http://schemas.openxmlformats.org/officeDocument/2006/relationships/slideLayout" Target="../slideLayouts/slideLayout35.xml"/><Relationship Id="rId5" Type="http://schemas.openxmlformats.org/officeDocument/2006/relationships/image" Target="../media/image22.gif"/><Relationship Id="rId4" Type="http://schemas.openxmlformats.org/officeDocument/2006/relationships/image" Target="../media/image54.gif"/></Relationships>
</file>

<file path=ppt/slides/_rels/slide13.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5.jpeg"/><Relationship Id="rId1" Type="http://schemas.openxmlformats.org/officeDocument/2006/relationships/slideLayout" Target="../slideLayouts/slideLayout39.xml"/><Relationship Id="rId5" Type="http://schemas.openxmlformats.org/officeDocument/2006/relationships/image" Target="../media/image57.png"/><Relationship Id="rId4" Type="http://schemas.openxmlformats.org/officeDocument/2006/relationships/image" Target="../media/image22.gif"/></Relationships>
</file>

<file path=ppt/slides/_rels/slide14.xml.rels><?xml version="1.0" encoding="UTF-8" standalone="yes"?>
<Relationships xmlns="http://schemas.openxmlformats.org/package/2006/relationships"><Relationship Id="rId3" Type="http://schemas.openxmlformats.org/officeDocument/2006/relationships/image" Target="../media/image59.jpeg"/><Relationship Id="rId2" Type="http://schemas.openxmlformats.org/officeDocument/2006/relationships/slideLayout" Target="../slideLayouts/slideLayout24.xml"/><Relationship Id="rId1" Type="http://schemas.openxmlformats.org/officeDocument/2006/relationships/vmlDrawing" Target="../drawings/vmlDrawing3.vml"/><Relationship Id="rId6" Type="http://schemas.openxmlformats.org/officeDocument/2006/relationships/image" Target="../media/image22.gif"/><Relationship Id="rId5" Type="http://schemas.openxmlformats.org/officeDocument/2006/relationships/image" Target="../media/image60.jpeg"/><Relationship Id="rId4" Type="http://schemas.openxmlformats.org/officeDocument/2006/relationships/oleObject" Target="../embeddings/oleObject2.bin"/></Relationships>
</file>

<file path=ppt/slides/_rels/slide15.xml.rels><?xml version="1.0" encoding="UTF-8" standalone="yes"?>
<Relationships xmlns="http://schemas.openxmlformats.org/package/2006/relationships"><Relationship Id="rId8" Type="http://schemas.openxmlformats.org/officeDocument/2006/relationships/image" Target="../media/image61.jpeg"/><Relationship Id="rId3" Type="http://schemas.openxmlformats.org/officeDocument/2006/relationships/diagramData" Target="../diagrams/data5.xml"/><Relationship Id="rId7" Type="http://schemas.microsoft.com/office/2007/relationships/diagramDrawing" Target="../diagrams/drawing5.xml"/><Relationship Id="rId12" Type="http://schemas.openxmlformats.org/officeDocument/2006/relationships/image" Target="../media/image22.gif"/><Relationship Id="rId2" Type="http://schemas.openxmlformats.org/officeDocument/2006/relationships/image" Target="../media/image30.jpeg"/><Relationship Id="rId1" Type="http://schemas.openxmlformats.org/officeDocument/2006/relationships/slideLayout" Target="../slideLayouts/slideLayout44.xml"/><Relationship Id="rId6" Type="http://schemas.openxmlformats.org/officeDocument/2006/relationships/diagramColors" Target="../diagrams/colors5.xml"/><Relationship Id="rId11" Type="http://schemas.openxmlformats.org/officeDocument/2006/relationships/image" Target="../media/image64.png"/><Relationship Id="rId5" Type="http://schemas.openxmlformats.org/officeDocument/2006/relationships/diagramQuickStyle" Target="../diagrams/quickStyle5.xml"/><Relationship Id="rId10" Type="http://schemas.openxmlformats.org/officeDocument/2006/relationships/image" Target="../media/image63.png"/><Relationship Id="rId4" Type="http://schemas.openxmlformats.org/officeDocument/2006/relationships/diagramLayout" Target="../diagrams/layout5.xml"/><Relationship Id="rId9" Type="http://schemas.openxmlformats.org/officeDocument/2006/relationships/image" Target="../media/image62.jpeg"/></Relationships>
</file>

<file path=ppt/slides/_rels/slide16.xml.rels><?xml version="1.0" encoding="UTF-8" standalone="yes"?>
<Relationships xmlns="http://schemas.openxmlformats.org/package/2006/relationships"><Relationship Id="rId3" Type="http://schemas.openxmlformats.org/officeDocument/2006/relationships/image" Target="../media/image66.jpeg"/><Relationship Id="rId2" Type="http://schemas.openxmlformats.org/officeDocument/2006/relationships/image" Target="../media/image65.jpeg"/><Relationship Id="rId1" Type="http://schemas.openxmlformats.org/officeDocument/2006/relationships/slideLayout" Target="../slideLayouts/slideLayout37.xml"/><Relationship Id="rId4" Type="http://schemas.openxmlformats.org/officeDocument/2006/relationships/image" Target="../media/image22.gif"/></Relationships>
</file>

<file path=ppt/slides/_rels/slide17.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image" Target="../media/image67.png"/><Relationship Id="rId1" Type="http://schemas.openxmlformats.org/officeDocument/2006/relationships/slideLayout" Target="../slideLayouts/slideLayout76.xml"/></Relationships>
</file>

<file path=ppt/slides/_rels/slide18.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image" Target="../media/image68.jpeg"/><Relationship Id="rId1" Type="http://schemas.openxmlformats.org/officeDocument/2006/relationships/slideLayout" Target="../slideLayouts/slideLayout81.xml"/></Relationships>
</file>

<file path=ppt/slides/_rels/slide19.xml.rels><?xml version="1.0" encoding="UTF-8" standalone="yes"?>
<Relationships xmlns="http://schemas.openxmlformats.org/package/2006/relationships"><Relationship Id="rId8" Type="http://schemas.openxmlformats.org/officeDocument/2006/relationships/tags" Target="../tags/tag20.xml"/><Relationship Id="rId13" Type="http://schemas.openxmlformats.org/officeDocument/2006/relationships/image" Target="../media/image72.png"/><Relationship Id="rId18" Type="http://schemas.openxmlformats.org/officeDocument/2006/relationships/image" Target="../media/image77.jpeg"/><Relationship Id="rId3" Type="http://schemas.openxmlformats.org/officeDocument/2006/relationships/tags" Target="../tags/tag15.xml"/><Relationship Id="rId7" Type="http://schemas.openxmlformats.org/officeDocument/2006/relationships/tags" Target="../tags/tag19.xml"/><Relationship Id="rId12" Type="http://schemas.openxmlformats.org/officeDocument/2006/relationships/image" Target="../media/image71.png"/><Relationship Id="rId17" Type="http://schemas.openxmlformats.org/officeDocument/2006/relationships/image" Target="../media/image76.png"/><Relationship Id="rId2" Type="http://schemas.openxmlformats.org/officeDocument/2006/relationships/tags" Target="../tags/tag14.xml"/><Relationship Id="rId16" Type="http://schemas.openxmlformats.org/officeDocument/2006/relationships/image" Target="../media/image75.jpeg"/><Relationship Id="rId1" Type="http://schemas.openxmlformats.org/officeDocument/2006/relationships/tags" Target="../tags/tag13.xml"/><Relationship Id="rId6" Type="http://schemas.openxmlformats.org/officeDocument/2006/relationships/tags" Target="../tags/tag18.xml"/><Relationship Id="rId11" Type="http://schemas.openxmlformats.org/officeDocument/2006/relationships/image" Target="../media/image70.png"/><Relationship Id="rId5" Type="http://schemas.openxmlformats.org/officeDocument/2006/relationships/tags" Target="../tags/tag17.xml"/><Relationship Id="rId15" Type="http://schemas.openxmlformats.org/officeDocument/2006/relationships/image" Target="../media/image74.png"/><Relationship Id="rId10" Type="http://schemas.openxmlformats.org/officeDocument/2006/relationships/image" Target="../media/image69.jpeg"/><Relationship Id="rId19" Type="http://schemas.openxmlformats.org/officeDocument/2006/relationships/image" Target="../media/image78.jpeg"/><Relationship Id="rId4" Type="http://schemas.openxmlformats.org/officeDocument/2006/relationships/tags" Target="../tags/tag16.xml"/><Relationship Id="rId9" Type="http://schemas.openxmlformats.org/officeDocument/2006/relationships/slideLayout" Target="../slideLayouts/slideLayout81.xml"/><Relationship Id="rId14" Type="http://schemas.openxmlformats.org/officeDocument/2006/relationships/image" Target="../media/image73.png"/></Relationships>
</file>

<file path=ppt/slides/_rels/slide2.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notesSlide" Target="../notesSlides/notesSlide1.xml"/><Relationship Id="rId1" Type="http://schemas.openxmlformats.org/officeDocument/2006/relationships/slideLayout" Target="../slideLayouts/slideLayout24.xml"/><Relationship Id="rId5" Type="http://schemas.openxmlformats.org/officeDocument/2006/relationships/image" Target="../media/image26.jpeg"/><Relationship Id="rId4" Type="http://schemas.openxmlformats.org/officeDocument/2006/relationships/image" Target="../media/image22.gif"/></Relationships>
</file>

<file path=ppt/slides/_rels/slide20.xml.rels><?xml version="1.0" encoding="UTF-8" standalone="yes"?>
<Relationships xmlns="http://schemas.openxmlformats.org/package/2006/relationships"><Relationship Id="rId3" Type="http://schemas.openxmlformats.org/officeDocument/2006/relationships/slide" Target="slide13.xml"/><Relationship Id="rId2" Type="http://schemas.openxmlformats.org/officeDocument/2006/relationships/slideLayout" Target="../slideLayouts/slideLayout81.xml"/><Relationship Id="rId1" Type="http://schemas.openxmlformats.org/officeDocument/2006/relationships/tags" Target="../tags/tag21.xml"/><Relationship Id="rId5" Type="http://schemas.openxmlformats.org/officeDocument/2006/relationships/image" Target="../media/image80.jpeg"/><Relationship Id="rId4" Type="http://schemas.openxmlformats.org/officeDocument/2006/relationships/image" Target="../media/image79.jpeg"/></Relationships>
</file>

<file path=ppt/slides/_rels/slide21.xml.rels><?xml version="1.0" encoding="UTF-8" standalone="yes"?>
<Relationships xmlns="http://schemas.openxmlformats.org/package/2006/relationships"><Relationship Id="rId3" Type="http://schemas.openxmlformats.org/officeDocument/2006/relationships/image" Target="../media/image81.jpeg"/><Relationship Id="rId2" Type="http://schemas.openxmlformats.org/officeDocument/2006/relationships/slideLayout" Target="../slideLayouts/slideLayout81.xml"/><Relationship Id="rId1" Type="http://schemas.openxmlformats.org/officeDocument/2006/relationships/tags" Target="../tags/tag22.xml"/><Relationship Id="rId5" Type="http://schemas.openxmlformats.org/officeDocument/2006/relationships/image" Target="../media/image83.png"/><Relationship Id="rId4" Type="http://schemas.openxmlformats.org/officeDocument/2006/relationships/image" Target="../media/image82.png"/></Relationships>
</file>

<file path=ppt/slides/_rels/slide22.xml.rels><?xml version="1.0" encoding="UTF-8" standalone="yes"?>
<Relationships xmlns="http://schemas.openxmlformats.org/package/2006/relationships"><Relationship Id="rId3" Type="http://schemas.openxmlformats.org/officeDocument/2006/relationships/image" Target="../media/image84.jpeg"/><Relationship Id="rId2" Type="http://schemas.openxmlformats.org/officeDocument/2006/relationships/slideLayout" Target="../slideLayouts/slideLayout76.xml"/><Relationship Id="rId1" Type="http://schemas.openxmlformats.org/officeDocument/2006/relationships/video" Target="file:///J:\&#22522;&#30784;\&#21487;&#21475;&#21487;&#20048;VS&#30334;&#20107;&#21487;&#20048;&#65306;40&#31186;&#24102;&#20320;&#30475;&#25026;&#30899;&#37240;&#39278;&#26009;&#20004;&#24040;&#22836;&#30340;&#30334;&#24180;&#21830;&#26631;&#20043;&#20105;.mp4" TargetMode="External"/><Relationship Id="rId4" Type="http://schemas.openxmlformats.org/officeDocument/2006/relationships/image" Target="../media/image85.png"/></Relationships>
</file>

<file path=ppt/slides/_rels/slide23.xml.rels><?xml version="1.0" encoding="UTF-8" standalone="yes"?>
<Relationships xmlns="http://schemas.openxmlformats.org/package/2006/relationships"><Relationship Id="rId3" Type="http://schemas.openxmlformats.org/officeDocument/2006/relationships/image" Target="../media/image87.jpeg"/><Relationship Id="rId2" Type="http://schemas.openxmlformats.org/officeDocument/2006/relationships/image" Target="../media/image86.jpeg"/><Relationship Id="rId1" Type="http://schemas.openxmlformats.org/officeDocument/2006/relationships/slideLayout" Target="../slideLayouts/slideLayout81.xml"/></Relationships>
</file>

<file path=ppt/slides/_rels/slide24.xml.rels><?xml version="1.0" encoding="UTF-8" standalone="yes"?>
<Relationships xmlns="http://schemas.openxmlformats.org/package/2006/relationships"><Relationship Id="rId8" Type="http://schemas.openxmlformats.org/officeDocument/2006/relationships/diagramLayout" Target="../diagrams/layout6.xml"/><Relationship Id="rId13" Type="http://schemas.openxmlformats.org/officeDocument/2006/relationships/image" Target="../media/image90.png"/><Relationship Id="rId3" Type="http://schemas.openxmlformats.org/officeDocument/2006/relationships/tags" Target="../tags/tag25.xml"/><Relationship Id="rId7" Type="http://schemas.openxmlformats.org/officeDocument/2006/relationships/diagramData" Target="../diagrams/data6.xml"/><Relationship Id="rId12" Type="http://schemas.openxmlformats.org/officeDocument/2006/relationships/image" Target="../media/image89.jpeg"/><Relationship Id="rId2" Type="http://schemas.openxmlformats.org/officeDocument/2006/relationships/tags" Target="../tags/tag24.xml"/><Relationship Id="rId16" Type="http://schemas.openxmlformats.org/officeDocument/2006/relationships/image" Target="../media/image92.png"/><Relationship Id="rId1" Type="http://schemas.openxmlformats.org/officeDocument/2006/relationships/tags" Target="../tags/tag23.xml"/><Relationship Id="rId6" Type="http://schemas.openxmlformats.org/officeDocument/2006/relationships/image" Target="../media/image88.jpeg"/><Relationship Id="rId11" Type="http://schemas.microsoft.com/office/2007/relationships/diagramDrawing" Target="../diagrams/drawing6.xml"/><Relationship Id="rId5" Type="http://schemas.openxmlformats.org/officeDocument/2006/relationships/slide" Target="slide16.xml"/><Relationship Id="rId15" Type="http://schemas.openxmlformats.org/officeDocument/2006/relationships/image" Target="../media/image91.jpeg"/><Relationship Id="rId10" Type="http://schemas.openxmlformats.org/officeDocument/2006/relationships/diagramColors" Target="../diagrams/colors6.xml"/><Relationship Id="rId4" Type="http://schemas.openxmlformats.org/officeDocument/2006/relationships/slideLayout" Target="../slideLayouts/slideLayout81.xml"/><Relationship Id="rId9" Type="http://schemas.openxmlformats.org/officeDocument/2006/relationships/diagramQuickStyle" Target="../diagrams/quickStyle6.xml"/><Relationship Id="rId14" Type="http://schemas.openxmlformats.org/officeDocument/2006/relationships/slide" Target="slide15.xml"/></Relationships>
</file>

<file path=ppt/slides/_rels/slide25.xml.rels><?xml version="1.0" encoding="UTF-8" standalone="yes"?>
<Relationships xmlns="http://schemas.openxmlformats.org/package/2006/relationships"><Relationship Id="rId3" Type="http://schemas.openxmlformats.org/officeDocument/2006/relationships/image" Target="../media/image22.gif"/><Relationship Id="rId2" Type="http://schemas.openxmlformats.org/officeDocument/2006/relationships/image" Target="../media/image93.jpeg"/><Relationship Id="rId1" Type="http://schemas.openxmlformats.org/officeDocument/2006/relationships/slideLayout" Target="../slideLayouts/slideLayout24.xml"/><Relationship Id="rId5" Type="http://schemas.openxmlformats.org/officeDocument/2006/relationships/image" Target="../media/image95.jpeg"/><Relationship Id="rId4" Type="http://schemas.openxmlformats.org/officeDocument/2006/relationships/image" Target="../media/image94.png"/></Relationships>
</file>

<file path=ppt/slides/_rels/slide26.xml.rels><?xml version="1.0" encoding="UTF-8" standalone="yes"?>
<Relationships xmlns="http://schemas.openxmlformats.org/package/2006/relationships"><Relationship Id="rId3" Type="http://schemas.openxmlformats.org/officeDocument/2006/relationships/image" Target="../media/image97.jpeg"/><Relationship Id="rId2" Type="http://schemas.openxmlformats.org/officeDocument/2006/relationships/image" Target="../media/image96.jpeg"/><Relationship Id="rId1" Type="http://schemas.openxmlformats.org/officeDocument/2006/relationships/slideLayout" Target="../slideLayouts/slideLayout81.xml"/><Relationship Id="rId5" Type="http://schemas.openxmlformats.org/officeDocument/2006/relationships/image" Target="../media/image99.jpeg"/><Relationship Id="rId4" Type="http://schemas.openxmlformats.org/officeDocument/2006/relationships/image" Target="../media/image98.jpeg"/></Relationships>
</file>

<file path=ppt/slides/_rels/slide27.xml.rels><?xml version="1.0" encoding="UTF-8" standalone="yes"?>
<Relationships xmlns="http://schemas.openxmlformats.org/package/2006/relationships"><Relationship Id="rId3" Type="http://schemas.openxmlformats.org/officeDocument/2006/relationships/image" Target="../media/image100.jpeg"/><Relationship Id="rId2" Type="http://schemas.openxmlformats.org/officeDocument/2006/relationships/slideLayout" Target="../slideLayouts/slideLayout81.xml"/><Relationship Id="rId1" Type="http://schemas.openxmlformats.org/officeDocument/2006/relationships/tags" Target="../tags/tag26.xml"/><Relationship Id="rId4" Type="http://schemas.openxmlformats.org/officeDocument/2006/relationships/image" Target="../media/image101.png"/></Relationships>
</file>

<file path=ppt/slides/_rels/slide28.xml.rels><?xml version="1.0" encoding="UTF-8" standalone="yes"?>
<Relationships xmlns="http://schemas.openxmlformats.org/package/2006/relationships"><Relationship Id="rId3" Type="http://schemas.openxmlformats.org/officeDocument/2006/relationships/image" Target="../media/image103.jpeg"/><Relationship Id="rId2" Type="http://schemas.openxmlformats.org/officeDocument/2006/relationships/image" Target="../media/image102.jpeg"/><Relationship Id="rId1" Type="http://schemas.openxmlformats.org/officeDocument/2006/relationships/slideLayout" Target="../slideLayouts/slideLayout78.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75.xml"/></Relationships>
</file>

<file path=ppt/slides/_rels/slide3.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image" Target="../media/image27.jpeg"/><Relationship Id="rId1" Type="http://schemas.openxmlformats.org/officeDocument/2006/relationships/slideLayout" Target="../slideLayouts/slideLayout29.xml"/><Relationship Id="rId5" Type="http://schemas.openxmlformats.org/officeDocument/2006/relationships/image" Target="../media/image22.gif"/><Relationship Id="rId4" Type="http://schemas.openxmlformats.org/officeDocument/2006/relationships/image" Target="../media/image29.jpeg"/></Relationships>
</file>

<file path=ppt/slides/_rels/slide4.xml.rels><?xml version="1.0" encoding="UTF-8" standalone="yes"?>
<Relationships xmlns="http://schemas.openxmlformats.org/package/2006/relationships"><Relationship Id="rId8" Type="http://schemas.openxmlformats.org/officeDocument/2006/relationships/notesSlide" Target="../notesSlides/notesSlide2.xml"/><Relationship Id="rId13" Type="http://schemas.openxmlformats.org/officeDocument/2006/relationships/diagramColors" Target="../diagrams/colors1.xml"/><Relationship Id="rId18" Type="http://schemas.openxmlformats.org/officeDocument/2006/relationships/diagramLayout" Target="../diagrams/layout2.xml"/><Relationship Id="rId3" Type="http://schemas.openxmlformats.org/officeDocument/2006/relationships/tags" Target="../tags/tag3.xml"/><Relationship Id="rId21" Type="http://schemas.microsoft.com/office/2007/relationships/diagramDrawing" Target="../diagrams/drawing2.xml"/><Relationship Id="rId7" Type="http://schemas.openxmlformats.org/officeDocument/2006/relationships/slideLayout" Target="../slideLayouts/slideLayout44.xml"/><Relationship Id="rId12" Type="http://schemas.openxmlformats.org/officeDocument/2006/relationships/diagramQuickStyle" Target="../diagrams/quickStyle1.xml"/><Relationship Id="rId17" Type="http://schemas.openxmlformats.org/officeDocument/2006/relationships/diagramData" Target="../diagrams/data2.xml"/><Relationship Id="rId2" Type="http://schemas.openxmlformats.org/officeDocument/2006/relationships/tags" Target="../tags/tag2.xml"/><Relationship Id="rId16" Type="http://schemas.openxmlformats.org/officeDocument/2006/relationships/image" Target="../media/image32.jpeg"/><Relationship Id="rId20" Type="http://schemas.openxmlformats.org/officeDocument/2006/relationships/diagramColors" Target="../diagrams/colors2.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diagramLayout" Target="../diagrams/layout1.xml"/><Relationship Id="rId24" Type="http://schemas.openxmlformats.org/officeDocument/2006/relationships/image" Target="../media/image34.jpeg"/><Relationship Id="rId5" Type="http://schemas.openxmlformats.org/officeDocument/2006/relationships/tags" Target="../tags/tag5.xml"/><Relationship Id="rId15" Type="http://schemas.openxmlformats.org/officeDocument/2006/relationships/image" Target="../media/image31.jpeg"/><Relationship Id="rId23" Type="http://schemas.openxmlformats.org/officeDocument/2006/relationships/image" Target="../media/image22.gif"/><Relationship Id="rId10" Type="http://schemas.openxmlformats.org/officeDocument/2006/relationships/diagramData" Target="../diagrams/data1.xml"/><Relationship Id="rId19" Type="http://schemas.openxmlformats.org/officeDocument/2006/relationships/diagramQuickStyle" Target="../diagrams/quickStyle2.xml"/><Relationship Id="rId4" Type="http://schemas.openxmlformats.org/officeDocument/2006/relationships/tags" Target="../tags/tag4.xml"/><Relationship Id="rId9" Type="http://schemas.openxmlformats.org/officeDocument/2006/relationships/image" Target="../media/image30.jpeg"/><Relationship Id="rId14" Type="http://schemas.microsoft.com/office/2007/relationships/diagramDrawing" Target="../diagrams/drawing1.xml"/><Relationship Id="rId22" Type="http://schemas.openxmlformats.org/officeDocument/2006/relationships/image" Target="../media/image33.jpeg"/></Relationships>
</file>

<file path=ppt/slides/_rels/slide5.xml.rels><?xml version="1.0" encoding="UTF-8" standalone="yes"?>
<Relationships xmlns="http://schemas.openxmlformats.org/package/2006/relationships"><Relationship Id="rId2" Type="http://schemas.openxmlformats.org/officeDocument/2006/relationships/image" Target="../media/image22.gif"/><Relationship Id="rId1" Type="http://schemas.openxmlformats.org/officeDocument/2006/relationships/slideLayout" Target="../slideLayouts/slideLayout26.xml"/></Relationships>
</file>

<file path=ppt/slides/_rels/slide6.xml.rels><?xml version="1.0" encoding="UTF-8" standalone="yes"?>
<Relationships xmlns="http://schemas.openxmlformats.org/package/2006/relationships"><Relationship Id="rId3" Type="http://schemas.openxmlformats.org/officeDocument/2006/relationships/image" Target="../media/image36.jpeg"/><Relationship Id="rId7" Type="http://schemas.openxmlformats.org/officeDocument/2006/relationships/oleObject" Target="../embeddings/oleObject1.bin"/><Relationship Id="rId2" Type="http://schemas.openxmlformats.org/officeDocument/2006/relationships/slideLayout" Target="../slideLayouts/slideLayout24.xml"/><Relationship Id="rId1" Type="http://schemas.openxmlformats.org/officeDocument/2006/relationships/vmlDrawing" Target="../drawings/vmlDrawing1.vml"/><Relationship Id="rId6" Type="http://schemas.openxmlformats.org/officeDocument/2006/relationships/image" Target="../media/image22.gif"/><Relationship Id="rId5" Type="http://schemas.openxmlformats.org/officeDocument/2006/relationships/image" Target="../media/image38.jpeg"/><Relationship Id="rId4" Type="http://schemas.openxmlformats.org/officeDocument/2006/relationships/image" Target="../media/image37.jpeg"/></Relationships>
</file>

<file path=ppt/slides/_rels/slide7.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3.xml"/><Relationship Id="rId1" Type="http://schemas.openxmlformats.org/officeDocument/2006/relationships/slideLayout" Target="../slideLayouts/slideLayout62.xml"/><Relationship Id="rId6" Type="http://schemas.openxmlformats.org/officeDocument/2006/relationships/image" Target="../media/image22.gif"/><Relationship Id="rId5" Type="http://schemas.openxmlformats.org/officeDocument/2006/relationships/image" Target="../media/image41.jpeg"/><Relationship Id="rId4" Type="http://schemas.openxmlformats.org/officeDocument/2006/relationships/image" Target="../media/image40.png"/></Relationships>
</file>

<file path=ppt/slides/_rels/slide8.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image" Target="../media/image22.gif"/><Relationship Id="rId1" Type="http://schemas.openxmlformats.org/officeDocument/2006/relationships/slideLayout" Target="../slideLayouts/slideLayout24.xml"/></Relationships>
</file>

<file path=ppt/slides/_rels/slide9.xml.rels><?xml version="1.0" encoding="UTF-8" standalone="yes"?>
<Relationships xmlns="http://schemas.openxmlformats.org/package/2006/relationships"><Relationship Id="rId3" Type="http://schemas.openxmlformats.org/officeDocument/2006/relationships/image" Target="../media/image44.jpeg"/><Relationship Id="rId2" Type="http://schemas.openxmlformats.org/officeDocument/2006/relationships/image" Target="../media/image43.png"/><Relationship Id="rId1" Type="http://schemas.openxmlformats.org/officeDocument/2006/relationships/slideLayout" Target="../slideLayouts/slideLayout2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矩形 2"/>
          <p:cNvSpPr/>
          <p:nvPr/>
        </p:nvSpPr>
        <p:spPr>
          <a:xfrm>
            <a:off x="1371600" y="2819400"/>
            <a:ext cx="762000" cy="552450"/>
          </a:xfrm>
          <a:prstGeom prst="rect">
            <a:avLst/>
          </a:prstGeom>
          <a:solidFill>
            <a:srgbClr val="508235"/>
          </a:solidFill>
          <a:ln>
            <a:noFill/>
          </a:ln>
        </p:spPr>
        <p:style>
          <a:lnRef idx="2">
            <a:schemeClr val="accent1">
              <a:shade val="50000"/>
            </a:schemeClr>
          </a:lnRef>
          <a:fillRef idx="1">
            <a:schemeClr val="accent1"/>
          </a:fillRef>
          <a:effectRef idx="0">
            <a:schemeClr val="accent1"/>
          </a:effectRef>
          <a:fontRef idx="minor">
            <a:schemeClr val="lt1"/>
          </a:fontRef>
        </p:style>
        <p:txBody>
          <a:bodyPr lIns="91389" tIns="45694" rIns="91389" bIns="45694" anchor="ctr"/>
          <a:lstStyle/>
          <a:p>
            <a:pPr algn="ctr" fontAlgn="base">
              <a:spcBef>
                <a:spcPct val="0"/>
              </a:spcBef>
              <a:spcAft>
                <a:spcPct val="0"/>
              </a:spcAft>
              <a:defRPr/>
            </a:pPr>
            <a:endParaRPr lang="zh-CN" altLang="en-US" sz="4100" dirty="0">
              <a:solidFill>
                <a:prstClr val="white"/>
              </a:solidFill>
              <a:effectLst>
                <a:outerShdw blurRad="38100" dist="38100" dir="2700000" algn="tl">
                  <a:srgbClr val="000000">
                    <a:alpha val="43137"/>
                  </a:srgbClr>
                </a:outerShdw>
              </a:effectLst>
            </a:endParaRPr>
          </a:p>
        </p:txBody>
      </p:sp>
      <p:grpSp>
        <p:nvGrpSpPr>
          <p:cNvPr id="2" name="组合 3"/>
          <p:cNvGrpSpPr>
            <a:grpSpLocks/>
          </p:cNvGrpSpPr>
          <p:nvPr/>
        </p:nvGrpSpPr>
        <p:grpSpPr bwMode="auto">
          <a:xfrm>
            <a:off x="2209800" y="2819400"/>
            <a:ext cx="6248400" cy="600075"/>
            <a:chOff x="4051725" y="1639613"/>
            <a:chExt cx="4925153" cy="597470"/>
          </a:xfrm>
        </p:grpSpPr>
        <p:sp>
          <p:nvSpPr>
            <p:cNvPr id="5" name="五边形 4"/>
            <p:cNvSpPr/>
            <p:nvPr/>
          </p:nvSpPr>
          <p:spPr>
            <a:xfrm>
              <a:off x="4051725" y="1639613"/>
              <a:ext cx="4856331" cy="548472"/>
            </a:xfrm>
            <a:prstGeom prst="homePlate">
              <a:avLst/>
            </a:prstGeom>
            <a:solidFill>
              <a:srgbClr val="50823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zh-CN" altLang="en-US" sz="2500" dirty="0">
                <a:solidFill>
                  <a:prstClr val="white"/>
                </a:solidFill>
                <a:effectLst>
                  <a:outerShdw blurRad="38100" dist="38100" dir="2700000" algn="tl">
                    <a:srgbClr val="000000">
                      <a:alpha val="43137"/>
                    </a:srgbClr>
                  </a:outerShdw>
                </a:effectLst>
              </a:endParaRPr>
            </a:p>
          </p:txBody>
        </p:sp>
        <p:sp>
          <p:nvSpPr>
            <p:cNvPr id="108560" name="TextBox 6"/>
            <p:cNvSpPr txBox="1">
              <a:spLocks noChangeArrowheads="1"/>
            </p:cNvSpPr>
            <p:nvPr/>
          </p:nvSpPr>
          <p:spPr bwMode="auto">
            <a:xfrm>
              <a:off x="4120547" y="1715482"/>
              <a:ext cx="4856331" cy="521601"/>
            </a:xfrm>
            <a:prstGeom prst="rect">
              <a:avLst/>
            </a:prstGeom>
            <a:noFill/>
            <a:ln w="9525">
              <a:noFill/>
              <a:miter lim="800000"/>
              <a:headEnd/>
              <a:tailEnd/>
            </a:ln>
          </p:spPr>
          <p:txBody>
            <a:bodyPr>
              <a:spAutoFit/>
            </a:bodyPr>
            <a:lstStyle/>
            <a:p>
              <a:pPr fontAlgn="base">
                <a:spcBef>
                  <a:spcPct val="0"/>
                </a:spcBef>
                <a:spcAft>
                  <a:spcPct val="0"/>
                </a:spcAft>
                <a:defRPr/>
              </a:pPr>
              <a:r>
                <a:rPr lang="zh-CN" altLang="en-US" sz="2800" dirty="0">
                  <a:solidFill>
                    <a:prstClr val="white"/>
                  </a:solidFill>
                  <a:effectLst>
                    <a:outerShdw blurRad="38100" dist="38100" dir="2700000" algn="tl">
                      <a:srgbClr val="000000">
                        <a:alpha val="43137"/>
                      </a:srgbClr>
                    </a:outerShdw>
                  </a:effectLst>
                  <a:latin typeface="黑体" pitchFamily="49" charset="-122"/>
                  <a:ea typeface="黑体" pitchFamily="49" charset="-122"/>
                </a:rPr>
                <a:t>促进个人与他人的和谐应坚持的原则</a:t>
              </a:r>
            </a:p>
          </p:txBody>
        </p:sp>
      </p:grpSp>
      <p:sp>
        <p:nvSpPr>
          <p:cNvPr id="8" name="矩形 7"/>
          <p:cNvSpPr/>
          <p:nvPr/>
        </p:nvSpPr>
        <p:spPr>
          <a:xfrm>
            <a:off x="1371600" y="4419600"/>
            <a:ext cx="762000" cy="552450"/>
          </a:xfrm>
          <a:prstGeom prst="rect">
            <a:avLst/>
          </a:prstGeom>
          <a:solidFill>
            <a:srgbClr val="508235"/>
          </a:solidFill>
          <a:ln>
            <a:noFill/>
          </a:ln>
        </p:spPr>
        <p:style>
          <a:lnRef idx="2">
            <a:schemeClr val="accent1">
              <a:shade val="50000"/>
            </a:schemeClr>
          </a:lnRef>
          <a:fillRef idx="1">
            <a:schemeClr val="accent1"/>
          </a:fillRef>
          <a:effectRef idx="0">
            <a:schemeClr val="accent1"/>
          </a:effectRef>
          <a:fontRef idx="minor">
            <a:schemeClr val="lt1"/>
          </a:fontRef>
        </p:style>
        <p:txBody>
          <a:bodyPr lIns="91389" tIns="45694" rIns="91389" bIns="45694" anchor="ctr"/>
          <a:lstStyle/>
          <a:p>
            <a:pPr algn="ctr" fontAlgn="base">
              <a:spcBef>
                <a:spcPct val="0"/>
              </a:spcBef>
              <a:spcAft>
                <a:spcPct val="0"/>
              </a:spcAft>
              <a:defRPr/>
            </a:pPr>
            <a:endParaRPr lang="zh-CN" altLang="en-US" sz="4100" dirty="0">
              <a:solidFill>
                <a:prstClr val="white"/>
              </a:solidFill>
              <a:effectLst>
                <a:outerShdw blurRad="38100" dist="38100" dir="2700000" algn="tl">
                  <a:srgbClr val="000000">
                    <a:alpha val="43137"/>
                  </a:srgbClr>
                </a:outerShdw>
              </a:effectLst>
            </a:endParaRPr>
          </a:p>
        </p:txBody>
      </p:sp>
      <p:sp>
        <p:nvSpPr>
          <p:cNvPr id="11" name="TextBox 28"/>
          <p:cNvSpPr txBox="1">
            <a:spLocks noChangeArrowheads="1"/>
          </p:cNvSpPr>
          <p:nvPr/>
        </p:nvSpPr>
        <p:spPr bwMode="auto">
          <a:xfrm>
            <a:off x="1219200" y="2895600"/>
            <a:ext cx="914400" cy="369888"/>
          </a:xfrm>
          <a:prstGeom prst="rect">
            <a:avLst/>
          </a:prstGeom>
          <a:noFill/>
          <a:ln w="9525">
            <a:noFill/>
            <a:miter lim="800000"/>
            <a:headEnd/>
            <a:tailEnd/>
          </a:ln>
        </p:spPr>
        <p:txBody>
          <a:bodyPr lIns="91389" tIns="45694" rIns="91389" bIns="45694">
            <a:spAutoFit/>
          </a:bodyPr>
          <a:lstStyle/>
          <a:p>
            <a:pPr fontAlgn="base">
              <a:spcBef>
                <a:spcPct val="0"/>
              </a:spcBef>
              <a:spcAft>
                <a:spcPct val="0"/>
              </a:spcAft>
              <a:defRPr/>
            </a:pPr>
            <a:r>
              <a:rPr lang="zh-CN" altLang="en-US" b="1" dirty="0">
                <a:solidFill>
                  <a:prstClr val="white"/>
                </a:solidFill>
                <a:effectLst>
                  <a:outerShdw blurRad="38100" dist="38100" dir="2700000" algn="tl">
                    <a:srgbClr val="000000">
                      <a:alpha val="43137"/>
                    </a:srgbClr>
                  </a:outerShdw>
                </a:effectLst>
                <a:latin typeface="黑体" pitchFamily="49" charset="-122"/>
              </a:rPr>
              <a:t> （一）</a:t>
            </a:r>
          </a:p>
        </p:txBody>
      </p:sp>
      <p:grpSp>
        <p:nvGrpSpPr>
          <p:cNvPr id="4" name="组合 15"/>
          <p:cNvGrpSpPr>
            <a:grpSpLocks/>
          </p:cNvGrpSpPr>
          <p:nvPr/>
        </p:nvGrpSpPr>
        <p:grpSpPr bwMode="auto">
          <a:xfrm>
            <a:off x="2286000" y="4402138"/>
            <a:ext cx="5943600" cy="555625"/>
            <a:chOff x="4051725" y="1639613"/>
            <a:chExt cx="4855785" cy="552138"/>
          </a:xfrm>
        </p:grpSpPr>
        <p:sp>
          <p:nvSpPr>
            <p:cNvPr id="17" name="五边形 16"/>
            <p:cNvSpPr/>
            <p:nvPr/>
          </p:nvSpPr>
          <p:spPr>
            <a:xfrm>
              <a:off x="4051725" y="1639613"/>
              <a:ext cx="4855785" cy="548983"/>
            </a:xfrm>
            <a:prstGeom prst="homePlate">
              <a:avLst/>
            </a:prstGeom>
            <a:solidFill>
              <a:srgbClr val="50823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zh-CN" altLang="en-US" sz="2500" dirty="0">
                <a:solidFill>
                  <a:prstClr val="white"/>
                </a:solidFill>
                <a:effectLst>
                  <a:outerShdw blurRad="38100" dist="38100" dir="2700000" algn="tl">
                    <a:srgbClr val="000000">
                      <a:alpha val="43137"/>
                    </a:srgbClr>
                  </a:outerShdw>
                </a:effectLst>
              </a:endParaRPr>
            </a:p>
          </p:txBody>
        </p:sp>
        <p:sp>
          <p:nvSpPr>
            <p:cNvPr id="108558" name="TextBox 36"/>
            <p:cNvSpPr txBox="1">
              <a:spLocks noChangeArrowheads="1"/>
            </p:cNvSpPr>
            <p:nvPr/>
          </p:nvSpPr>
          <p:spPr bwMode="auto">
            <a:xfrm>
              <a:off x="4130839" y="1671164"/>
              <a:ext cx="4666430" cy="520587"/>
            </a:xfrm>
            <a:prstGeom prst="rect">
              <a:avLst/>
            </a:prstGeom>
            <a:noFill/>
            <a:ln w="9525">
              <a:noFill/>
              <a:miter lim="800000"/>
              <a:headEnd/>
              <a:tailEnd/>
            </a:ln>
          </p:spPr>
          <p:txBody>
            <a:bodyPr>
              <a:spAutoFit/>
            </a:bodyPr>
            <a:lstStyle/>
            <a:p>
              <a:pPr fontAlgn="base">
                <a:spcBef>
                  <a:spcPct val="0"/>
                </a:spcBef>
                <a:spcAft>
                  <a:spcPct val="0"/>
                </a:spcAft>
                <a:defRPr/>
              </a:pPr>
              <a:r>
                <a:rPr lang="zh-CN" altLang="en-US" sz="2800" dirty="0">
                  <a:solidFill>
                    <a:prstClr val="white"/>
                  </a:solidFill>
                  <a:effectLst>
                    <a:outerShdw blurRad="38100" dist="38100" dir="2700000" algn="tl">
                      <a:srgbClr val="000000">
                        <a:alpha val="43137"/>
                      </a:srgbClr>
                    </a:outerShdw>
                  </a:effectLst>
                  <a:latin typeface="黑体" pitchFamily="49" charset="-122"/>
                  <a:ea typeface="黑体" pitchFamily="49" charset="-122"/>
                </a:rPr>
                <a:t>正确认识和处理竞争与合作的关系</a:t>
              </a:r>
            </a:p>
          </p:txBody>
        </p:sp>
      </p:grpSp>
      <p:sp>
        <p:nvSpPr>
          <p:cNvPr id="19" name="TextBox 37"/>
          <p:cNvSpPr txBox="1">
            <a:spLocks noChangeArrowheads="1"/>
          </p:cNvSpPr>
          <p:nvPr/>
        </p:nvSpPr>
        <p:spPr bwMode="auto">
          <a:xfrm>
            <a:off x="1295400" y="4495800"/>
            <a:ext cx="914400" cy="369888"/>
          </a:xfrm>
          <a:prstGeom prst="rect">
            <a:avLst/>
          </a:prstGeom>
          <a:noFill/>
          <a:ln w="9525">
            <a:noFill/>
            <a:miter lim="800000"/>
            <a:headEnd/>
            <a:tailEnd/>
          </a:ln>
        </p:spPr>
        <p:txBody>
          <a:bodyPr lIns="91389" tIns="45694" rIns="91389" bIns="45694">
            <a:spAutoFit/>
          </a:bodyPr>
          <a:lstStyle/>
          <a:p>
            <a:pPr fontAlgn="base">
              <a:spcBef>
                <a:spcPct val="0"/>
              </a:spcBef>
              <a:spcAft>
                <a:spcPct val="0"/>
              </a:spcAft>
              <a:defRPr/>
            </a:pPr>
            <a:r>
              <a:rPr lang="zh-CN" altLang="en-US" b="1" dirty="0">
                <a:solidFill>
                  <a:prstClr val="white"/>
                </a:solidFill>
                <a:effectLst>
                  <a:outerShdw blurRad="38100" dist="38100" dir="2700000" algn="tl">
                    <a:srgbClr val="000000">
                      <a:alpha val="43137"/>
                    </a:srgbClr>
                  </a:outerShdw>
                </a:effectLst>
                <a:latin typeface="黑体" pitchFamily="49" charset="-122"/>
              </a:rPr>
              <a:t>（二）</a:t>
            </a:r>
          </a:p>
        </p:txBody>
      </p:sp>
      <p:pic>
        <p:nvPicPr>
          <p:cNvPr id="354312" name="Picture 29" descr="运动边框"/>
          <p:cNvPicPr>
            <a:picLocks noChangeAspect="1" noChangeArrowheads="1" noCrop="1"/>
          </p:cNvPicPr>
          <p:nvPr/>
        </p:nvPicPr>
        <p:blipFill>
          <a:blip r:embed="rId2" cstate="print"/>
          <a:srcRect/>
          <a:stretch>
            <a:fillRect/>
          </a:stretch>
        </p:blipFill>
        <p:spPr bwMode="auto">
          <a:xfrm>
            <a:off x="5562600" y="6399213"/>
            <a:ext cx="3581400" cy="458787"/>
          </a:xfrm>
          <a:prstGeom prst="rect">
            <a:avLst/>
          </a:prstGeom>
          <a:noFill/>
          <a:ln w="9525">
            <a:noFill/>
            <a:miter lim="800000"/>
            <a:headEnd/>
            <a:tailEnd/>
          </a:ln>
        </p:spPr>
      </p:pic>
      <p:sp>
        <p:nvSpPr>
          <p:cNvPr id="108554" name="TextBox 20"/>
          <p:cNvSpPr txBox="1">
            <a:spLocks noChangeArrowheads="1"/>
          </p:cNvSpPr>
          <p:nvPr/>
        </p:nvSpPr>
        <p:spPr bwMode="auto">
          <a:xfrm>
            <a:off x="5715000" y="6488113"/>
            <a:ext cx="3429000" cy="646278"/>
          </a:xfrm>
          <a:prstGeom prst="rect">
            <a:avLst/>
          </a:prstGeom>
          <a:noFill/>
          <a:ln w="9525">
            <a:noFill/>
            <a:miter lim="800000"/>
            <a:headEnd/>
            <a:tailEnd/>
          </a:ln>
        </p:spPr>
        <p:txBody>
          <a:bodyPr lIns="91389" tIns="45694" rIns="91389" bIns="45694">
            <a:spAutoFit/>
          </a:bodyPr>
          <a:lstStyle/>
          <a:p>
            <a:pPr fontAlgn="base">
              <a:spcBef>
                <a:spcPct val="0"/>
              </a:spcBef>
              <a:spcAft>
                <a:spcPct val="0"/>
              </a:spcAft>
              <a:defRPr/>
            </a:pPr>
            <a:r>
              <a:rPr lang="zh-CN" altLang="en-US" b="1" dirty="0">
                <a:solidFill>
                  <a:prstClr val="white"/>
                </a:solidFill>
                <a:effectLst>
                  <a:outerShdw blurRad="38100" dist="38100" dir="2700000" algn="tl">
                    <a:srgbClr val="000000">
                      <a:alpha val="43137"/>
                    </a:srgbClr>
                  </a:outerShdw>
                </a:effectLst>
                <a:latin typeface="黑体" pitchFamily="49" charset="-122"/>
              </a:rPr>
              <a:t>第三节        科学对待人生环境</a:t>
            </a:r>
          </a:p>
        </p:txBody>
      </p:sp>
      <p:sp>
        <p:nvSpPr>
          <p:cNvPr id="23" name="文本框 31"/>
          <p:cNvSpPr txBox="1">
            <a:spLocks noChangeArrowheads="1"/>
          </p:cNvSpPr>
          <p:nvPr/>
        </p:nvSpPr>
        <p:spPr bwMode="auto">
          <a:xfrm>
            <a:off x="914403" y="1219231"/>
            <a:ext cx="7620000" cy="830944"/>
          </a:xfrm>
          <a:prstGeom prst="rect">
            <a:avLst/>
          </a:prstGeom>
          <a:noFill/>
          <a:ln w="9525">
            <a:noFill/>
            <a:miter lim="800000"/>
            <a:headEnd/>
            <a:tailEnd/>
          </a:ln>
        </p:spPr>
        <p:txBody>
          <a:bodyPr lIns="91389" tIns="45694" rIns="91389" bIns="45694">
            <a:spAutoFit/>
          </a:bodyPr>
          <a:lstStyle/>
          <a:p>
            <a:pPr fontAlgn="base">
              <a:spcBef>
                <a:spcPct val="0"/>
              </a:spcBef>
              <a:spcAft>
                <a:spcPct val="0"/>
              </a:spcAft>
              <a:defRPr/>
            </a:pPr>
            <a:r>
              <a:rPr lang="zh-CN" altLang="en-US" sz="4800" b="1" dirty="0">
                <a:ln w="28575">
                  <a:solidFill>
                    <a:prstClr val="white"/>
                  </a:solidFill>
                </a:ln>
                <a:solidFill>
                  <a:srgbClr val="508235"/>
                </a:solidFill>
                <a:effectLst>
                  <a:outerShdw blurRad="38100" dist="38100" dir="2700000" algn="tl">
                    <a:srgbClr val="000000">
                      <a:alpha val="43137"/>
                    </a:srgbClr>
                  </a:outerShdw>
                </a:effectLst>
                <a:latin typeface="黑体" pitchFamily="49" charset="-122"/>
                <a:ea typeface="黑体" pitchFamily="49" charset="-122"/>
              </a:rPr>
              <a:t>二、促进个人与他人的和谐</a:t>
            </a:r>
          </a:p>
        </p:txBody>
      </p:sp>
      <p:sp>
        <p:nvSpPr>
          <p:cNvPr id="24" name="圆角矩形 23"/>
          <p:cNvSpPr/>
          <p:nvPr/>
        </p:nvSpPr>
        <p:spPr>
          <a:xfrm>
            <a:off x="1143000" y="2057400"/>
            <a:ext cx="7127875" cy="307975"/>
          </a:xfrm>
          <a:prstGeom prst="roundRect">
            <a:avLst/>
          </a:prstGeom>
          <a:solidFill>
            <a:srgbClr val="508235"/>
          </a:solidFill>
          <a:ln>
            <a:noFill/>
          </a:ln>
        </p:spPr>
        <p:style>
          <a:lnRef idx="2">
            <a:schemeClr val="accent1">
              <a:shade val="50000"/>
            </a:schemeClr>
          </a:lnRef>
          <a:fillRef idx="1">
            <a:schemeClr val="accent1"/>
          </a:fillRef>
          <a:effectRef idx="0">
            <a:schemeClr val="accent1"/>
          </a:effectRef>
          <a:fontRef idx="minor">
            <a:schemeClr val="lt1"/>
          </a:fontRef>
        </p:style>
        <p:txBody>
          <a:bodyPr lIns="91389" tIns="45694" rIns="91389" bIns="45694" anchor="ctr"/>
          <a:lstStyle/>
          <a:p>
            <a:pPr algn="ctr">
              <a:defRPr/>
            </a:pPr>
            <a:endParaRPr lang="zh-CN" altLang="en-US" dirty="0">
              <a:solidFill>
                <a:prstClr val="white"/>
              </a:solidFill>
              <a:effectLst>
                <a:outerShdw blurRad="38100" dist="38100" dir="2700000" algn="tl">
                  <a:srgbClr val="000000">
                    <a:alpha val="43137"/>
                  </a:srgbClr>
                </a:outerShdw>
              </a:effectLst>
            </a:endParaRPr>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fade">
                                      <p:cBhvr>
                                        <p:cTn id="7" dur="1000"/>
                                        <p:tgtEl>
                                          <p:spTgt spid="23"/>
                                        </p:tgtEl>
                                      </p:cBhvr>
                                    </p:animEffect>
                                    <p:anim calcmode="lin" valueType="num">
                                      <p:cBhvr>
                                        <p:cTn id="8" dur="1000" fill="hold"/>
                                        <p:tgtEl>
                                          <p:spTgt spid="23"/>
                                        </p:tgtEl>
                                        <p:attrNameLst>
                                          <p:attrName>ppt_x</p:attrName>
                                        </p:attrNameLst>
                                      </p:cBhvr>
                                      <p:tavLst>
                                        <p:tav tm="0">
                                          <p:val>
                                            <p:strVal val="#ppt_x"/>
                                          </p:val>
                                        </p:tav>
                                        <p:tav tm="100000">
                                          <p:val>
                                            <p:strVal val="#ppt_x"/>
                                          </p:val>
                                        </p:tav>
                                      </p:tavLst>
                                    </p:anim>
                                    <p:anim calcmode="lin" valueType="num">
                                      <p:cBhvr>
                                        <p:cTn id="9" dur="1000" fill="hold"/>
                                        <p:tgtEl>
                                          <p:spTgt spid="23"/>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16" presetClass="entr" presetSubtype="37" fill="hold" grpId="0" nodeType="afterEffect">
                                  <p:stCondLst>
                                    <p:cond delay="0"/>
                                  </p:stCondLst>
                                  <p:childTnLst>
                                    <p:set>
                                      <p:cBhvr>
                                        <p:cTn id="12" dur="1" fill="hold">
                                          <p:stCondLst>
                                            <p:cond delay="0"/>
                                          </p:stCondLst>
                                        </p:cTn>
                                        <p:tgtEl>
                                          <p:spTgt spid="24"/>
                                        </p:tgtEl>
                                        <p:attrNameLst>
                                          <p:attrName>style.visibility</p:attrName>
                                        </p:attrNameLst>
                                      </p:cBhvr>
                                      <p:to>
                                        <p:strVal val="visible"/>
                                      </p:to>
                                    </p:set>
                                    <p:animEffect transition="in" filter="barn(outVertical)">
                                      <p:cBhvr>
                                        <p:cTn id="13" dur="500"/>
                                        <p:tgtEl>
                                          <p:spTgt spid="24"/>
                                        </p:tgtEl>
                                      </p:cBhvr>
                                    </p:animEffect>
                                  </p:childTnLst>
                                </p:cTn>
                              </p:par>
                              <p:par>
                                <p:cTn id="14" presetID="2" presetClass="entr" presetSubtype="8" fill="hold" grpId="0" nodeType="withEffect">
                                  <p:stCondLst>
                                    <p:cond delay="0"/>
                                  </p:stCondLst>
                                  <p:childTnLst>
                                    <p:set>
                                      <p:cBhvr>
                                        <p:cTn id="15" dur="1" fill="hold">
                                          <p:stCondLst>
                                            <p:cond delay="0"/>
                                          </p:stCondLst>
                                        </p:cTn>
                                        <p:tgtEl>
                                          <p:spTgt spid="3"/>
                                        </p:tgtEl>
                                        <p:attrNameLst>
                                          <p:attrName>style.visibility</p:attrName>
                                        </p:attrNameLst>
                                      </p:cBhvr>
                                      <p:to>
                                        <p:strVal val="visible"/>
                                      </p:to>
                                    </p:set>
                                    <p:anim calcmode="lin" valueType="num">
                                      <p:cBhvr additive="base">
                                        <p:cTn id="16" dur="500" fill="hold"/>
                                        <p:tgtEl>
                                          <p:spTgt spid="3"/>
                                        </p:tgtEl>
                                        <p:attrNameLst>
                                          <p:attrName>ppt_x</p:attrName>
                                        </p:attrNameLst>
                                      </p:cBhvr>
                                      <p:tavLst>
                                        <p:tav tm="0">
                                          <p:val>
                                            <p:strVal val="0-#ppt_w/2"/>
                                          </p:val>
                                        </p:tav>
                                        <p:tav tm="100000">
                                          <p:val>
                                            <p:strVal val="#ppt_x"/>
                                          </p:val>
                                        </p:tav>
                                      </p:tavLst>
                                    </p:anim>
                                    <p:anim calcmode="lin" valueType="num">
                                      <p:cBhvr additive="base">
                                        <p:cTn id="17" dur="500" fill="hold"/>
                                        <p:tgtEl>
                                          <p:spTgt spid="3"/>
                                        </p:tgtEl>
                                        <p:attrNameLst>
                                          <p:attrName>ppt_y</p:attrName>
                                        </p:attrNameLst>
                                      </p:cBhvr>
                                      <p:tavLst>
                                        <p:tav tm="0">
                                          <p:val>
                                            <p:strVal val="#ppt_y"/>
                                          </p:val>
                                        </p:tav>
                                        <p:tav tm="100000">
                                          <p:val>
                                            <p:strVal val="#ppt_y"/>
                                          </p:val>
                                        </p:tav>
                                      </p:tavLst>
                                    </p:anim>
                                  </p:childTnLst>
                                </p:cTn>
                              </p:par>
                            </p:childTnLst>
                          </p:cTn>
                        </p:par>
                        <p:par>
                          <p:cTn id="18" fill="hold">
                            <p:stCondLst>
                              <p:cond delay="1500"/>
                            </p:stCondLst>
                            <p:childTnLst>
                              <p:par>
                                <p:cTn id="19" presetID="49" presetClass="entr" presetSubtype="0" decel="100000" fill="hold" grpId="0" nodeType="afterEffect">
                                  <p:stCondLst>
                                    <p:cond delay="300"/>
                                  </p:stCondLst>
                                  <p:childTnLst>
                                    <p:set>
                                      <p:cBhvr>
                                        <p:cTn id="20" dur="1" fill="hold">
                                          <p:stCondLst>
                                            <p:cond delay="0"/>
                                          </p:stCondLst>
                                        </p:cTn>
                                        <p:tgtEl>
                                          <p:spTgt spid="11"/>
                                        </p:tgtEl>
                                        <p:attrNameLst>
                                          <p:attrName>style.visibility</p:attrName>
                                        </p:attrNameLst>
                                      </p:cBhvr>
                                      <p:to>
                                        <p:strVal val="visible"/>
                                      </p:to>
                                    </p:set>
                                    <p:anim calcmode="lin" valueType="num">
                                      <p:cBhvr>
                                        <p:cTn id="21" dur="500" fill="hold"/>
                                        <p:tgtEl>
                                          <p:spTgt spid="11"/>
                                        </p:tgtEl>
                                        <p:attrNameLst>
                                          <p:attrName>ppt_w</p:attrName>
                                        </p:attrNameLst>
                                      </p:cBhvr>
                                      <p:tavLst>
                                        <p:tav tm="0">
                                          <p:val>
                                            <p:fltVal val="0"/>
                                          </p:val>
                                        </p:tav>
                                        <p:tav tm="100000">
                                          <p:val>
                                            <p:strVal val="#ppt_w"/>
                                          </p:val>
                                        </p:tav>
                                      </p:tavLst>
                                    </p:anim>
                                    <p:anim calcmode="lin" valueType="num">
                                      <p:cBhvr>
                                        <p:cTn id="22" dur="500" fill="hold"/>
                                        <p:tgtEl>
                                          <p:spTgt spid="11"/>
                                        </p:tgtEl>
                                        <p:attrNameLst>
                                          <p:attrName>ppt_h</p:attrName>
                                        </p:attrNameLst>
                                      </p:cBhvr>
                                      <p:tavLst>
                                        <p:tav tm="0">
                                          <p:val>
                                            <p:fltVal val="0"/>
                                          </p:val>
                                        </p:tav>
                                        <p:tav tm="100000">
                                          <p:val>
                                            <p:strVal val="#ppt_h"/>
                                          </p:val>
                                        </p:tav>
                                      </p:tavLst>
                                    </p:anim>
                                    <p:anim calcmode="lin" valueType="num">
                                      <p:cBhvr>
                                        <p:cTn id="23" dur="500" fill="hold"/>
                                        <p:tgtEl>
                                          <p:spTgt spid="11"/>
                                        </p:tgtEl>
                                        <p:attrNameLst>
                                          <p:attrName>style.rotation</p:attrName>
                                        </p:attrNameLst>
                                      </p:cBhvr>
                                      <p:tavLst>
                                        <p:tav tm="0">
                                          <p:val>
                                            <p:fltVal val="360"/>
                                          </p:val>
                                        </p:tav>
                                        <p:tav tm="100000">
                                          <p:val>
                                            <p:fltVal val="0"/>
                                          </p:val>
                                        </p:tav>
                                      </p:tavLst>
                                    </p:anim>
                                    <p:animEffect transition="in" filter="fade">
                                      <p:cBhvr>
                                        <p:cTn id="24" dur="500"/>
                                        <p:tgtEl>
                                          <p:spTgt spid="11"/>
                                        </p:tgtEl>
                                      </p:cBhvr>
                                    </p:animEffect>
                                  </p:childTnLst>
                                </p:cTn>
                              </p:par>
                            </p:childTnLst>
                          </p:cTn>
                        </p:par>
                        <p:par>
                          <p:cTn id="25" fill="hold">
                            <p:stCondLst>
                              <p:cond delay="2300"/>
                            </p:stCondLst>
                            <p:childTnLst>
                              <p:par>
                                <p:cTn id="26" presetID="29" presetClass="entr" presetSubtype="0" fill="hold" nodeType="afterEffect">
                                  <p:stCondLst>
                                    <p:cond delay="0"/>
                                  </p:stCondLst>
                                  <p:childTnLst>
                                    <p:set>
                                      <p:cBhvr>
                                        <p:cTn id="27" dur="1" fill="hold">
                                          <p:stCondLst>
                                            <p:cond delay="0"/>
                                          </p:stCondLst>
                                        </p:cTn>
                                        <p:tgtEl>
                                          <p:spTgt spid="2"/>
                                        </p:tgtEl>
                                        <p:attrNameLst>
                                          <p:attrName>style.visibility</p:attrName>
                                        </p:attrNameLst>
                                      </p:cBhvr>
                                      <p:to>
                                        <p:strVal val="visible"/>
                                      </p:to>
                                    </p:set>
                                    <p:anim calcmode="lin" valueType="num">
                                      <p:cBhvr>
                                        <p:cTn id="28" dur="1000" fill="hold"/>
                                        <p:tgtEl>
                                          <p:spTgt spid="2"/>
                                        </p:tgtEl>
                                        <p:attrNameLst>
                                          <p:attrName>ppt_x</p:attrName>
                                        </p:attrNameLst>
                                      </p:cBhvr>
                                      <p:tavLst>
                                        <p:tav tm="0">
                                          <p:val>
                                            <p:strVal val="#ppt_x-.2"/>
                                          </p:val>
                                        </p:tav>
                                        <p:tav tm="100000">
                                          <p:val>
                                            <p:strVal val="#ppt_x"/>
                                          </p:val>
                                        </p:tav>
                                      </p:tavLst>
                                    </p:anim>
                                    <p:anim calcmode="lin" valueType="num">
                                      <p:cBhvr>
                                        <p:cTn id="29" dur="1000" fill="hold"/>
                                        <p:tgtEl>
                                          <p:spTgt spid="2"/>
                                        </p:tgtEl>
                                        <p:attrNameLst>
                                          <p:attrName>ppt_y</p:attrName>
                                        </p:attrNameLst>
                                      </p:cBhvr>
                                      <p:tavLst>
                                        <p:tav tm="0">
                                          <p:val>
                                            <p:strVal val="#ppt_y"/>
                                          </p:val>
                                        </p:tav>
                                        <p:tav tm="100000">
                                          <p:val>
                                            <p:strVal val="#ppt_y"/>
                                          </p:val>
                                        </p:tav>
                                      </p:tavLst>
                                    </p:anim>
                                    <p:animEffect transition="in" filter="wipe(right)" prLst="gradientSize: 0.1">
                                      <p:cBhvr>
                                        <p:cTn id="30" dur="1000"/>
                                        <p:tgtEl>
                                          <p:spTgt spid="2"/>
                                        </p:tgtEl>
                                      </p:cBhvr>
                                    </p:animEffect>
                                  </p:childTnLst>
                                </p:cTn>
                              </p:par>
                              <p:par>
                                <p:cTn id="31" presetID="2" presetClass="entr" presetSubtype="8" fill="hold" grpId="0" nodeType="withEffect">
                                  <p:stCondLst>
                                    <p:cond delay="0"/>
                                  </p:stCondLst>
                                  <p:childTnLst>
                                    <p:set>
                                      <p:cBhvr>
                                        <p:cTn id="32" dur="1" fill="hold">
                                          <p:stCondLst>
                                            <p:cond delay="0"/>
                                          </p:stCondLst>
                                        </p:cTn>
                                        <p:tgtEl>
                                          <p:spTgt spid="8"/>
                                        </p:tgtEl>
                                        <p:attrNameLst>
                                          <p:attrName>style.visibility</p:attrName>
                                        </p:attrNameLst>
                                      </p:cBhvr>
                                      <p:to>
                                        <p:strVal val="visible"/>
                                      </p:to>
                                    </p:set>
                                    <p:anim calcmode="lin" valueType="num">
                                      <p:cBhvr additive="base">
                                        <p:cTn id="33" dur="500" fill="hold"/>
                                        <p:tgtEl>
                                          <p:spTgt spid="8"/>
                                        </p:tgtEl>
                                        <p:attrNameLst>
                                          <p:attrName>ppt_x</p:attrName>
                                        </p:attrNameLst>
                                      </p:cBhvr>
                                      <p:tavLst>
                                        <p:tav tm="0">
                                          <p:val>
                                            <p:strVal val="0-#ppt_w/2"/>
                                          </p:val>
                                        </p:tav>
                                        <p:tav tm="100000">
                                          <p:val>
                                            <p:strVal val="#ppt_x"/>
                                          </p:val>
                                        </p:tav>
                                      </p:tavLst>
                                    </p:anim>
                                    <p:anim calcmode="lin" valueType="num">
                                      <p:cBhvr additive="base">
                                        <p:cTn id="34" dur="500" fill="hold"/>
                                        <p:tgtEl>
                                          <p:spTgt spid="8"/>
                                        </p:tgtEl>
                                        <p:attrNameLst>
                                          <p:attrName>ppt_y</p:attrName>
                                        </p:attrNameLst>
                                      </p:cBhvr>
                                      <p:tavLst>
                                        <p:tav tm="0">
                                          <p:val>
                                            <p:strVal val="#ppt_y"/>
                                          </p:val>
                                        </p:tav>
                                        <p:tav tm="100000">
                                          <p:val>
                                            <p:strVal val="#ppt_y"/>
                                          </p:val>
                                        </p:tav>
                                      </p:tavLst>
                                    </p:anim>
                                  </p:childTnLst>
                                </p:cTn>
                              </p:par>
                            </p:childTnLst>
                          </p:cTn>
                        </p:par>
                        <p:par>
                          <p:cTn id="35" fill="hold">
                            <p:stCondLst>
                              <p:cond delay="3300"/>
                            </p:stCondLst>
                            <p:childTnLst>
                              <p:par>
                                <p:cTn id="36" presetID="49" presetClass="entr" presetSubtype="0" decel="100000" fill="hold" grpId="0" nodeType="afterEffect">
                                  <p:stCondLst>
                                    <p:cond delay="0"/>
                                  </p:stCondLst>
                                  <p:childTnLst>
                                    <p:set>
                                      <p:cBhvr>
                                        <p:cTn id="37" dur="1" fill="hold">
                                          <p:stCondLst>
                                            <p:cond delay="0"/>
                                          </p:stCondLst>
                                        </p:cTn>
                                        <p:tgtEl>
                                          <p:spTgt spid="19"/>
                                        </p:tgtEl>
                                        <p:attrNameLst>
                                          <p:attrName>style.visibility</p:attrName>
                                        </p:attrNameLst>
                                      </p:cBhvr>
                                      <p:to>
                                        <p:strVal val="visible"/>
                                      </p:to>
                                    </p:set>
                                    <p:anim calcmode="lin" valueType="num">
                                      <p:cBhvr>
                                        <p:cTn id="38" dur="500" fill="hold"/>
                                        <p:tgtEl>
                                          <p:spTgt spid="19"/>
                                        </p:tgtEl>
                                        <p:attrNameLst>
                                          <p:attrName>ppt_w</p:attrName>
                                        </p:attrNameLst>
                                      </p:cBhvr>
                                      <p:tavLst>
                                        <p:tav tm="0">
                                          <p:val>
                                            <p:fltVal val="0"/>
                                          </p:val>
                                        </p:tav>
                                        <p:tav tm="100000">
                                          <p:val>
                                            <p:strVal val="#ppt_w"/>
                                          </p:val>
                                        </p:tav>
                                      </p:tavLst>
                                    </p:anim>
                                    <p:anim calcmode="lin" valueType="num">
                                      <p:cBhvr>
                                        <p:cTn id="39" dur="500" fill="hold"/>
                                        <p:tgtEl>
                                          <p:spTgt spid="19"/>
                                        </p:tgtEl>
                                        <p:attrNameLst>
                                          <p:attrName>ppt_h</p:attrName>
                                        </p:attrNameLst>
                                      </p:cBhvr>
                                      <p:tavLst>
                                        <p:tav tm="0">
                                          <p:val>
                                            <p:fltVal val="0"/>
                                          </p:val>
                                        </p:tav>
                                        <p:tav tm="100000">
                                          <p:val>
                                            <p:strVal val="#ppt_h"/>
                                          </p:val>
                                        </p:tav>
                                      </p:tavLst>
                                    </p:anim>
                                    <p:anim calcmode="lin" valueType="num">
                                      <p:cBhvr>
                                        <p:cTn id="40" dur="500" fill="hold"/>
                                        <p:tgtEl>
                                          <p:spTgt spid="19"/>
                                        </p:tgtEl>
                                        <p:attrNameLst>
                                          <p:attrName>style.rotation</p:attrName>
                                        </p:attrNameLst>
                                      </p:cBhvr>
                                      <p:tavLst>
                                        <p:tav tm="0">
                                          <p:val>
                                            <p:fltVal val="360"/>
                                          </p:val>
                                        </p:tav>
                                        <p:tav tm="100000">
                                          <p:val>
                                            <p:fltVal val="0"/>
                                          </p:val>
                                        </p:tav>
                                      </p:tavLst>
                                    </p:anim>
                                    <p:animEffect transition="in" filter="fade">
                                      <p:cBhvr>
                                        <p:cTn id="41" dur="500"/>
                                        <p:tgtEl>
                                          <p:spTgt spid="19"/>
                                        </p:tgtEl>
                                      </p:cBhvr>
                                    </p:animEffect>
                                  </p:childTnLst>
                                </p:cTn>
                              </p:par>
                            </p:childTnLst>
                          </p:cTn>
                        </p:par>
                        <p:par>
                          <p:cTn id="42" fill="hold">
                            <p:stCondLst>
                              <p:cond delay="3800"/>
                            </p:stCondLst>
                            <p:childTnLst>
                              <p:par>
                                <p:cTn id="43" presetID="29" presetClass="entr" presetSubtype="0" fill="hold" nodeType="afterEffect">
                                  <p:stCondLst>
                                    <p:cond delay="0"/>
                                  </p:stCondLst>
                                  <p:childTnLst>
                                    <p:set>
                                      <p:cBhvr>
                                        <p:cTn id="44" dur="1" fill="hold">
                                          <p:stCondLst>
                                            <p:cond delay="0"/>
                                          </p:stCondLst>
                                        </p:cTn>
                                        <p:tgtEl>
                                          <p:spTgt spid="4"/>
                                        </p:tgtEl>
                                        <p:attrNameLst>
                                          <p:attrName>style.visibility</p:attrName>
                                        </p:attrNameLst>
                                      </p:cBhvr>
                                      <p:to>
                                        <p:strVal val="visible"/>
                                      </p:to>
                                    </p:set>
                                    <p:anim calcmode="lin" valueType="num">
                                      <p:cBhvr>
                                        <p:cTn id="45" dur="1000" fill="hold"/>
                                        <p:tgtEl>
                                          <p:spTgt spid="4"/>
                                        </p:tgtEl>
                                        <p:attrNameLst>
                                          <p:attrName>ppt_x</p:attrName>
                                        </p:attrNameLst>
                                      </p:cBhvr>
                                      <p:tavLst>
                                        <p:tav tm="0">
                                          <p:val>
                                            <p:strVal val="#ppt_x-.2"/>
                                          </p:val>
                                        </p:tav>
                                        <p:tav tm="100000">
                                          <p:val>
                                            <p:strVal val="#ppt_x"/>
                                          </p:val>
                                        </p:tav>
                                      </p:tavLst>
                                    </p:anim>
                                    <p:anim calcmode="lin" valueType="num">
                                      <p:cBhvr>
                                        <p:cTn id="46" dur="1000" fill="hold"/>
                                        <p:tgtEl>
                                          <p:spTgt spid="4"/>
                                        </p:tgtEl>
                                        <p:attrNameLst>
                                          <p:attrName>ppt_y</p:attrName>
                                        </p:attrNameLst>
                                      </p:cBhvr>
                                      <p:tavLst>
                                        <p:tav tm="0">
                                          <p:val>
                                            <p:strVal val="#ppt_y"/>
                                          </p:val>
                                        </p:tav>
                                        <p:tav tm="100000">
                                          <p:val>
                                            <p:strVal val="#ppt_y"/>
                                          </p:val>
                                        </p:tav>
                                      </p:tavLst>
                                    </p:anim>
                                    <p:animEffect transition="in" filter="wipe(right)" prLst="gradientSize: 0.1">
                                      <p:cBhvr>
                                        <p:cTn id="47" dur="10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8" grpId="0" animBg="1"/>
      <p:bldP spid="11" grpId="0"/>
      <p:bldP spid="19" grpId="0"/>
      <p:bldP spid="24" grpId="0" animBg="1"/>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p:cNvSpPr/>
          <p:nvPr/>
        </p:nvSpPr>
        <p:spPr>
          <a:xfrm>
            <a:off x="0" y="0"/>
            <a:ext cx="9144000" cy="7239000"/>
          </a:xfrm>
          <a:prstGeom prst="rect">
            <a:avLst/>
          </a:prstGeom>
          <a:solidFill>
            <a:sysClr val="window" lastClr="FFFFFF">
              <a:alpha val="70000"/>
            </a:sysClr>
          </a:solidFill>
          <a:ln w="25400" cap="flat" cmpd="sng" algn="ctr">
            <a:noFill/>
            <a:prstDash val="solid"/>
          </a:ln>
          <a:effectLst/>
        </p:spPr>
        <p:txBody>
          <a:bodyPr lIns="91389" tIns="45694" rIns="91389" bIns="45694" anchor="ctr"/>
          <a:lstStyle/>
          <a:p>
            <a:pPr algn="ctr">
              <a:defRPr/>
            </a:pPr>
            <a:endParaRPr lang="zh-CN" altLang="en-US" kern="0" dirty="0">
              <a:solidFill>
                <a:sysClr val="window" lastClr="FFFFFF"/>
              </a:solidFill>
              <a:effectLst>
                <a:outerShdw blurRad="38100" dist="38100" dir="2700000" algn="tl">
                  <a:srgbClr val="000000">
                    <a:alpha val="43137"/>
                  </a:srgbClr>
                </a:outerShdw>
              </a:effectLst>
              <a:latin typeface="Calibri"/>
            </a:endParaRPr>
          </a:p>
        </p:txBody>
      </p:sp>
      <p:pic>
        <p:nvPicPr>
          <p:cNvPr id="33" name="Picture 3" descr="C:\Users\Administrator\Desktop\工业4.0ppt制作\apic2925.jpg"/>
          <p:cNvPicPr>
            <a:picLocks noChangeAspect="1" noChangeArrowheads="1"/>
          </p:cNvPicPr>
          <p:nvPr/>
        </p:nvPicPr>
        <p:blipFill>
          <a:blip r:embed="rId4" cstate="print">
            <a:duotone>
              <a:srgbClr val="8064A2">
                <a:shade val="45000"/>
                <a:satMod val="135000"/>
              </a:srgbClr>
              <a:prstClr val="white"/>
            </a:duotone>
          </a:blip>
          <a:srcRect b="86755"/>
          <a:stretch>
            <a:fillRect/>
          </a:stretch>
        </p:blipFill>
        <p:spPr bwMode="auto">
          <a:xfrm>
            <a:off x="0" y="-6230"/>
            <a:ext cx="9144000" cy="891609"/>
          </a:xfrm>
          <a:prstGeom prst="rect">
            <a:avLst/>
          </a:prstGeom>
          <a:noFill/>
        </p:spPr>
      </p:pic>
      <p:grpSp>
        <p:nvGrpSpPr>
          <p:cNvPr id="2" name="组合 5"/>
          <p:cNvGrpSpPr>
            <a:grpSpLocks/>
          </p:cNvGrpSpPr>
          <p:nvPr/>
        </p:nvGrpSpPr>
        <p:grpSpPr bwMode="auto">
          <a:xfrm>
            <a:off x="969963" y="14288"/>
            <a:ext cx="6751637" cy="844550"/>
            <a:chOff x="4200983" y="1819112"/>
            <a:chExt cx="4235526" cy="966699"/>
          </a:xfrm>
        </p:grpSpPr>
        <p:sp>
          <p:nvSpPr>
            <p:cNvPr id="35" name="圆角矩形 34"/>
            <p:cNvSpPr/>
            <p:nvPr/>
          </p:nvSpPr>
          <p:spPr>
            <a:xfrm>
              <a:off x="4218301" y="1819112"/>
              <a:ext cx="4218208" cy="966699"/>
            </a:xfrm>
            <a:prstGeom prst="roundRect">
              <a:avLst/>
            </a:prstGeom>
            <a:gradFill flip="none" rotWithShape="1">
              <a:gsLst>
                <a:gs pos="94000">
                  <a:srgbClr val="F79646">
                    <a:lumMod val="75000"/>
                    <a:alpha val="22000"/>
                  </a:srgbClr>
                </a:gs>
                <a:gs pos="98000">
                  <a:srgbClr val="F79646">
                    <a:lumMod val="63000"/>
                    <a:lumOff val="37000"/>
                    <a:alpha val="86000"/>
                  </a:srgbClr>
                </a:gs>
              </a:gsLst>
              <a:lin ang="16200000" scaled="1"/>
              <a:tileRect/>
            </a:gradFill>
            <a:ln w="25400" cap="flat" cmpd="sng" algn="ctr">
              <a:noFill/>
              <a:prstDash val="solid"/>
            </a:ln>
            <a:effectLst/>
          </p:spPr>
          <p:txBody>
            <a:bodyPr anchor="ctr"/>
            <a:lstStyle/>
            <a:p>
              <a:pPr algn="ctr">
                <a:defRPr/>
              </a:pPr>
              <a:r>
                <a:rPr lang="en-US" altLang="zh-CN" sz="3600" b="1" kern="0" dirty="0">
                  <a:solidFill>
                    <a:sysClr val="windowText" lastClr="000000">
                      <a:lumMod val="85000"/>
                      <a:lumOff val="15000"/>
                    </a:sysClr>
                  </a:solidFill>
                  <a:effectLst>
                    <a:outerShdw blurRad="38100" dist="38100" dir="2700000" algn="tl">
                      <a:srgbClr val="000000">
                        <a:alpha val="43137"/>
                      </a:srgbClr>
                    </a:outerShdw>
                  </a:effectLst>
                  <a:latin typeface="黑体" pitchFamily="49" charset="-122"/>
                  <a:ea typeface="黑体" pitchFamily="49" charset="-122"/>
                </a:rPr>
                <a:t>2</a:t>
              </a:r>
              <a:r>
                <a:rPr lang="zh-CN" altLang="en-US" sz="3600" b="1" kern="0" dirty="0">
                  <a:solidFill>
                    <a:sysClr val="windowText" lastClr="000000">
                      <a:lumMod val="85000"/>
                      <a:lumOff val="15000"/>
                    </a:sysClr>
                  </a:solidFill>
                  <a:effectLst>
                    <a:outerShdw blurRad="38100" dist="38100" dir="2700000" algn="tl">
                      <a:srgbClr val="000000">
                        <a:alpha val="43137"/>
                      </a:srgbClr>
                    </a:outerShdw>
                  </a:effectLst>
                  <a:latin typeface="黑体" pitchFamily="49" charset="-122"/>
                  <a:ea typeface="黑体" pitchFamily="49" charset="-122"/>
                </a:rPr>
                <a:t>、诚信原则</a:t>
              </a:r>
              <a:endParaRPr lang="zh-CN" altLang="en-US" sz="3600" b="1" kern="0" dirty="0">
                <a:solidFill>
                  <a:sysClr val="windowText" lastClr="000000"/>
                </a:solidFill>
                <a:effectLst>
                  <a:outerShdw blurRad="38100" dist="38100" dir="2700000" algn="tl">
                    <a:srgbClr val="000000">
                      <a:alpha val="43137"/>
                    </a:srgbClr>
                  </a:outerShdw>
                </a:effectLst>
                <a:latin typeface="黑体" pitchFamily="49" charset="-122"/>
                <a:ea typeface="黑体" pitchFamily="49" charset="-122"/>
              </a:endParaRPr>
            </a:p>
          </p:txBody>
        </p:sp>
        <p:sp>
          <p:nvSpPr>
            <p:cNvPr id="36" name="矩形 35"/>
            <p:cNvSpPr/>
            <p:nvPr/>
          </p:nvSpPr>
          <p:spPr>
            <a:xfrm>
              <a:off x="4200983" y="2015359"/>
              <a:ext cx="75688" cy="577839"/>
            </a:xfrm>
            <a:prstGeom prst="rect">
              <a:avLst/>
            </a:prstGeom>
            <a:solidFill>
              <a:srgbClr val="F79646">
                <a:lumMod val="75000"/>
              </a:srgbClr>
            </a:solidFill>
            <a:ln w="25400" cap="flat" cmpd="sng" algn="ctr">
              <a:noFill/>
              <a:prstDash val="solid"/>
            </a:ln>
            <a:effectLst/>
          </p:spPr>
          <p:txBody>
            <a:bodyPr anchor="ctr"/>
            <a:lstStyle/>
            <a:p>
              <a:pPr algn="ctr">
                <a:defRPr/>
              </a:pPr>
              <a:endParaRPr lang="zh-CN" altLang="en-US" kern="0" dirty="0">
                <a:solidFill>
                  <a:sysClr val="window" lastClr="FFFFFF"/>
                </a:solidFill>
                <a:effectLst>
                  <a:outerShdw blurRad="38100" dist="38100" dir="2700000" algn="tl">
                    <a:srgbClr val="000000">
                      <a:alpha val="43137"/>
                    </a:srgbClr>
                  </a:outerShdw>
                </a:effectLst>
                <a:latin typeface="Calibri"/>
              </a:endParaRPr>
            </a:p>
          </p:txBody>
        </p:sp>
      </p:grpSp>
      <p:graphicFrame>
        <p:nvGraphicFramePr>
          <p:cNvPr id="37" name="图示 36"/>
          <p:cNvGraphicFramePr/>
          <p:nvPr/>
        </p:nvGraphicFramePr>
        <p:xfrm>
          <a:off x="449975" y="1065566"/>
          <a:ext cx="8302171" cy="792089"/>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grpSp>
        <p:nvGrpSpPr>
          <p:cNvPr id="3" name="组合 11"/>
          <p:cNvGrpSpPr>
            <a:grpSpLocks/>
          </p:cNvGrpSpPr>
          <p:nvPr/>
        </p:nvGrpSpPr>
        <p:grpSpPr bwMode="auto">
          <a:xfrm>
            <a:off x="4543425" y="2530475"/>
            <a:ext cx="4600575" cy="769938"/>
            <a:chOff x="6012160" y="2369780"/>
            <a:chExt cx="3462628" cy="767216"/>
          </a:xfrm>
        </p:grpSpPr>
        <p:sp>
          <p:nvSpPr>
            <p:cNvPr id="39" name="矩形 12"/>
            <p:cNvSpPr>
              <a:spLocks noChangeArrowheads="1"/>
            </p:cNvSpPr>
            <p:nvPr/>
          </p:nvSpPr>
          <p:spPr bwMode="auto">
            <a:xfrm>
              <a:off x="6193775" y="2768416"/>
              <a:ext cx="3281013" cy="368580"/>
            </a:xfrm>
            <a:prstGeom prst="rect">
              <a:avLst/>
            </a:prstGeom>
            <a:noFill/>
            <a:ln w="9525">
              <a:noFill/>
              <a:miter lim="800000"/>
              <a:headEnd/>
              <a:tailEnd/>
            </a:ln>
          </p:spPr>
          <p:txBody>
            <a:bodyPr>
              <a:spAutoFit/>
            </a:bodyPr>
            <a:lstStyle/>
            <a:p>
              <a:pPr indent="456945">
                <a:defRPr/>
              </a:pPr>
              <a:r>
                <a:rPr lang="zh-CN" altLang="en-US" kern="0" dirty="0">
                  <a:solidFill>
                    <a:sysClr val="windowText" lastClr="000000"/>
                  </a:solidFill>
                  <a:effectLst>
                    <a:outerShdw blurRad="38100" dist="38100" dir="2700000" algn="tl">
                      <a:srgbClr val="000000">
                        <a:alpha val="43137"/>
                      </a:srgbClr>
                    </a:outerShdw>
                  </a:effectLst>
                  <a:latin typeface="黑体" pitchFamily="49" charset="-122"/>
                  <a:ea typeface="黑体" pitchFamily="49" charset="-122"/>
                </a:rPr>
                <a:t>强调不自欺，行为与内心相一致；</a:t>
              </a:r>
            </a:p>
          </p:txBody>
        </p:sp>
        <p:cxnSp>
          <p:nvCxnSpPr>
            <p:cNvPr id="5146" name="直接连接符 39"/>
            <p:cNvCxnSpPr>
              <a:cxnSpLocks noChangeShapeType="1"/>
            </p:cNvCxnSpPr>
            <p:nvPr/>
          </p:nvCxnSpPr>
          <p:spPr bwMode="auto">
            <a:xfrm>
              <a:off x="6260685" y="2769569"/>
              <a:ext cx="1691884" cy="0"/>
            </a:xfrm>
            <a:prstGeom prst="line">
              <a:avLst/>
            </a:prstGeom>
            <a:noFill/>
            <a:ln w="19050" algn="ctr">
              <a:solidFill>
                <a:srgbClr val="984807"/>
              </a:solidFill>
              <a:round/>
              <a:headEnd/>
              <a:tailEnd/>
            </a:ln>
          </p:spPr>
        </p:cxnSp>
        <p:sp>
          <p:nvSpPr>
            <p:cNvPr id="41" name="矩形 40"/>
            <p:cNvSpPr/>
            <p:nvPr/>
          </p:nvSpPr>
          <p:spPr>
            <a:xfrm>
              <a:off x="6012160" y="2369780"/>
              <a:ext cx="1304470" cy="398984"/>
            </a:xfrm>
            <a:prstGeom prst="rect">
              <a:avLst/>
            </a:prstGeom>
          </p:spPr>
          <p:txBody>
            <a:bodyPr wrap="none">
              <a:spAutoFit/>
              <a:scene3d>
                <a:camera prst="orthographicFront"/>
                <a:lightRig rig="flat" dir="tl">
                  <a:rot lat="0" lon="0" rev="6600000"/>
                </a:lightRig>
              </a:scene3d>
              <a:sp3d extrusionH="25400" contourW="8890">
                <a:bevelT w="38100" h="31750"/>
                <a:contourClr>
                  <a:schemeClr val="accent2">
                    <a:shade val="75000"/>
                  </a:schemeClr>
                </a:contourClr>
              </a:sp3d>
            </a:bodyPr>
            <a:lstStyle/>
            <a:p>
              <a:pPr>
                <a:defRPr/>
              </a:pPr>
              <a:r>
                <a:rPr lang="zh-CN" altLang="en-US" sz="2000" b="1" kern="0" dirty="0">
                  <a:ln w="11430"/>
                  <a:gradFill>
                    <a:gsLst>
                      <a:gs pos="0">
                        <a:srgbClr val="C0504D">
                          <a:tint val="70000"/>
                          <a:satMod val="245000"/>
                        </a:srgbClr>
                      </a:gs>
                      <a:gs pos="75000">
                        <a:srgbClr val="C0504D">
                          <a:tint val="90000"/>
                          <a:shade val="60000"/>
                          <a:satMod val="240000"/>
                        </a:srgbClr>
                      </a:gs>
                      <a:gs pos="100000">
                        <a:srgbClr val="C0504D">
                          <a:tint val="100000"/>
                          <a:shade val="50000"/>
                          <a:satMod val="240000"/>
                        </a:srgbClr>
                      </a:gs>
                    </a:gsLst>
                    <a:lin ang="5400000"/>
                  </a:gradFill>
                  <a:latin typeface="黑体" pitchFamily="49" charset="-122"/>
                  <a:ea typeface="黑体" pitchFamily="49" charset="-122"/>
                </a:rPr>
                <a:t>“</a:t>
              </a:r>
              <a:r>
                <a:rPr lang="zh-CN" altLang="en-US" sz="2000" b="1" kern="0" dirty="0">
                  <a:ln w="11430"/>
                  <a:solidFill>
                    <a:srgbClr val="FF0000"/>
                  </a:solidFill>
                  <a:latin typeface="黑体" pitchFamily="49" charset="-122"/>
                  <a:ea typeface="黑体" pitchFamily="49" charset="-122"/>
                </a:rPr>
                <a:t>内诚于心”</a:t>
              </a:r>
            </a:p>
          </p:txBody>
        </p:sp>
      </p:grpSp>
      <p:sp>
        <p:nvSpPr>
          <p:cNvPr id="42" name="矩形 41"/>
          <p:cNvSpPr>
            <a:spLocks noChangeArrowheads="1"/>
          </p:cNvSpPr>
          <p:nvPr/>
        </p:nvSpPr>
        <p:spPr bwMode="auto">
          <a:xfrm>
            <a:off x="4191000" y="1600200"/>
            <a:ext cx="4346575" cy="1016000"/>
          </a:xfrm>
          <a:prstGeom prst="rect">
            <a:avLst/>
          </a:prstGeom>
          <a:noFill/>
          <a:ln w="9525">
            <a:noFill/>
            <a:miter lim="800000"/>
            <a:headEnd/>
            <a:tailEnd/>
          </a:ln>
        </p:spPr>
        <p:txBody>
          <a:bodyPr lIns="91389" tIns="45694" rIns="91389" bIns="45694">
            <a:spAutoFit/>
          </a:bodyPr>
          <a:lstStyle/>
          <a:p>
            <a:pPr algn="ctr" fontAlgn="base">
              <a:spcBef>
                <a:spcPct val="0"/>
              </a:spcBef>
              <a:spcAft>
                <a:spcPct val="0"/>
              </a:spcAft>
            </a:pPr>
            <a:r>
              <a:rPr lang="zh-CN" altLang="en-US" sz="2000" b="1" dirty="0" smtClean="0">
                <a:solidFill>
                  <a:srgbClr val="FF0000"/>
                </a:solidFill>
                <a:latin typeface="黑体" pitchFamily="49" charset="-122"/>
                <a:ea typeface="黑体" pitchFamily="49" charset="-122"/>
              </a:rPr>
              <a:t>诚信</a:t>
            </a:r>
            <a:r>
              <a:rPr lang="zh-CN" altLang="en-US" sz="2000" b="1" dirty="0" smtClean="0">
                <a:solidFill>
                  <a:srgbClr val="002060"/>
                </a:solidFill>
                <a:latin typeface="黑体" pitchFamily="49" charset="-122"/>
                <a:ea typeface="黑体" pitchFamily="49" charset="-122"/>
              </a:rPr>
              <a:t>包含着</a:t>
            </a:r>
            <a:r>
              <a:rPr lang="zh-CN" altLang="en-US" sz="2000" b="1" dirty="0" smtClean="0">
                <a:solidFill>
                  <a:srgbClr val="FF0000"/>
                </a:solidFill>
                <a:latin typeface="黑体" pitchFamily="49" charset="-122"/>
                <a:ea typeface="黑体" pitchFamily="49" charset="-122"/>
              </a:rPr>
              <a:t>诚实和守信</a:t>
            </a:r>
            <a:r>
              <a:rPr lang="zh-CN" altLang="en-US" sz="2000" b="1" dirty="0" smtClean="0">
                <a:solidFill>
                  <a:srgbClr val="002060"/>
                </a:solidFill>
                <a:latin typeface="黑体" pitchFamily="49" charset="-122"/>
                <a:ea typeface="黑体" pitchFamily="49" charset="-122"/>
              </a:rPr>
              <a:t>两方面的意思，“诚”是“信”的内在思想基础，“信”是“诚”的外在表现。 </a:t>
            </a:r>
          </a:p>
        </p:txBody>
      </p:sp>
      <p:grpSp>
        <p:nvGrpSpPr>
          <p:cNvPr id="4" name="组合 16"/>
          <p:cNvGrpSpPr>
            <a:grpSpLocks/>
          </p:cNvGrpSpPr>
          <p:nvPr/>
        </p:nvGrpSpPr>
        <p:grpSpPr bwMode="auto">
          <a:xfrm>
            <a:off x="4476750" y="3729038"/>
            <a:ext cx="4470400" cy="1046162"/>
            <a:chOff x="6012160" y="2369777"/>
            <a:chExt cx="3322398" cy="1047313"/>
          </a:xfrm>
        </p:grpSpPr>
        <p:sp>
          <p:nvSpPr>
            <p:cNvPr id="44" name="矩形 17"/>
            <p:cNvSpPr>
              <a:spLocks noChangeArrowheads="1"/>
            </p:cNvSpPr>
            <p:nvPr/>
          </p:nvSpPr>
          <p:spPr bwMode="auto">
            <a:xfrm>
              <a:off x="6357850" y="2770267"/>
              <a:ext cx="2976708" cy="646823"/>
            </a:xfrm>
            <a:prstGeom prst="rect">
              <a:avLst/>
            </a:prstGeom>
            <a:noFill/>
            <a:ln w="9525">
              <a:noFill/>
              <a:miter lim="800000"/>
              <a:headEnd/>
              <a:tailEnd/>
            </a:ln>
          </p:spPr>
          <p:txBody>
            <a:bodyPr>
              <a:spAutoFit/>
            </a:bodyPr>
            <a:lstStyle/>
            <a:p>
              <a:pPr indent="456945">
                <a:defRPr/>
              </a:pPr>
              <a:r>
                <a:rPr lang="zh-CN" altLang="en-US" kern="0" dirty="0">
                  <a:solidFill>
                    <a:sysClr val="windowText" lastClr="000000"/>
                  </a:solidFill>
                  <a:effectLst>
                    <a:outerShdw blurRad="38100" dist="38100" dir="2700000" algn="tl">
                      <a:srgbClr val="000000">
                        <a:alpha val="43137"/>
                      </a:srgbClr>
                    </a:outerShdw>
                  </a:effectLst>
                  <a:latin typeface="黑体" pitchFamily="49" charset="-122"/>
                  <a:ea typeface="黑体" pitchFamily="49" charset="-122"/>
                </a:rPr>
                <a:t>强调不欺人，遵守承诺，以取信于他人。</a:t>
              </a:r>
            </a:p>
          </p:txBody>
        </p:sp>
        <p:cxnSp>
          <p:nvCxnSpPr>
            <p:cNvPr id="5143" name="直接连接符 44"/>
            <p:cNvCxnSpPr>
              <a:cxnSpLocks noChangeShapeType="1"/>
            </p:cNvCxnSpPr>
            <p:nvPr/>
          </p:nvCxnSpPr>
          <p:spPr bwMode="auto">
            <a:xfrm>
              <a:off x="6261104" y="2769933"/>
              <a:ext cx="1691875" cy="0"/>
            </a:xfrm>
            <a:prstGeom prst="line">
              <a:avLst/>
            </a:prstGeom>
            <a:noFill/>
            <a:ln w="19050" algn="ctr">
              <a:solidFill>
                <a:srgbClr val="984807"/>
              </a:solidFill>
              <a:round/>
              <a:headEnd/>
              <a:tailEnd/>
            </a:ln>
          </p:spPr>
        </p:cxnSp>
        <p:sp>
          <p:nvSpPr>
            <p:cNvPr id="46" name="矩形 45"/>
            <p:cNvSpPr/>
            <p:nvPr/>
          </p:nvSpPr>
          <p:spPr>
            <a:xfrm>
              <a:off x="6012160" y="2369777"/>
              <a:ext cx="1288088" cy="400464"/>
            </a:xfrm>
            <a:prstGeom prst="rect">
              <a:avLst/>
            </a:prstGeom>
          </p:spPr>
          <p:txBody>
            <a:bodyPr wrap="none">
              <a:spAutoFit/>
              <a:scene3d>
                <a:camera prst="orthographicFront"/>
                <a:lightRig rig="flat" dir="tl">
                  <a:rot lat="0" lon="0" rev="6600000"/>
                </a:lightRig>
              </a:scene3d>
              <a:sp3d extrusionH="25400" contourW="8890">
                <a:bevelT w="38100" h="31750"/>
                <a:contourClr>
                  <a:schemeClr val="accent2">
                    <a:shade val="75000"/>
                  </a:schemeClr>
                </a:contourClr>
              </a:sp3d>
            </a:bodyPr>
            <a:lstStyle/>
            <a:p>
              <a:pPr>
                <a:defRPr/>
              </a:pPr>
              <a:r>
                <a:rPr lang="zh-CN" altLang="en-US" sz="2000" b="1" kern="0" dirty="0">
                  <a:ln w="11430"/>
                  <a:gradFill>
                    <a:gsLst>
                      <a:gs pos="0">
                        <a:srgbClr val="C0504D">
                          <a:tint val="70000"/>
                          <a:satMod val="245000"/>
                        </a:srgbClr>
                      </a:gs>
                      <a:gs pos="75000">
                        <a:srgbClr val="C0504D">
                          <a:tint val="90000"/>
                          <a:shade val="60000"/>
                          <a:satMod val="240000"/>
                        </a:srgbClr>
                      </a:gs>
                      <a:gs pos="100000">
                        <a:srgbClr val="C0504D">
                          <a:tint val="100000"/>
                          <a:shade val="50000"/>
                          <a:satMod val="240000"/>
                        </a:srgbClr>
                      </a:gs>
                    </a:gsLst>
                    <a:lin ang="5400000"/>
                  </a:gradFill>
                  <a:latin typeface="黑体" pitchFamily="49" charset="-122"/>
                  <a:ea typeface="黑体" pitchFamily="49" charset="-122"/>
                </a:rPr>
                <a:t>“</a:t>
              </a:r>
              <a:r>
                <a:rPr lang="zh-CN" altLang="en-US" sz="2000" b="1" kern="0" dirty="0">
                  <a:ln w="11430"/>
                  <a:solidFill>
                    <a:srgbClr val="FF0000"/>
                  </a:solidFill>
                  <a:latin typeface="黑体" pitchFamily="49" charset="-122"/>
                  <a:ea typeface="黑体" pitchFamily="49" charset="-122"/>
                </a:rPr>
                <a:t>外信于人”</a:t>
              </a:r>
            </a:p>
          </p:txBody>
        </p:sp>
      </p:grpSp>
      <p:grpSp>
        <p:nvGrpSpPr>
          <p:cNvPr id="5" name="组合 24"/>
          <p:cNvGrpSpPr>
            <a:grpSpLocks/>
          </p:cNvGrpSpPr>
          <p:nvPr/>
        </p:nvGrpSpPr>
        <p:grpSpPr bwMode="auto">
          <a:xfrm>
            <a:off x="3810000" y="2362200"/>
            <a:ext cx="812800" cy="762000"/>
            <a:chOff x="649058" y="2637230"/>
            <a:chExt cx="1114630" cy="1064618"/>
          </a:xfrm>
        </p:grpSpPr>
        <p:pic>
          <p:nvPicPr>
            <p:cNvPr id="48" name="图片 47"/>
            <p:cNvPicPr>
              <a:picLocks noChangeAspect="1"/>
            </p:cNvPicPr>
            <p:nvPr/>
          </p:nvPicPr>
          <p:blipFill rotWithShape="1">
            <a:blip r:embed="rId10" cstate="print">
              <a:clrChange>
                <a:clrFrom>
                  <a:srgbClr val="FFFFFF"/>
                </a:clrFrom>
                <a:clrTo>
                  <a:srgbClr val="FFFFFF">
                    <a:alpha val="0"/>
                  </a:srgbClr>
                </a:clrTo>
              </a:clrChange>
              <a:duotone>
                <a:prstClr val="black"/>
                <a:srgbClr val="C0504D">
                  <a:tint val="45000"/>
                  <a:satMod val="400000"/>
                </a:srgbClr>
              </a:duotone>
              <a:extLst>
                <a:ext uri="{28A0092B-C50C-407E-A947-70E740481C1C}"/>
              </a:extLst>
            </a:blip>
            <a:srcRect l="50000" t="4915" r="5869" b="35616"/>
            <a:stretch/>
          </p:blipFill>
          <p:spPr>
            <a:xfrm flipH="1">
              <a:off x="974588" y="2852936"/>
              <a:ext cx="789100" cy="848912"/>
            </a:xfrm>
            <a:prstGeom prst="rect">
              <a:avLst/>
            </a:prstGeom>
          </p:spPr>
        </p:pic>
        <p:pic>
          <p:nvPicPr>
            <p:cNvPr id="49" name="图片 48"/>
            <p:cNvPicPr>
              <a:picLocks noChangeAspect="1"/>
            </p:cNvPicPr>
            <p:nvPr/>
          </p:nvPicPr>
          <p:blipFill rotWithShape="1">
            <a:blip r:embed="rId10" cstate="print">
              <a:clrChange>
                <a:clrFrom>
                  <a:srgbClr val="FFFFFF"/>
                </a:clrFrom>
                <a:clrTo>
                  <a:srgbClr val="FFFFFF">
                    <a:alpha val="0"/>
                  </a:srgbClr>
                </a:clrTo>
              </a:clrChange>
              <a:duotone>
                <a:prstClr val="black"/>
                <a:srgbClr val="C0504D">
                  <a:tint val="45000"/>
                  <a:satMod val="400000"/>
                </a:srgbClr>
              </a:duotone>
              <a:extLst>
                <a:ext uri="{28A0092B-C50C-407E-A947-70E740481C1C}"/>
              </a:extLst>
            </a:blip>
            <a:srcRect l="50000" t="4915" r="5869" b="35616"/>
            <a:stretch/>
          </p:blipFill>
          <p:spPr>
            <a:xfrm flipH="1">
              <a:off x="649058" y="2637230"/>
              <a:ext cx="789100" cy="848912"/>
            </a:xfrm>
            <a:prstGeom prst="rect">
              <a:avLst/>
            </a:prstGeom>
          </p:spPr>
        </p:pic>
      </p:grpSp>
      <p:grpSp>
        <p:nvGrpSpPr>
          <p:cNvPr id="6" name="组合 27"/>
          <p:cNvGrpSpPr>
            <a:grpSpLocks/>
          </p:cNvGrpSpPr>
          <p:nvPr/>
        </p:nvGrpSpPr>
        <p:grpSpPr bwMode="auto">
          <a:xfrm>
            <a:off x="3733800" y="3505200"/>
            <a:ext cx="812800" cy="762000"/>
            <a:chOff x="649058" y="2637230"/>
            <a:chExt cx="1114630" cy="1064618"/>
          </a:xfrm>
        </p:grpSpPr>
        <p:pic>
          <p:nvPicPr>
            <p:cNvPr id="51" name="图片 50"/>
            <p:cNvPicPr>
              <a:picLocks noChangeAspect="1"/>
            </p:cNvPicPr>
            <p:nvPr/>
          </p:nvPicPr>
          <p:blipFill rotWithShape="1">
            <a:blip r:embed="rId10" cstate="print">
              <a:clrChange>
                <a:clrFrom>
                  <a:srgbClr val="FFFFFF"/>
                </a:clrFrom>
                <a:clrTo>
                  <a:srgbClr val="FFFFFF">
                    <a:alpha val="0"/>
                  </a:srgbClr>
                </a:clrTo>
              </a:clrChange>
              <a:duotone>
                <a:prstClr val="black"/>
                <a:srgbClr val="C0504D">
                  <a:tint val="45000"/>
                  <a:satMod val="400000"/>
                </a:srgbClr>
              </a:duotone>
              <a:extLst>
                <a:ext uri="{28A0092B-C50C-407E-A947-70E740481C1C}"/>
              </a:extLst>
            </a:blip>
            <a:srcRect l="50000" t="4915" r="5869" b="35616"/>
            <a:stretch/>
          </p:blipFill>
          <p:spPr>
            <a:xfrm flipH="1">
              <a:off x="974588" y="2852936"/>
              <a:ext cx="789100" cy="848912"/>
            </a:xfrm>
            <a:prstGeom prst="rect">
              <a:avLst/>
            </a:prstGeom>
          </p:spPr>
        </p:pic>
        <p:pic>
          <p:nvPicPr>
            <p:cNvPr id="52" name="图片 51"/>
            <p:cNvPicPr>
              <a:picLocks noChangeAspect="1"/>
            </p:cNvPicPr>
            <p:nvPr/>
          </p:nvPicPr>
          <p:blipFill rotWithShape="1">
            <a:blip r:embed="rId10" cstate="print">
              <a:clrChange>
                <a:clrFrom>
                  <a:srgbClr val="FFFFFF"/>
                </a:clrFrom>
                <a:clrTo>
                  <a:srgbClr val="FFFFFF">
                    <a:alpha val="0"/>
                  </a:srgbClr>
                </a:clrTo>
              </a:clrChange>
              <a:duotone>
                <a:prstClr val="black"/>
                <a:srgbClr val="C0504D">
                  <a:tint val="45000"/>
                  <a:satMod val="400000"/>
                </a:srgbClr>
              </a:duotone>
              <a:extLst>
                <a:ext uri="{28A0092B-C50C-407E-A947-70E740481C1C}"/>
              </a:extLst>
            </a:blip>
            <a:srcRect l="50000" t="4915" r="5869" b="35616"/>
            <a:stretch/>
          </p:blipFill>
          <p:spPr>
            <a:xfrm flipH="1">
              <a:off x="649058" y="2637230"/>
              <a:ext cx="789100" cy="848912"/>
            </a:xfrm>
            <a:prstGeom prst="rect">
              <a:avLst/>
            </a:prstGeom>
          </p:spPr>
        </p:pic>
      </p:grpSp>
      <p:sp>
        <p:nvSpPr>
          <p:cNvPr id="53" name="TextBox 52"/>
          <p:cNvSpPr txBox="1"/>
          <p:nvPr/>
        </p:nvSpPr>
        <p:spPr>
          <a:xfrm>
            <a:off x="4017074" y="5103675"/>
            <a:ext cx="5126926" cy="1754274"/>
          </a:xfrm>
          <a:prstGeom prst="rect">
            <a:avLst/>
          </a:prstGeom>
          <a:noFill/>
        </p:spPr>
        <p:txBody>
          <a:bodyPr lIns="91389" tIns="45694" rIns="91389" bIns="45694">
            <a:spAutoFit/>
          </a:bodyPr>
          <a:lstStyle/>
          <a:p>
            <a:pPr algn="ctr">
              <a:defRPr/>
            </a:pPr>
            <a:r>
              <a:rPr lang="zh-CN" altLang="en-US" sz="2000" b="1" kern="0" dirty="0">
                <a:ln/>
                <a:solidFill>
                  <a:srgbClr val="002060"/>
                </a:solidFill>
                <a:effectLst>
                  <a:glow rad="139700">
                    <a:srgbClr val="9BBB59">
                      <a:satMod val="175000"/>
                      <a:alpha val="40000"/>
                    </a:srgbClr>
                  </a:glow>
                </a:effectLst>
                <a:latin typeface="黑体" pitchFamily="49" charset="-122"/>
              </a:rPr>
              <a:t>重信用、守信义、</a:t>
            </a:r>
            <a:endParaRPr lang="en-US" altLang="zh-CN" sz="2000" b="1" kern="0" dirty="0">
              <a:ln/>
              <a:solidFill>
                <a:srgbClr val="002060"/>
              </a:solidFill>
              <a:effectLst>
                <a:glow rad="139700">
                  <a:srgbClr val="9BBB59">
                    <a:satMod val="175000"/>
                    <a:alpha val="40000"/>
                  </a:srgbClr>
                </a:glow>
              </a:effectLst>
              <a:latin typeface="黑体" pitchFamily="49" charset="-122"/>
            </a:endParaRPr>
          </a:p>
          <a:p>
            <a:pPr algn="ctr">
              <a:defRPr/>
            </a:pPr>
            <a:r>
              <a:rPr lang="zh-CN" altLang="en-US" sz="2000" b="1" kern="0" dirty="0">
                <a:ln/>
                <a:solidFill>
                  <a:srgbClr val="002060"/>
                </a:solidFill>
                <a:effectLst>
                  <a:glow rad="139700">
                    <a:srgbClr val="9BBB59">
                      <a:satMod val="175000"/>
                      <a:alpha val="40000"/>
                    </a:srgbClr>
                  </a:glow>
                </a:effectLst>
                <a:latin typeface="黑体" pitchFamily="49" charset="-122"/>
              </a:rPr>
              <a:t>言必信、行必果。</a:t>
            </a:r>
            <a:endParaRPr lang="en-US" altLang="zh-CN" sz="2000" b="1" kern="0" dirty="0">
              <a:ln/>
              <a:solidFill>
                <a:srgbClr val="002060"/>
              </a:solidFill>
              <a:effectLst>
                <a:glow rad="139700">
                  <a:srgbClr val="9BBB59">
                    <a:satMod val="175000"/>
                    <a:alpha val="40000"/>
                  </a:srgbClr>
                </a:glow>
              </a:effectLst>
              <a:latin typeface="黑体" pitchFamily="49" charset="-122"/>
            </a:endParaRPr>
          </a:p>
          <a:p>
            <a:pPr>
              <a:defRPr/>
            </a:pPr>
            <a:r>
              <a:rPr lang="zh-CN" altLang="en-US" sz="2000" b="1" u="sng" kern="0" dirty="0">
                <a:ln/>
                <a:solidFill>
                  <a:srgbClr val="FF0000"/>
                </a:solidFill>
                <a:effectLst>
                  <a:glow rad="139700">
                    <a:srgbClr val="9BBB59">
                      <a:satMod val="175000"/>
                      <a:alpha val="40000"/>
                    </a:srgbClr>
                  </a:glow>
                </a:effectLst>
                <a:latin typeface="黑体" pitchFamily="49" charset="-122"/>
                <a:ea typeface="黑体" pitchFamily="49" charset="-122"/>
              </a:rPr>
              <a:t>诚信就好比一个人无形的“名片”</a:t>
            </a:r>
            <a:r>
              <a:rPr lang="zh-CN" altLang="en-US" sz="2000" b="1" kern="0" dirty="0">
                <a:ln/>
                <a:solidFill>
                  <a:srgbClr val="FF0000"/>
                </a:solidFill>
                <a:effectLst>
                  <a:glow rad="139700">
                    <a:srgbClr val="9BBB59">
                      <a:satMod val="175000"/>
                      <a:alpha val="40000"/>
                    </a:srgbClr>
                  </a:glow>
                </a:effectLst>
                <a:latin typeface="黑体" pitchFamily="49" charset="-122"/>
                <a:ea typeface="黑体" pitchFamily="49" charset="-122"/>
              </a:rPr>
              <a:t>，</a:t>
            </a:r>
            <a:endParaRPr lang="en-US" altLang="zh-CN" sz="2000" b="1" kern="0" dirty="0">
              <a:ln/>
              <a:solidFill>
                <a:srgbClr val="FF0000"/>
              </a:solidFill>
              <a:effectLst>
                <a:glow rad="139700">
                  <a:srgbClr val="9BBB59">
                    <a:satMod val="175000"/>
                    <a:alpha val="40000"/>
                  </a:srgbClr>
                </a:glow>
              </a:effectLst>
              <a:latin typeface="黑体" pitchFamily="49" charset="-122"/>
              <a:ea typeface="黑体" pitchFamily="49" charset="-122"/>
            </a:endParaRPr>
          </a:p>
          <a:p>
            <a:pPr>
              <a:defRPr/>
            </a:pPr>
            <a:r>
              <a:rPr lang="zh-CN" altLang="en-US" sz="2000" b="1" kern="0" dirty="0">
                <a:ln/>
                <a:solidFill>
                  <a:srgbClr val="FF0000"/>
                </a:solidFill>
                <a:effectLst>
                  <a:glow rad="139700">
                    <a:srgbClr val="9BBB59">
                      <a:satMod val="175000"/>
                      <a:alpha val="40000"/>
                    </a:srgbClr>
                  </a:glow>
                </a:effectLst>
                <a:latin typeface="黑体" pitchFamily="49" charset="-122"/>
                <a:ea typeface="黑体" pitchFamily="49" charset="-122"/>
              </a:rPr>
              <a:t>关乎一个人的形象和品质</a:t>
            </a:r>
            <a:endParaRPr lang="en-US" altLang="zh-CN" sz="2000" b="1" kern="0" dirty="0">
              <a:ln/>
              <a:solidFill>
                <a:srgbClr val="FF0000"/>
              </a:solidFill>
              <a:effectLst>
                <a:glow rad="139700">
                  <a:srgbClr val="9BBB59">
                    <a:satMod val="175000"/>
                    <a:alpha val="40000"/>
                  </a:srgbClr>
                </a:glow>
              </a:effectLst>
              <a:latin typeface="黑体" pitchFamily="49" charset="-122"/>
              <a:ea typeface="黑体" pitchFamily="49" charset="-122"/>
            </a:endParaRPr>
          </a:p>
          <a:p>
            <a:pPr>
              <a:defRPr/>
            </a:pPr>
            <a:endParaRPr lang="zh-CN" altLang="en-US" sz="2800" b="1" kern="0" dirty="0">
              <a:ln/>
              <a:solidFill>
                <a:srgbClr val="00B050"/>
              </a:solidFill>
              <a:effectLst>
                <a:glow rad="139700">
                  <a:srgbClr val="9BBB59">
                    <a:satMod val="175000"/>
                    <a:alpha val="40000"/>
                  </a:srgbClr>
                </a:glow>
              </a:effectLst>
              <a:latin typeface="黑体" pitchFamily="49" charset="-122"/>
            </a:endParaRPr>
          </a:p>
        </p:txBody>
      </p:sp>
      <p:pic>
        <p:nvPicPr>
          <p:cNvPr id="54" name="Picture 5" descr="c:\users\administrator\appdata\roaming\360se6\User Data\temp\u=336236807,181610680&amp;fm=21&amp;gp=0.jpg"/>
          <p:cNvPicPr>
            <a:picLocks noChangeAspect="1" noChangeArrowheads="1"/>
          </p:cNvPicPr>
          <p:nvPr/>
        </p:nvPicPr>
        <p:blipFill>
          <a:blip r:embed="rId11" cstate="print">
            <a:duotone>
              <a:srgbClr val="C0504D">
                <a:shade val="45000"/>
                <a:satMod val="135000"/>
              </a:srgbClr>
              <a:prstClr val="white"/>
            </a:duotone>
          </a:blip>
          <a:srcRect/>
          <a:stretch>
            <a:fillRect/>
          </a:stretch>
        </p:blipFill>
        <p:spPr bwMode="auto">
          <a:xfrm rot="10800000">
            <a:off x="2819404" y="5410232"/>
            <a:ext cx="1165225" cy="874913"/>
          </a:xfrm>
          <a:prstGeom prst="rect">
            <a:avLst/>
          </a:prstGeom>
          <a:noFill/>
        </p:spPr>
      </p:pic>
      <p:pic>
        <p:nvPicPr>
          <p:cNvPr id="5134" name="Picture 29" descr="运动边框"/>
          <p:cNvPicPr>
            <a:picLocks noChangeAspect="1" noChangeArrowheads="1" noCrop="1"/>
          </p:cNvPicPr>
          <p:nvPr/>
        </p:nvPicPr>
        <p:blipFill>
          <a:blip r:embed="rId12" cstate="print"/>
          <a:srcRect/>
          <a:stretch>
            <a:fillRect/>
          </a:stretch>
        </p:blipFill>
        <p:spPr bwMode="auto">
          <a:xfrm>
            <a:off x="5562600" y="6486525"/>
            <a:ext cx="3581400" cy="371475"/>
          </a:xfrm>
          <a:prstGeom prst="rect">
            <a:avLst/>
          </a:prstGeom>
          <a:noFill/>
          <a:ln w="9525">
            <a:noFill/>
            <a:miter lim="800000"/>
            <a:headEnd/>
            <a:tailEnd/>
          </a:ln>
        </p:spPr>
      </p:pic>
      <p:sp>
        <p:nvSpPr>
          <p:cNvPr id="58" name="TextBox 6"/>
          <p:cNvSpPr txBox="1">
            <a:spLocks noChangeArrowheads="1"/>
          </p:cNvSpPr>
          <p:nvPr/>
        </p:nvSpPr>
        <p:spPr bwMode="auto">
          <a:xfrm>
            <a:off x="5715000" y="6488113"/>
            <a:ext cx="3384550" cy="646278"/>
          </a:xfrm>
          <a:prstGeom prst="rect">
            <a:avLst/>
          </a:prstGeom>
          <a:noFill/>
          <a:ln w="9525">
            <a:noFill/>
            <a:miter lim="800000"/>
            <a:headEnd/>
            <a:tailEnd/>
          </a:ln>
        </p:spPr>
        <p:txBody>
          <a:bodyPr lIns="91389" tIns="45694" rIns="91389" bIns="45694">
            <a:spAutoFit/>
          </a:bodyPr>
          <a:lstStyle/>
          <a:p>
            <a:pPr>
              <a:defRPr/>
            </a:pPr>
            <a:r>
              <a:rPr lang="zh-CN" altLang="en-US" b="1" kern="0" dirty="0">
                <a:solidFill>
                  <a:sysClr val="window" lastClr="FFFFFF"/>
                </a:solidFill>
                <a:effectLst>
                  <a:outerShdw blurRad="38100" dist="38100" dir="2700000" algn="tl">
                    <a:srgbClr val="000000">
                      <a:alpha val="43137"/>
                    </a:srgbClr>
                  </a:outerShdw>
                </a:effectLst>
                <a:latin typeface="黑体" pitchFamily="49" charset="-122"/>
              </a:rPr>
              <a:t>第三节       科学对待人生环境</a:t>
            </a:r>
          </a:p>
        </p:txBody>
      </p:sp>
      <p:pic>
        <p:nvPicPr>
          <p:cNvPr id="5136" name="Picture 33" descr="http://newpic.jxnews.com.cn/0/12/86/43/12864312_558317.jpg"/>
          <p:cNvPicPr>
            <a:picLocks noChangeAspect="1" noChangeArrowheads="1"/>
          </p:cNvPicPr>
          <p:nvPr/>
        </p:nvPicPr>
        <p:blipFill>
          <a:blip r:embed="rId13" cstate="print"/>
          <a:srcRect/>
          <a:stretch>
            <a:fillRect/>
          </a:stretch>
        </p:blipFill>
        <p:spPr bwMode="auto">
          <a:xfrm>
            <a:off x="533400" y="2286000"/>
            <a:ext cx="2743200" cy="2046288"/>
          </a:xfrm>
          <a:prstGeom prst="rect">
            <a:avLst/>
          </a:prstGeom>
          <a:noFill/>
          <a:ln w="9525">
            <a:noFill/>
            <a:miter lim="800000"/>
            <a:headEnd/>
            <a:tailEnd/>
          </a:ln>
        </p:spPr>
      </p:pic>
      <p:pic>
        <p:nvPicPr>
          <p:cNvPr id="5137" name="Picture 33" descr="http://a.hiphotos.baidu.com/baike/c0%3Dbaike80%2C5%2C5%2C80%2C26/sign=a1864fb38a13632701e0ca61f0e6cb89/8d5494eef01f3a299dac06a19925bc315c607c7d.jpg"/>
          <p:cNvPicPr>
            <a:picLocks noChangeAspect="1" noChangeArrowheads="1"/>
          </p:cNvPicPr>
          <p:nvPr/>
        </p:nvPicPr>
        <p:blipFill>
          <a:blip r:embed="rId14" cstate="print"/>
          <a:srcRect/>
          <a:stretch>
            <a:fillRect/>
          </a:stretch>
        </p:blipFill>
        <p:spPr bwMode="auto">
          <a:xfrm>
            <a:off x="152400" y="4495800"/>
            <a:ext cx="2743200" cy="2362200"/>
          </a:xfrm>
          <a:prstGeom prst="rect">
            <a:avLst/>
          </a:prstGeom>
          <a:noFill/>
          <a:ln w="9525">
            <a:noFill/>
            <a:miter lim="800000"/>
            <a:headEnd/>
            <a:tailEnd/>
          </a:ln>
        </p:spPr>
      </p:pic>
    </p:spTree>
    <p:controls>
      <p:control spid="5122" name="WindowsMediaPlayer1" r:id="rId2" imgW="2378436" imgH="1980952"/>
    </p:controls>
  </p:cSld>
  <p:clrMapOvr>
    <a:masterClrMapping/>
  </p:clrMapOvr>
  <p:transition spd="slow">
    <p:plus/>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500"/>
                                        <p:tgtEl>
                                          <p:spTgt spid="2"/>
                                        </p:tgtEl>
                                      </p:cBhvr>
                                    </p:animEffect>
                                  </p:childTnLst>
                                </p:cTn>
                              </p:par>
                            </p:childTnLst>
                          </p:cTn>
                        </p:par>
                        <p:par>
                          <p:cTn id="8" fill="hold">
                            <p:stCondLst>
                              <p:cond delay="500"/>
                            </p:stCondLst>
                            <p:childTnLst>
                              <p:par>
                                <p:cTn id="9" presetID="12" presetClass="entr" presetSubtype="1" fill="hold" grpId="0" nodeType="afterEffect">
                                  <p:stCondLst>
                                    <p:cond delay="0"/>
                                  </p:stCondLst>
                                  <p:childTnLst>
                                    <p:set>
                                      <p:cBhvr>
                                        <p:cTn id="10" dur="1" fill="hold">
                                          <p:stCondLst>
                                            <p:cond delay="0"/>
                                          </p:stCondLst>
                                        </p:cTn>
                                        <p:tgtEl>
                                          <p:spTgt spid="37"/>
                                        </p:tgtEl>
                                        <p:attrNameLst>
                                          <p:attrName>style.visibility</p:attrName>
                                        </p:attrNameLst>
                                      </p:cBhvr>
                                      <p:to>
                                        <p:strVal val="visible"/>
                                      </p:to>
                                    </p:set>
                                    <p:animEffect transition="in" filter="slide(fromTop)">
                                      <p:cBhvr>
                                        <p:cTn id="11" dur="500"/>
                                        <p:tgtEl>
                                          <p:spTgt spid="37"/>
                                        </p:tgtEl>
                                      </p:cBhvr>
                                    </p:animEffect>
                                  </p:childTnLst>
                                </p:cTn>
                              </p:par>
                            </p:childTnLst>
                          </p:cTn>
                        </p:par>
                        <p:par>
                          <p:cTn id="12" fill="hold">
                            <p:stCondLst>
                              <p:cond delay="1000"/>
                            </p:stCondLst>
                            <p:childTnLst>
                              <p:par>
                                <p:cTn id="13" presetID="1" presetClass="entr" presetSubtype="0" fill="hold" grpId="0" nodeType="afterEffect">
                                  <p:stCondLst>
                                    <p:cond delay="0"/>
                                  </p:stCondLst>
                                  <p:childTnLst>
                                    <p:set>
                                      <p:cBhvr>
                                        <p:cTn id="14" dur="1" fill="hold">
                                          <p:stCondLst>
                                            <p:cond delay="499"/>
                                          </p:stCondLst>
                                        </p:cTn>
                                        <p:tgtEl>
                                          <p:spTgt spid="42"/>
                                        </p:tgtEl>
                                        <p:attrNameLst>
                                          <p:attrName>style.visibility</p:attrName>
                                        </p:attrNameLst>
                                      </p:cBhvr>
                                      <p:to>
                                        <p:strVal val="visible"/>
                                      </p:to>
                                    </p:set>
                                  </p:childTnLst>
                                </p:cTn>
                              </p:par>
                            </p:childTnLst>
                          </p:cTn>
                        </p:par>
                        <p:par>
                          <p:cTn id="15" fill="hold">
                            <p:stCondLst>
                              <p:cond delay="1500"/>
                            </p:stCondLst>
                            <p:childTnLst>
                              <p:par>
                                <p:cTn id="16" presetID="22" presetClass="entr" presetSubtype="8" fill="hold" nodeType="afterEffect">
                                  <p:stCondLst>
                                    <p:cond delay="0"/>
                                  </p:stCondLst>
                                  <p:childTnLst>
                                    <p:set>
                                      <p:cBhvr>
                                        <p:cTn id="17" dur="1" fill="hold">
                                          <p:stCondLst>
                                            <p:cond delay="0"/>
                                          </p:stCondLst>
                                        </p:cTn>
                                        <p:tgtEl>
                                          <p:spTgt spid="5"/>
                                        </p:tgtEl>
                                        <p:attrNameLst>
                                          <p:attrName>style.visibility</p:attrName>
                                        </p:attrNameLst>
                                      </p:cBhvr>
                                      <p:to>
                                        <p:strVal val="visible"/>
                                      </p:to>
                                    </p:set>
                                    <p:animEffect transition="in" filter="wipe(left)">
                                      <p:cBhvr>
                                        <p:cTn id="18" dur="500"/>
                                        <p:tgtEl>
                                          <p:spTgt spid="5"/>
                                        </p:tgtEl>
                                      </p:cBhvr>
                                    </p:animEffect>
                                  </p:childTnLst>
                                </p:cTn>
                              </p:par>
                            </p:childTnLst>
                          </p:cTn>
                        </p:par>
                        <p:par>
                          <p:cTn id="19" fill="hold">
                            <p:stCondLst>
                              <p:cond delay="2000"/>
                            </p:stCondLst>
                            <p:childTnLst>
                              <p:par>
                                <p:cTn id="20" presetID="3" presetClass="entr" presetSubtype="10" fill="hold" nodeType="afterEffect">
                                  <p:stCondLst>
                                    <p:cond delay="0"/>
                                  </p:stCondLst>
                                  <p:childTnLst>
                                    <p:set>
                                      <p:cBhvr>
                                        <p:cTn id="21" dur="1" fill="hold">
                                          <p:stCondLst>
                                            <p:cond delay="0"/>
                                          </p:stCondLst>
                                        </p:cTn>
                                        <p:tgtEl>
                                          <p:spTgt spid="3"/>
                                        </p:tgtEl>
                                        <p:attrNameLst>
                                          <p:attrName>style.visibility</p:attrName>
                                        </p:attrNameLst>
                                      </p:cBhvr>
                                      <p:to>
                                        <p:strVal val="visible"/>
                                      </p:to>
                                    </p:set>
                                    <p:animEffect transition="in" filter="blinds(horizontal)">
                                      <p:cBhvr>
                                        <p:cTn id="22" dur="500"/>
                                        <p:tgtEl>
                                          <p:spTgt spid="3"/>
                                        </p:tgtEl>
                                      </p:cBhvr>
                                    </p:animEffect>
                                  </p:childTnLst>
                                </p:cTn>
                              </p:par>
                            </p:childTnLst>
                          </p:cTn>
                        </p:par>
                        <p:par>
                          <p:cTn id="23" fill="hold">
                            <p:stCondLst>
                              <p:cond delay="2500"/>
                            </p:stCondLst>
                            <p:childTnLst>
                              <p:par>
                                <p:cTn id="24" presetID="22" presetClass="entr" presetSubtype="8" fill="hold" nodeType="afterEffect">
                                  <p:stCondLst>
                                    <p:cond delay="0"/>
                                  </p:stCondLst>
                                  <p:childTnLst>
                                    <p:set>
                                      <p:cBhvr>
                                        <p:cTn id="25" dur="1" fill="hold">
                                          <p:stCondLst>
                                            <p:cond delay="0"/>
                                          </p:stCondLst>
                                        </p:cTn>
                                        <p:tgtEl>
                                          <p:spTgt spid="6"/>
                                        </p:tgtEl>
                                        <p:attrNameLst>
                                          <p:attrName>style.visibility</p:attrName>
                                        </p:attrNameLst>
                                      </p:cBhvr>
                                      <p:to>
                                        <p:strVal val="visible"/>
                                      </p:to>
                                    </p:set>
                                    <p:animEffect transition="in" filter="wipe(left)">
                                      <p:cBhvr>
                                        <p:cTn id="26" dur="500"/>
                                        <p:tgtEl>
                                          <p:spTgt spid="6"/>
                                        </p:tgtEl>
                                      </p:cBhvr>
                                    </p:animEffect>
                                  </p:childTnLst>
                                </p:cTn>
                              </p:par>
                            </p:childTnLst>
                          </p:cTn>
                        </p:par>
                        <p:par>
                          <p:cTn id="27" fill="hold">
                            <p:stCondLst>
                              <p:cond delay="3000"/>
                            </p:stCondLst>
                            <p:childTnLst>
                              <p:par>
                                <p:cTn id="28" presetID="3" presetClass="entr" presetSubtype="10" fill="hold" nodeType="afterEffect">
                                  <p:stCondLst>
                                    <p:cond delay="0"/>
                                  </p:stCondLst>
                                  <p:childTnLst>
                                    <p:set>
                                      <p:cBhvr>
                                        <p:cTn id="29" dur="1" fill="hold">
                                          <p:stCondLst>
                                            <p:cond delay="0"/>
                                          </p:stCondLst>
                                        </p:cTn>
                                        <p:tgtEl>
                                          <p:spTgt spid="4"/>
                                        </p:tgtEl>
                                        <p:attrNameLst>
                                          <p:attrName>style.visibility</p:attrName>
                                        </p:attrNameLst>
                                      </p:cBhvr>
                                      <p:to>
                                        <p:strVal val="visible"/>
                                      </p:to>
                                    </p:set>
                                    <p:animEffect transition="in" filter="blinds(horizontal)">
                                      <p:cBhvr>
                                        <p:cTn id="30" dur="500"/>
                                        <p:tgtEl>
                                          <p:spTgt spid="4"/>
                                        </p:tgtEl>
                                      </p:cBhvr>
                                    </p:animEffect>
                                  </p:childTnLst>
                                </p:cTn>
                              </p:par>
                            </p:childTnLst>
                          </p:cTn>
                        </p:par>
                        <p:par>
                          <p:cTn id="31" fill="hold">
                            <p:stCondLst>
                              <p:cond delay="3500"/>
                            </p:stCondLst>
                            <p:childTnLst>
                              <p:par>
                                <p:cTn id="32" presetID="22" presetClass="entr" presetSubtype="8" fill="hold" nodeType="afterEffect">
                                  <p:stCondLst>
                                    <p:cond delay="0"/>
                                  </p:stCondLst>
                                  <p:childTnLst>
                                    <p:set>
                                      <p:cBhvr>
                                        <p:cTn id="33" dur="1" fill="hold">
                                          <p:stCondLst>
                                            <p:cond delay="0"/>
                                          </p:stCondLst>
                                        </p:cTn>
                                        <p:tgtEl>
                                          <p:spTgt spid="54"/>
                                        </p:tgtEl>
                                        <p:attrNameLst>
                                          <p:attrName>style.visibility</p:attrName>
                                        </p:attrNameLst>
                                      </p:cBhvr>
                                      <p:to>
                                        <p:strVal val="visible"/>
                                      </p:to>
                                    </p:set>
                                    <p:animEffect transition="in" filter="wipe(left)">
                                      <p:cBhvr>
                                        <p:cTn id="34" dur="500"/>
                                        <p:tgtEl>
                                          <p:spTgt spid="54"/>
                                        </p:tgtEl>
                                      </p:cBhvr>
                                    </p:animEffect>
                                  </p:childTnLst>
                                </p:cTn>
                              </p:par>
                            </p:childTnLst>
                          </p:cTn>
                        </p:par>
                        <p:par>
                          <p:cTn id="35" fill="hold">
                            <p:stCondLst>
                              <p:cond delay="4000"/>
                            </p:stCondLst>
                            <p:childTnLst>
                              <p:par>
                                <p:cTn id="36" presetID="22" presetClass="entr" presetSubtype="8" fill="hold" nodeType="afterEffect">
                                  <p:stCondLst>
                                    <p:cond delay="0"/>
                                  </p:stCondLst>
                                  <p:childTnLst>
                                    <p:set>
                                      <p:cBhvr>
                                        <p:cTn id="37" dur="1" fill="hold">
                                          <p:stCondLst>
                                            <p:cond delay="0"/>
                                          </p:stCondLst>
                                        </p:cTn>
                                        <p:tgtEl>
                                          <p:spTgt spid="53"/>
                                        </p:tgtEl>
                                        <p:attrNameLst>
                                          <p:attrName>style.visibility</p:attrName>
                                        </p:attrNameLst>
                                      </p:cBhvr>
                                      <p:to>
                                        <p:strVal val="visible"/>
                                      </p:to>
                                    </p:set>
                                    <p:animEffect transition="in" filter="wipe(left)">
                                      <p:cBhvr>
                                        <p:cTn id="38" dur="500"/>
                                        <p:tgtEl>
                                          <p:spTgt spid="5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37" grpId="0">
        <p:bldAsOne/>
      </p:bldGraphic>
      <p:bldP spid="42" grpId="0" autoUpdateAnimBg="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矩形 2"/>
          <p:cNvSpPr/>
          <p:nvPr/>
        </p:nvSpPr>
        <p:spPr>
          <a:xfrm>
            <a:off x="0" y="0"/>
            <a:ext cx="9144000" cy="6858000"/>
          </a:xfrm>
          <a:prstGeom prst="rect">
            <a:avLst/>
          </a:prstGeom>
          <a:solidFill>
            <a:schemeClr val="bg1">
              <a:alpha val="5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389" tIns="45694" rIns="91389" bIns="45694" anchor="ctr"/>
          <a:lstStyle/>
          <a:p>
            <a:pPr algn="ctr" fontAlgn="base">
              <a:spcBef>
                <a:spcPct val="0"/>
              </a:spcBef>
              <a:spcAft>
                <a:spcPct val="0"/>
              </a:spcAft>
              <a:defRPr/>
            </a:pPr>
            <a:endParaRPr lang="zh-CN" altLang="en-US" dirty="0">
              <a:solidFill>
                <a:prstClr val="black"/>
              </a:solidFill>
              <a:effectLst>
                <a:outerShdw blurRad="38100" dist="38100" dir="2700000" algn="tl">
                  <a:srgbClr val="000000">
                    <a:alpha val="43137"/>
                  </a:srgbClr>
                </a:outerShdw>
              </a:effectLst>
            </a:endParaRPr>
          </a:p>
        </p:txBody>
      </p:sp>
      <p:pic>
        <p:nvPicPr>
          <p:cNvPr id="32" name="Picture 3" descr="C:\Users\Administrator\Desktop\工业4.0ppt制作\apic2925.jpg"/>
          <p:cNvPicPr>
            <a:picLocks noChangeAspect="1" noChangeArrowheads="1"/>
          </p:cNvPicPr>
          <p:nvPr/>
        </p:nvPicPr>
        <p:blipFill>
          <a:blip r:embed="rId8" cstate="print">
            <a:duotone>
              <a:schemeClr val="accent1">
                <a:shade val="45000"/>
                <a:satMod val="135000"/>
              </a:schemeClr>
              <a:prstClr val="white"/>
            </a:duotone>
          </a:blip>
          <a:srcRect b="86755"/>
          <a:stretch>
            <a:fillRect/>
          </a:stretch>
        </p:blipFill>
        <p:spPr bwMode="auto">
          <a:xfrm>
            <a:off x="0" y="22"/>
            <a:ext cx="9144000" cy="891609"/>
          </a:xfrm>
          <a:prstGeom prst="rect">
            <a:avLst/>
          </a:prstGeom>
          <a:noFill/>
        </p:spPr>
      </p:pic>
      <p:grpSp>
        <p:nvGrpSpPr>
          <p:cNvPr id="2" name="组合 5"/>
          <p:cNvGrpSpPr>
            <a:grpSpLocks/>
          </p:cNvGrpSpPr>
          <p:nvPr/>
        </p:nvGrpSpPr>
        <p:grpSpPr bwMode="auto">
          <a:xfrm>
            <a:off x="825500" y="14288"/>
            <a:ext cx="6910388" cy="844550"/>
            <a:chOff x="4200983" y="1819112"/>
            <a:chExt cx="4235526" cy="966699"/>
          </a:xfrm>
        </p:grpSpPr>
        <p:sp>
          <p:nvSpPr>
            <p:cNvPr id="36" name="圆角矩形 35"/>
            <p:cNvSpPr/>
            <p:nvPr/>
          </p:nvSpPr>
          <p:spPr>
            <a:xfrm>
              <a:off x="4218301" y="1819112"/>
              <a:ext cx="4218208" cy="966699"/>
            </a:xfrm>
            <a:prstGeom prst="roundRect">
              <a:avLst/>
            </a:prstGeom>
            <a:gradFill flip="none" rotWithShape="1">
              <a:gsLst>
                <a:gs pos="94000">
                  <a:schemeClr val="accent6">
                    <a:lumMod val="75000"/>
                    <a:alpha val="22000"/>
                  </a:schemeClr>
                </a:gs>
                <a:gs pos="98000">
                  <a:schemeClr val="accent6">
                    <a:lumMod val="63000"/>
                    <a:lumOff val="37000"/>
                    <a:alpha val="86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r>
                <a:rPr lang="en-US" altLang="zh-CN" sz="2800" b="1" dirty="0">
                  <a:solidFill>
                    <a:prstClr val="black">
                      <a:lumMod val="85000"/>
                      <a:lumOff val="15000"/>
                    </a:prstClr>
                  </a:solidFill>
                  <a:effectLst>
                    <a:outerShdw blurRad="38100" dist="38100" dir="2700000" algn="tl">
                      <a:srgbClr val="000000">
                        <a:alpha val="43137"/>
                      </a:srgbClr>
                    </a:outerShdw>
                  </a:effectLst>
                  <a:latin typeface="黑体" pitchFamily="49" charset="-122"/>
                  <a:ea typeface="黑体" pitchFamily="49" charset="-122"/>
                </a:rPr>
                <a:t> </a:t>
              </a:r>
              <a:r>
                <a:rPr lang="en-US" altLang="zh-CN" sz="3600" b="1" dirty="0">
                  <a:solidFill>
                    <a:prstClr val="black">
                      <a:lumMod val="85000"/>
                      <a:lumOff val="15000"/>
                    </a:prstClr>
                  </a:solidFill>
                  <a:effectLst>
                    <a:outerShdw blurRad="38100" dist="38100" dir="2700000" algn="tl">
                      <a:srgbClr val="000000">
                        <a:alpha val="43137"/>
                      </a:srgbClr>
                    </a:outerShdw>
                  </a:effectLst>
                  <a:latin typeface="黑体" pitchFamily="49" charset="-122"/>
                  <a:ea typeface="黑体" pitchFamily="49" charset="-122"/>
                </a:rPr>
                <a:t>3</a:t>
              </a:r>
              <a:r>
                <a:rPr lang="zh-CN" altLang="en-US" sz="3600" b="1" dirty="0">
                  <a:solidFill>
                    <a:prstClr val="black">
                      <a:lumMod val="85000"/>
                      <a:lumOff val="15000"/>
                    </a:prstClr>
                  </a:solidFill>
                  <a:effectLst>
                    <a:outerShdw blurRad="38100" dist="38100" dir="2700000" algn="tl">
                      <a:srgbClr val="000000">
                        <a:alpha val="43137"/>
                      </a:srgbClr>
                    </a:outerShdw>
                  </a:effectLst>
                  <a:latin typeface="黑体" pitchFamily="49" charset="-122"/>
                  <a:ea typeface="黑体" pitchFamily="49" charset="-122"/>
                </a:rPr>
                <a:t>、宽容原则</a:t>
              </a:r>
            </a:p>
          </p:txBody>
        </p:sp>
        <p:sp>
          <p:nvSpPr>
            <p:cNvPr id="37" name="矩形 36"/>
            <p:cNvSpPr/>
            <p:nvPr/>
          </p:nvSpPr>
          <p:spPr>
            <a:xfrm>
              <a:off x="4200983" y="2015359"/>
              <a:ext cx="75895" cy="577839"/>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zh-CN" altLang="en-US">
                <a:solidFill>
                  <a:prstClr val="white"/>
                </a:solidFill>
                <a:effectLst>
                  <a:outerShdw blurRad="38100" dist="38100" dir="2700000" algn="tl">
                    <a:srgbClr val="000000">
                      <a:alpha val="43137"/>
                    </a:srgbClr>
                  </a:outerShdw>
                </a:effectLst>
              </a:endParaRPr>
            </a:p>
          </p:txBody>
        </p:sp>
      </p:grpSp>
      <p:graphicFrame>
        <p:nvGraphicFramePr>
          <p:cNvPr id="38" name="图示 37"/>
          <p:cNvGraphicFramePr/>
          <p:nvPr/>
        </p:nvGraphicFramePr>
        <p:xfrm>
          <a:off x="725760" y="1123622"/>
          <a:ext cx="7358743" cy="792089"/>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grpSp>
        <p:nvGrpSpPr>
          <p:cNvPr id="4" name="组合 2"/>
          <p:cNvGrpSpPr>
            <a:grpSpLocks/>
          </p:cNvGrpSpPr>
          <p:nvPr/>
        </p:nvGrpSpPr>
        <p:grpSpPr bwMode="auto">
          <a:xfrm>
            <a:off x="228600" y="2055813"/>
            <a:ext cx="3886200" cy="4497386"/>
            <a:chOff x="4881533" y="1348461"/>
            <a:chExt cx="3828418" cy="1937663"/>
          </a:xfrm>
        </p:grpSpPr>
        <p:sp>
          <p:nvSpPr>
            <p:cNvPr id="40" name="Rectangle 20"/>
            <p:cNvSpPr/>
            <p:nvPr>
              <p:custDataLst>
                <p:tags r:id="rId4"/>
              </p:custDataLst>
            </p:nvPr>
          </p:nvSpPr>
          <p:spPr bwMode="auto">
            <a:xfrm>
              <a:off x="4881533" y="1499616"/>
              <a:ext cx="3828418" cy="1786508"/>
            </a:xfrm>
            <a:prstGeom prst="rect">
              <a:avLst/>
            </a:prstGeom>
            <a:noFill/>
            <a:ln w="38100" cap="flat" cmpd="sng" algn="ctr">
              <a:solidFill>
                <a:schemeClr val="accent1">
                  <a:lumMod val="75000"/>
                </a:schemeClr>
              </a:solidFill>
              <a:prstDash val="solid"/>
              <a:round/>
              <a:headEnd type="none" w="med" len="med"/>
              <a:tailEnd type="none" w="med" len="med"/>
            </a:ln>
            <a:effectLst/>
          </p:spPr>
          <p:txBody>
            <a:bodyPr/>
            <a:lstStyle/>
            <a:p>
              <a:pPr algn="ctr" fontAlgn="base">
                <a:spcBef>
                  <a:spcPct val="0"/>
                </a:spcBef>
                <a:spcAft>
                  <a:spcPct val="0"/>
                </a:spcAft>
                <a:defRPr/>
              </a:pPr>
              <a:endParaRPr lang="zh-CN" altLang="en-US" b="1" dirty="0">
                <a:solidFill>
                  <a:prstClr val="black"/>
                </a:solidFill>
                <a:effectLst>
                  <a:outerShdw blurRad="38100" dist="38100" dir="2700000" algn="tl">
                    <a:srgbClr val="000000">
                      <a:alpha val="43137"/>
                    </a:srgbClr>
                  </a:outerShdw>
                </a:effectLst>
                <a:latin typeface="黑体" pitchFamily="49" charset="-122"/>
              </a:endParaRPr>
            </a:p>
          </p:txBody>
        </p:sp>
        <p:sp>
          <p:nvSpPr>
            <p:cNvPr id="41" name="AutoShape 5"/>
            <p:cNvSpPr>
              <a:spLocks noChangeArrowheads="1"/>
            </p:cNvSpPr>
            <p:nvPr>
              <p:custDataLst>
                <p:tags r:id="rId5"/>
              </p:custDataLst>
            </p:nvPr>
          </p:nvSpPr>
          <p:spPr bwMode="auto">
            <a:xfrm>
              <a:off x="5230282" y="1348461"/>
              <a:ext cx="3123100" cy="287948"/>
            </a:xfrm>
            <a:prstGeom prst="homePlate">
              <a:avLst>
                <a:gd name="adj" fmla="val 25328"/>
              </a:avLst>
            </a:prstGeom>
            <a:ln>
              <a:headEnd/>
              <a:tailEnd/>
            </a:ln>
          </p:spPr>
          <p:style>
            <a:lnRef idx="2">
              <a:schemeClr val="accent1">
                <a:shade val="50000"/>
              </a:schemeClr>
            </a:lnRef>
            <a:fillRef idx="1">
              <a:schemeClr val="accent1"/>
            </a:fillRef>
            <a:effectRef idx="0">
              <a:schemeClr val="accent1"/>
            </a:effectRef>
            <a:fontRef idx="minor">
              <a:schemeClr val="lt1"/>
            </a:fontRef>
          </p:style>
          <p:txBody>
            <a:bodyPr wrap="none" lIns="72000" tIns="0" rIns="0" bIns="0" anchor="ctr"/>
            <a:lstStyle/>
            <a:p>
              <a:pPr>
                <a:defRPr/>
              </a:pPr>
              <a:endParaRPr lang="zh-CN" altLang="en-US" dirty="0">
                <a:solidFill>
                  <a:prstClr val="white"/>
                </a:solidFill>
                <a:effectLst>
                  <a:outerShdw blurRad="38100" dist="38100" dir="2700000" algn="tl">
                    <a:srgbClr val="000000">
                      <a:alpha val="43137"/>
                    </a:srgbClr>
                  </a:outerShdw>
                </a:effectLst>
              </a:endParaRPr>
            </a:p>
          </p:txBody>
        </p:sp>
        <p:sp>
          <p:nvSpPr>
            <p:cNvPr id="116758" name="Text Box 6"/>
            <p:cNvSpPr txBox="1">
              <a:spLocks noChangeArrowheads="1"/>
            </p:cNvSpPr>
            <p:nvPr>
              <p:custDataLst>
                <p:tags r:id="rId6"/>
              </p:custDataLst>
            </p:nvPr>
          </p:nvSpPr>
          <p:spPr bwMode="auto">
            <a:xfrm>
              <a:off x="5258799" y="1350630"/>
              <a:ext cx="3016755" cy="225707"/>
            </a:xfrm>
            <a:prstGeom prst="rect">
              <a:avLst/>
            </a:prstGeom>
            <a:noFill/>
            <a:ln w="6350">
              <a:noFill/>
              <a:miter lim="800000"/>
              <a:headEnd/>
              <a:tailEnd/>
            </a:ln>
          </p:spPr>
          <p:txBody>
            <a:bodyPr lIns="0" tIns="0" rIns="0" bIns="0" anchor="ctr">
              <a:spAutoFit/>
            </a:bodyPr>
            <a:lstStyle/>
            <a:p>
              <a:pPr fontAlgn="base">
                <a:spcBef>
                  <a:spcPct val="0"/>
                </a:spcBef>
                <a:spcAft>
                  <a:spcPct val="0"/>
                </a:spcAft>
                <a:defRPr/>
              </a:pPr>
              <a:r>
                <a:rPr lang="zh-CN" altLang="en-US" sz="1700" dirty="0">
                  <a:solidFill>
                    <a:srgbClr val="FFFF00"/>
                  </a:solidFill>
                  <a:latin typeface="黑体" pitchFamily="49" charset="-122"/>
                  <a:ea typeface="黑体" pitchFamily="49" charset="-122"/>
                </a:rPr>
                <a:t>宽容就是心胸宽广，大度容人，对非原则性的问题不斤斤计较</a:t>
              </a:r>
              <a:r>
                <a:rPr lang="zh-CN" altLang="en-US" sz="1700" dirty="0">
                  <a:solidFill>
                    <a:prstClr val="white"/>
                  </a:solidFill>
                  <a:effectLst>
                    <a:outerShdw blurRad="38100" dist="38100" dir="2700000" algn="tl">
                      <a:srgbClr val="000000">
                        <a:alpha val="43137"/>
                      </a:srgbClr>
                    </a:outerShdw>
                  </a:effectLst>
                  <a:latin typeface="黑体" pitchFamily="49" charset="-122"/>
                  <a:ea typeface="黑体" pitchFamily="49" charset="-122"/>
                </a:rPr>
                <a:t>。</a:t>
              </a:r>
              <a:endParaRPr lang="en-US" altLang="zh-CN" sz="1700" dirty="0">
                <a:solidFill>
                  <a:prstClr val="white"/>
                </a:solidFill>
                <a:effectLst>
                  <a:outerShdw blurRad="38100" dist="38100" dir="2700000" algn="tl">
                    <a:srgbClr val="000000">
                      <a:alpha val="43137"/>
                    </a:srgbClr>
                  </a:outerShdw>
                </a:effectLst>
                <a:latin typeface="黑体" pitchFamily="49" charset="-122"/>
                <a:ea typeface="黑体" pitchFamily="49" charset="-122"/>
              </a:endParaRPr>
            </a:p>
          </p:txBody>
        </p:sp>
      </p:grpSp>
      <p:grpSp>
        <p:nvGrpSpPr>
          <p:cNvPr id="5" name="组合 2"/>
          <p:cNvGrpSpPr>
            <a:grpSpLocks/>
          </p:cNvGrpSpPr>
          <p:nvPr/>
        </p:nvGrpSpPr>
        <p:grpSpPr bwMode="auto">
          <a:xfrm>
            <a:off x="4992688" y="2044700"/>
            <a:ext cx="3592512" cy="4283075"/>
            <a:chOff x="4881533" y="1348191"/>
            <a:chExt cx="3828418" cy="1937933"/>
          </a:xfrm>
        </p:grpSpPr>
        <p:sp>
          <p:nvSpPr>
            <p:cNvPr id="44" name="Rectangle 20"/>
            <p:cNvSpPr/>
            <p:nvPr>
              <p:custDataLst>
                <p:tags r:id="rId1"/>
              </p:custDataLst>
            </p:nvPr>
          </p:nvSpPr>
          <p:spPr bwMode="auto">
            <a:xfrm>
              <a:off x="4881533" y="1499749"/>
              <a:ext cx="3828418" cy="1786375"/>
            </a:xfrm>
            <a:prstGeom prst="rect">
              <a:avLst/>
            </a:prstGeom>
            <a:noFill/>
            <a:ln w="38100" cap="flat" cmpd="sng" algn="ctr">
              <a:solidFill>
                <a:schemeClr val="accent1">
                  <a:lumMod val="75000"/>
                </a:schemeClr>
              </a:solidFill>
              <a:prstDash val="solid"/>
              <a:round/>
              <a:headEnd type="none" w="med" len="med"/>
              <a:tailEnd type="none" w="med" len="med"/>
            </a:ln>
            <a:effectLst/>
          </p:spPr>
          <p:txBody>
            <a:bodyPr/>
            <a:lstStyle/>
            <a:p>
              <a:pPr algn="ctr" fontAlgn="base">
                <a:spcBef>
                  <a:spcPct val="0"/>
                </a:spcBef>
                <a:spcAft>
                  <a:spcPct val="0"/>
                </a:spcAft>
                <a:defRPr/>
              </a:pPr>
              <a:endParaRPr lang="zh-CN" altLang="en-US" b="1" dirty="0">
                <a:solidFill>
                  <a:prstClr val="black"/>
                </a:solidFill>
                <a:effectLst>
                  <a:outerShdw blurRad="38100" dist="38100" dir="2700000" algn="tl">
                    <a:srgbClr val="000000">
                      <a:alpha val="43137"/>
                    </a:srgbClr>
                  </a:outerShdw>
                </a:effectLst>
                <a:latin typeface="黑体" pitchFamily="49" charset="-122"/>
              </a:endParaRPr>
            </a:p>
          </p:txBody>
        </p:sp>
        <p:sp>
          <p:nvSpPr>
            <p:cNvPr id="45" name="AutoShape 5"/>
            <p:cNvSpPr>
              <a:spLocks noChangeArrowheads="1"/>
            </p:cNvSpPr>
            <p:nvPr>
              <p:custDataLst>
                <p:tags r:id="rId2"/>
              </p:custDataLst>
            </p:nvPr>
          </p:nvSpPr>
          <p:spPr bwMode="auto">
            <a:xfrm>
              <a:off x="5230032" y="1348191"/>
              <a:ext cx="3121269" cy="288033"/>
            </a:xfrm>
            <a:prstGeom prst="homePlate">
              <a:avLst>
                <a:gd name="adj" fmla="val 25328"/>
              </a:avLst>
            </a:prstGeom>
            <a:ln>
              <a:headEnd/>
              <a:tailEnd/>
            </a:ln>
          </p:spPr>
          <p:style>
            <a:lnRef idx="2">
              <a:schemeClr val="accent1">
                <a:shade val="50000"/>
              </a:schemeClr>
            </a:lnRef>
            <a:fillRef idx="1">
              <a:schemeClr val="accent1"/>
            </a:fillRef>
            <a:effectRef idx="0">
              <a:schemeClr val="accent1"/>
            </a:effectRef>
            <a:fontRef idx="minor">
              <a:schemeClr val="lt1"/>
            </a:fontRef>
          </p:style>
          <p:txBody>
            <a:bodyPr wrap="none" lIns="72000" tIns="0" rIns="0" bIns="0" anchor="ctr"/>
            <a:lstStyle/>
            <a:p>
              <a:pPr>
                <a:defRPr/>
              </a:pPr>
              <a:endParaRPr lang="zh-CN" altLang="en-US" dirty="0">
                <a:solidFill>
                  <a:prstClr val="white"/>
                </a:solidFill>
                <a:effectLst>
                  <a:outerShdw blurRad="38100" dist="38100" dir="2700000" algn="tl">
                    <a:srgbClr val="000000">
                      <a:alpha val="43137"/>
                    </a:srgbClr>
                  </a:outerShdw>
                </a:effectLst>
              </a:endParaRPr>
            </a:p>
          </p:txBody>
        </p:sp>
        <p:sp>
          <p:nvSpPr>
            <p:cNvPr id="362515" name="Text Box 6"/>
            <p:cNvSpPr txBox="1">
              <a:spLocks noChangeArrowheads="1"/>
            </p:cNvSpPr>
            <p:nvPr>
              <p:custDataLst>
                <p:tags r:id="rId3"/>
              </p:custDataLst>
            </p:nvPr>
          </p:nvSpPr>
          <p:spPr bwMode="auto">
            <a:xfrm>
              <a:off x="5354058" y="1355497"/>
              <a:ext cx="2842131" cy="237034"/>
            </a:xfrm>
            <a:prstGeom prst="rect">
              <a:avLst/>
            </a:prstGeom>
            <a:noFill/>
            <a:ln w="6350">
              <a:noFill/>
              <a:miter lim="800000"/>
              <a:headEnd/>
              <a:tailEnd/>
            </a:ln>
          </p:spPr>
          <p:txBody>
            <a:bodyPr lIns="0" tIns="0" rIns="0" bIns="0" anchor="ctr">
              <a:spAutoFit/>
            </a:bodyPr>
            <a:lstStyle/>
            <a:p>
              <a:pPr fontAlgn="base">
                <a:spcBef>
                  <a:spcPct val="0"/>
                </a:spcBef>
                <a:spcAft>
                  <a:spcPct val="0"/>
                </a:spcAft>
              </a:pPr>
              <a:r>
                <a:rPr lang="zh-CN" altLang="en-US" sz="1700" dirty="0" smtClean="0">
                  <a:solidFill>
                    <a:srgbClr val="FFFF00"/>
                  </a:solidFill>
                  <a:latin typeface="黑体" pitchFamily="49" charset="-122"/>
                  <a:ea typeface="黑体" pitchFamily="49" charset="-122"/>
                </a:rPr>
                <a:t>宽容并不意味着无原则的调和，更不等于拿原则做交易</a:t>
              </a:r>
              <a:endParaRPr lang="en-US" altLang="zh-CN" sz="1700" dirty="0" smtClean="0">
                <a:solidFill>
                  <a:srgbClr val="FFFF00"/>
                </a:solidFill>
                <a:latin typeface="黑体" pitchFamily="49" charset="-122"/>
                <a:ea typeface="黑体" pitchFamily="49" charset="-122"/>
              </a:endParaRPr>
            </a:p>
          </p:txBody>
        </p:sp>
      </p:grpSp>
      <p:sp>
        <p:nvSpPr>
          <p:cNvPr id="47" name="TextBox 46"/>
          <p:cNvSpPr txBox="1"/>
          <p:nvPr/>
        </p:nvSpPr>
        <p:spPr>
          <a:xfrm>
            <a:off x="4876800" y="5638800"/>
            <a:ext cx="3657600" cy="646113"/>
          </a:xfrm>
          <a:prstGeom prst="rect">
            <a:avLst/>
          </a:prstGeom>
          <a:noFill/>
        </p:spPr>
        <p:txBody>
          <a:bodyPr lIns="91389" tIns="45694" rIns="91389" bIns="45694">
            <a:spAutoFit/>
          </a:bodyPr>
          <a:lstStyle/>
          <a:p>
            <a:pPr algn="ctr" fontAlgn="base">
              <a:spcBef>
                <a:spcPct val="0"/>
              </a:spcBef>
              <a:spcAft>
                <a:spcPct val="0"/>
              </a:spcAft>
              <a:defRPr/>
            </a:pPr>
            <a:r>
              <a:rPr lang="zh-CN" altLang="en-US" b="1" dirty="0">
                <a:solidFill>
                  <a:srgbClr val="1F497D">
                    <a:lumMod val="50000"/>
                  </a:srgbClr>
                </a:solidFill>
                <a:latin typeface="楷体" pitchFamily="49" charset="-122"/>
                <a:ea typeface="楷体" pitchFamily="49" charset="-122"/>
              </a:rPr>
              <a:t>宽容有助于扩大交往空间，也有助于消除人际间的紧张和矛盾。</a:t>
            </a:r>
          </a:p>
        </p:txBody>
      </p:sp>
      <p:sp>
        <p:nvSpPr>
          <p:cNvPr id="48" name="TextBox 47"/>
          <p:cNvSpPr txBox="1"/>
          <p:nvPr/>
        </p:nvSpPr>
        <p:spPr>
          <a:xfrm>
            <a:off x="609600" y="5715000"/>
            <a:ext cx="3657600" cy="708025"/>
          </a:xfrm>
          <a:prstGeom prst="rect">
            <a:avLst/>
          </a:prstGeom>
          <a:noFill/>
        </p:spPr>
        <p:txBody>
          <a:bodyPr lIns="91389" tIns="45694" rIns="91389" bIns="45694">
            <a:spAutoFit/>
          </a:bodyPr>
          <a:lstStyle/>
          <a:p>
            <a:pPr fontAlgn="base">
              <a:spcBef>
                <a:spcPct val="0"/>
              </a:spcBef>
              <a:spcAft>
                <a:spcPct val="0"/>
              </a:spcAft>
              <a:defRPr/>
            </a:pPr>
            <a:r>
              <a:rPr lang="zh-CN" altLang="en-US" sz="2000" b="1" dirty="0">
                <a:solidFill>
                  <a:srgbClr val="1F497D">
                    <a:lumMod val="50000"/>
                  </a:srgbClr>
                </a:solidFill>
                <a:latin typeface="楷体" pitchFamily="49" charset="-122"/>
                <a:ea typeface="楷体" pitchFamily="49" charset="-122"/>
              </a:rPr>
              <a:t>以责人之心责己、</a:t>
            </a:r>
            <a:endParaRPr lang="en-US" altLang="zh-CN" sz="2000" b="1" dirty="0">
              <a:solidFill>
                <a:srgbClr val="1F497D">
                  <a:lumMod val="50000"/>
                </a:srgbClr>
              </a:solidFill>
              <a:latin typeface="楷体" pitchFamily="49" charset="-122"/>
              <a:ea typeface="楷体" pitchFamily="49" charset="-122"/>
            </a:endParaRPr>
          </a:p>
          <a:p>
            <a:pPr fontAlgn="base">
              <a:spcBef>
                <a:spcPct val="0"/>
              </a:spcBef>
              <a:spcAft>
                <a:spcPct val="0"/>
              </a:spcAft>
              <a:defRPr/>
            </a:pPr>
            <a:r>
              <a:rPr lang="zh-CN" altLang="en-US" sz="2000" b="1" dirty="0">
                <a:solidFill>
                  <a:srgbClr val="1F497D">
                    <a:lumMod val="50000"/>
                  </a:srgbClr>
                </a:solidFill>
                <a:latin typeface="楷体" pitchFamily="49" charset="-122"/>
                <a:ea typeface="楷体" pitchFamily="49" charset="-122"/>
              </a:rPr>
              <a:t>以恕己之心恕人。</a:t>
            </a:r>
          </a:p>
        </p:txBody>
      </p:sp>
      <p:sp>
        <p:nvSpPr>
          <p:cNvPr id="49" name="TextBox 48"/>
          <p:cNvSpPr txBox="1">
            <a:spLocks noChangeArrowheads="1"/>
          </p:cNvSpPr>
          <p:nvPr/>
        </p:nvSpPr>
        <p:spPr bwMode="auto">
          <a:xfrm>
            <a:off x="685800" y="2819400"/>
            <a:ext cx="3276600" cy="708025"/>
          </a:xfrm>
          <a:prstGeom prst="rect">
            <a:avLst/>
          </a:prstGeom>
          <a:noFill/>
          <a:ln w="9525">
            <a:noFill/>
            <a:miter lim="800000"/>
            <a:headEnd/>
            <a:tailEnd/>
          </a:ln>
        </p:spPr>
        <p:txBody>
          <a:bodyPr lIns="91389" tIns="45694" rIns="91389" bIns="45694">
            <a:spAutoFit/>
          </a:bodyPr>
          <a:lstStyle/>
          <a:p>
            <a:pPr fontAlgn="base">
              <a:spcBef>
                <a:spcPct val="0"/>
              </a:spcBef>
              <a:spcAft>
                <a:spcPct val="0"/>
              </a:spcAft>
            </a:pPr>
            <a:r>
              <a:rPr lang="zh-CN" altLang="en-US" sz="2000" dirty="0" smtClean="0">
                <a:solidFill>
                  <a:prstClr val="black"/>
                </a:solidFill>
                <a:latin typeface="黑体" pitchFamily="49" charset="-122"/>
                <a:ea typeface="黑体" pitchFamily="49" charset="-122"/>
              </a:rPr>
              <a:t>严于律己、宽以待人，</a:t>
            </a:r>
            <a:endParaRPr lang="en-US" altLang="zh-CN" sz="2000" dirty="0" smtClean="0">
              <a:solidFill>
                <a:prstClr val="black"/>
              </a:solidFill>
              <a:latin typeface="黑体" pitchFamily="49" charset="-122"/>
              <a:ea typeface="黑体" pitchFamily="49" charset="-122"/>
            </a:endParaRPr>
          </a:p>
          <a:p>
            <a:pPr fontAlgn="base">
              <a:spcBef>
                <a:spcPct val="0"/>
              </a:spcBef>
              <a:spcAft>
                <a:spcPct val="0"/>
              </a:spcAft>
            </a:pPr>
            <a:r>
              <a:rPr lang="zh-CN" altLang="en-US" sz="2000" dirty="0" smtClean="0">
                <a:solidFill>
                  <a:prstClr val="black"/>
                </a:solidFill>
                <a:latin typeface="黑体" pitchFamily="49" charset="-122"/>
                <a:ea typeface="黑体" pitchFamily="49" charset="-122"/>
              </a:rPr>
              <a:t>求同存异、相互包容</a:t>
            </a:r>
          </a:p>
        </p:txBody>
      </p:sp>
      <p:sp>
        <p:nvSpPr>
          <p:cNvPr id="50" name="TextBox 49"/>
          <p:cNvSpPr txBox="1">
            <a:spLocks noChangeArrowheads="1"/>
          </p:cNvSpPr>
          <p:nvPr/>
        </p:nvSpPr>
        <p:spPr bwMode="auto">
          <a:xfrm>
            <a:off x="5705475" y="2882900"/>
            <a:ext cx="2386013" cy="400050"/>
          </a:xfrm>
          <a:prstGeom prst="rect">
            <a:avLst/>
          </a:prstGeom>
          <a:noFill/>
          <a:ln w="9525">
            <a:noFill/>
            <a:miter lim="800000"/>
            <a:headEnd/>
            <a:tailEnd/>
          </a:ln>
        </p:spPr>
        <p:txBody>
          <a:bodyPr lIns="91389" tIns="45694" rIns="91389" bIns="45694">
            <a:spAutoFit/>
          </a:bodyPr>
          <a:lstStyle/>
          <a:p>
            <a:pPr algn="ctr" fontAlgn="base">
              <a:spcBef>
                <a:spcPct val="0"/>
              </a:spcBef>
              <a:spcAft>
                <a:spcPct val="0"/>
              </a:spcAft>
            </a:pPr>
            <a:r>
              <a:rPr lang="zh-CN" altLang="en-US" sz="2000" dirty="0" smtClean="0">
                <a:solidFill>
                  <a:prstClr val="black"/>
                </a:solidFill>
                <a:latin typeface="黑体" pitchFamily="49" charset="-122"/>
                <a:ea typeface="黑体" pitchFamily="49" charset="-122"/>
              </a:rPr>
              <a:t>“宽而疾恶”</a:t>
            </a:r>
          </a:p>
        </p:txBody>
      </p:sp>
      <p:sp>
        <p:nvSpPr>
          <p:cNvPr id="116748" name="AutoShape 2" descr="http://img3.imgtn.bdimg.com/it/u=2056560077,2720816384&amp;fm=21&amp;gp=0.jpg"/>
          <p:cNvSpPr>
            <a:spLocks noChangeAspect="1" noChangeArrowheads="1"/>
          </p:cNvSpPr>
          <p:nvPr/>
        </p:nvSpPr>
        <p:spPr bwMode="auto">
          <a:xfrm>
            <a:off x="63500" y="-144463"/>
            <a:ext cx="304800" cy="304801"/>
          </a:xfrm>
          <a:prstGeom prst="rect">
            <a:avLst/>
          </a:prstGeom>
          <a:noFill/>
          <a:ln w="9525">
            <a:noFill/>
            <a:miter lim="800000"/>
            <a:headEnd/>
            <a:tailEnd/>
          </a:ln>
        </p:spPr>
        <p:txBody>
          <a:bodyPr lIns="91389" tIns="45694" rIns="91389" bIns="45694"/>
          <a:lstStyle/>
          <a:p>
            <a:pPr fontAlgn="base">
              <a:spcBef>
                <a:spcPct val="0"/>
              </a:spcBef>
              <a:spcAft>
                <a:spcPct val="0"/>
              </a:spcAft>
              <a:defRPr/>
            </a:pPr>
            <a:endParaRPr lang="zh-CN" altLang="en-US" dirty="0">
              <a:solidFill>
                <a:prstClr val="black"/>
              </a:solidFill>
              <a:effectLst>
                <a:outerShdw blurRad="38100" dist="38100" dir="2700000" algn="tl">
                  <a:srgbClr val="000000">
                    <a:alpha val="43137"/>
                  </a:srgbClr>
                </a:outerShdw>
              </a:effectLst>
              <a:latin typeface="黑体" pitchFamily="49" charset="-122"/>
            </a:endParaRPr>
          </a:p>
        </p:txBody>
      </p:sp>
      <p:pic>
        <p:nvPicPr>
          <p:cNvPr id="362509" name="Picture 4" descr="http://pic.58pic.com/58pic/17/14/81/99U58PIC5r9_1024.jpg"/>
          <p:cNvPicPr>
            <a:picLocks noChangeAspect="1" noChangeArrowheads="1"/>
          </p:cNvPicPr>
          <p:nvPr/>
        </p:nvPicPr>
        <p:blipFill>
          <a:blip r:embed="rId14" cstate="print"/>
          <a:srcRect/>
          <a:stretch>
            <a:fillRect/>
          </a:stretch>
        </p:blipFill>
        <p:spPr bwMode="auto">
          <a:xfrm>
            <a:off x="533400" y="3505200"/>
            <a:ext cx="3124200" cy="2133600"/>
          </a:xfrm>
          <a:prstGeom prst="rect">
            <a:avLst/>
          </a:prstGeom>
          <a:noFill/>
          <a:ln w="9525">
            <a:noFill/>
            <a:miter lim="800000"/>
            <a:headEnd/>
            <a:tailEnd/>
          </a:ln>
        </p:spPr>
      </p:pic>
      <p:pic>
        <p:nvPicPr>
          <p:cNvPr id="117774" name="Picture 6" descr="http://image31.bookschina.com/2009/20090221/3344464.jpg"/>
          <p:cNvPicPr>
            <a:picLocks noChangeAspect="1" noChangeArrowheads="1"/>
          </p:cNvPicPr>
          <p:nvPr/>
        </p:nvPicPr>
        <p:blipFill>
          <a:blip r:embed="rId15" cstate="print"/>
          <a:srcRect/>
          <a:stretch>
            <a:fillRect/>
          </a:stretch>
        </p:blipFill>
        <p:spPr bwMode="auto">
          <a:xfrm>
            <a:off x="5638800" y="3276600"/>
            <a:ext cx="2514600" cy="2435225"/>
          </a:xfrm>
          <a:prstGeom prst="rect">
            <a:avLst/>
          </a:prstGeom>
          <a:noFill/>
          <a:ln w="9525">
            <a:noFill/>
            <a:miter lim="800000"/>
            <a:headEnd/>
            <a:tailEnd/>
          </a:ln>
        </p:spPr>
      </p:pic>
      <p:pic>
        <p:nvPicPr>
          <p:cNvPr id="362511" name="Picture 29" descr="运动边框"/>
          <p:cNvPicPr>
            <a:picLocks noChangeAspect="1" noChangeArrowheads="1" noCrop="1"/>
          </p:cNvPicPr>
          <p:nvPr/>
        </p:nvPicPr>
        <p:blipFill>
          <a:blip r:embed="rId16" cstate="print"/>
          <a:srcRect/>
          <a:stretch>
            <a:fillRect/>
          </a:stretch>
        </p:blipFill>
        <p:spPr bwMode="auto">
          <a:xfrm>
            <a:off x="5715000" y="6399213"/>
            <a:ext cx="3429000" cy="306387"/>
          </a:xfrm>
          <a:prstGeom prst="rect">
            <a:avLst/>
          </a:prstGeom>
          <a:noFill/>
          <a:ln w="9525">
            <a:noFill/>
            <a:miter lim="800000"/>
            <a:headEnd/>
            <a:tailEnd/>
          </a:ln>
        </p:spPr>
      </p:pic>
      <p:sp>
        <p:nvSpPr>
          <p:cNvPr id="116752" name="TextBox 6"/>
          <p:cNvSpPr txBox="1">
            <a:spLocks noChangeArrowheads="1"/>
          </p:cNvSpPr>
          <p:nvPr/>
        </p:nvSpPr>
        <p:spPr bwMode="auto">
          <a:xfrm>
            <a:off x="5791200" y="6400800"/>
            <a:ext cx="3581400" cy="369888"/>
          </a:xfrm>
          <a:prstGeom prst="rect">
            <a:avLst/>
          </a:prstGeom>
          <a:noFill/>
          <a:ln w="9525">
            <a:noFill/>
            <a:miter lim="800000"/>
            <a:headEnd/>
            <a:tailEnd/>
          </a:ln>
        </p:spPr>
        <p:txBody>
          <a:bodyPr lIns="91389" tIns="45694" rIns="91389" bIns="45694">
            <a:spAutoFit/>
          </a:bodyPr>
          <a:lstStyle/>
          <a:p>
            <a:pPr fontAlgn="base">
              <a:spcBef>
                <a:spcPct val="0"/>
              </a:spcBef>
              <a:spcAft>
                <a:spcPct val="0"/>
              </a:spcAft>
              <a:defRPr/>
            </a:pPr>
            <a:r>
              <a:rPr lang="zh-CN" altLang="en-US" b="1" dirty="0">
                <a:solidFill>
                  <a:prstClr val="white"/>
                </a:solidFill>
                <a:effectLst>
                  <a:outerShdw blurRad="38100" dist="38100" dir="2700000" algn="tl">
                    <a:srgbClr val="000000">
                      <a:alpha val="43137"/>
                    </a:srgbClr>
                  </a:outerShdw>
                </a:effectLst>
                <a:latin typeface="黑体" pitchFamily="49" charset="-122"/>
              </a:rPr>
              <a:t>第三节      科学对待人生环境</a:t>
            </a:r>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1000"/>
                                        <p:tgtEl>
                                          <p:spTgt spid="2"/>
                                        </p:tgtEl>
                                      </p:cBhvr>
                                    </p:animEffect>
                                  </p:childTnLst>
                                </p:cTn>
                              </p:par>
                            </p:childTnLst>
                          </p:cTn>
                        </p:par>
                        <p:par>
                          <p:cTn id="8" fill="hold">
                            <p:stCondLst>
                              <p:cond delay="1000"/>
                            </p:stCondLst>
                            <p:childTnLst>
                              <p:par>
                                <p:cTn id="9" presetID="12" presetClass="entr" presetSubtype="1" fill="hold" grpId="0" nodeType="afterEffect">
                                  <p:stCondLst>
                                    <p:cond delay="0"/>
                                  </p:stCondLst>
                                  <p:childTnLst>
                                    <p:set>
                                      <p:cBhvr>
                                        <p:cTn id="10" dur="1" fill="hold">
                                          <p:stCondLst>
                                            <p:cond delay="0"/>
                                          </p:stCondLst>
                                        </p:cTn>
                                        <p:tgtEl>
                                          <p:spTgt spid="38"/>
                                        </p:tgtEl>
                                        <p:attrNameLst>
                                          <p:attrName>style.visibility</p:attrName>
                                        </p:attrNameLst>
                                      </p:cBhvr>
                                      <p:to>
                                        <p:strVal val="visible"/>
                                      </p:to>
                                    </p:set>
                                    <p:animEffect transition="in" filter="slide(fromTop)">
                                      <p:cBhvr>
                                        <p:cTn id="11" dur="500"/>
                                        <p:tgtEl>
                                          <p:spTgt spid="38"/>
                                        </p:tgtEl>
                                      </p:cBhvr>
                                    </p:animEffect>
                                  </p:childTnLst>
                                </p:cTn>
                              </p:par>
                            </p:childTnLst>
                          </p:cTn>
                        </p:par>
                        <p:par>
                          <p:cTn id="12" fill="hold">
                            <p:stCondLst>
                              <p:cond delay="1500"/>
                            </p:stCondLst>
                            <p:childTnLst>
                              <p:par>
                                <p:cTn id="13" presetID="22" presetClass="entr" presetSubtype="4" fill="hold" nodeType="afterEffect">
                                  <p:stCondLst>
                                    <p:cond delay="0"/>
                                  </p:stCondLst>
                                  <p:childTnLst>
                                    <p:set>
                                      <p:cBhvr>
                                        <p:cTn id="14" dur="1" fill="hold">
                                          <p:stCondLst>
                                            <p:cond delay="0"/>
                                          </p:stCondLst>
                                        </p:cTn>
                                        <p:tgtEl>
                                          <p:spTgt spid="4"/>
                                        </p:tgtEl>
                                        <p:attrNameLst>
                                          <p:attrName>style.visibility</p:attrName>
                                        </p:attrNameLst>
                                      </p:cBhvr>
                                      <p:to>
                                        <p:strVal val="visible"/>
                                      </p:to>
                                    </p:set>
                                    <p:animEffect transition="in" filter="wipe(down)">
                                      <p:cBhvr>
                                        <p:cTn id="15" dur="2000"/>
                                        <p:tgtEl>
                                          <p:spTgt spid="4"/>
                                        </p:tgtEl>
                                      </p:cBhvr>
                                    </p:animEffect>
                                  </p:childTnLst>
                                </p:cTn>
                              </p:par>
                            </p:childTnLst>
                          </p:cTn>
                        </p:par>
                        <p:par>
                          <p:cTn id="16" fill="hold">
                            <p:stCondLst>
                              <p:cond delay="3500"/>
                            </p:stCondLst>
                            <p:childTnLst>
                              <p:par>
                                <p:cTn id="17" presetID="22" presetClass="entr" presetSubtype="4" fill="hold" nodeType="afterEffect">
                                  <p:stCondLst>
                                    <p:cond delay="0"/>
                                  </p:stCondLst>
                                  <p:childTnLst>
                                    <p:set>
                                      <p:cBhvr>
                                        <p:cTn id="18" dur="1" fill="hold">
                                          <p:stCondLst>
                                            <p:cond delay="0"/>
                                          </p:stCondLst>
                                        </p:cTn>
                                        <p:tgtEl>
                                          <p:spTgt spid="5"/>
                                        </p:tgtEl>
                                        <p:attrNameLst>
                                          <p:attrName>style.visibility</p:attrName>
                                        </p:attrNameLst>
                                      </p:cBhvr>
                                      <p:to>
                                        <p:strVal val="visible"/>
                                      </p:to>
                                    </p:set>
                                    <p:animEffect transition="in" filter="wipe(down)">
                                      <p:cBhvr>
                                        <p:cTn id="19" dur="2000"/>
                                        <p:tgtEl>
                                          <p:spTgt spid="5"/>
                                        </p:tgtEl>
                                      </p:cBhvr>
                                    </p:animEffect>
                                  </p:childTnLst>
                                </p:cTn>
                              </p:par>
                            </p:childTnLst>
                          </p:cTn>
                        </p:par>
                        <p:par>
                          <p:cTn id="20" fill="hold">
                            <p:stCondLst>
                              <p:cond delay="5500"/>
                            </p:stCondLst>
                            <p:childTnLst>
                              <p:par>
                                <p:cTn id="21" presetID="12" presetClass="entr" presetSubtype="4" fill="hold" grpId="0" nodeType="afterEffect">
                                  <p:stCondLst>
                                    <p:cond delay="0"/>
                                  </p:stCondLst>
                                  <p:childTnLst>
                                    <p:set>
                                      <p:cBhvr>
                                        <p:cTn id="22" dur="1" fill="hold">
                                          <p:stCondLst>
                                            <p:cond delay="0"/>
                                          </p:stCondLst>
                                        </p:cTn>
                                        <p:tgtEl>
                                          <p:spTgt spid="49"/>
                                        </p:tgtEl>
                                        <p:attrNameLst>
                                          <p:attrName>style.visibility</p:attrName>
                                        </p:attrNameLst>
                                      </p:cBhvr>
                                      <p:to>
                                        <p:strVal val="visible"/>
                                      </p:to>
                                    </p:set>
                                    <p:animEffect transition="in" filter="slide(fromBottom)">
                                      <p:cBhvr>
                                        <p:cTn id="23" dur="1000"/>
                                        <p:tgtEl>
                                          <p:spTgt spid="49"/>
                                        </p:tgtEl>
                                      </p:cBhvr>
                                    </p:animEffect>
                                  </p:childTnLst>
                                </p:cTn>
                              </p:par>
                            </p:childTnLst>
                          </p:cTn>
                        </p:par>
                        <p:par>
                          <p:cTn id="24" fill="hold">
                            <p:stCondLst>
                              <p:cond delay="6500"/>
                            </p:stCondLst>
                            <p:childTnLst>
                              <p:par>
                                <p:cTn id="25" presetID="22" presetClass="entr" presetSubtype="4" fill="hold" grpId="0" nodeType="afterEffect">
                                  <p:stCondLst>
                                    <p:cond delay="0"/>
                                  </p:stCondLst>
                                  <p:childTnLst>
                                    <p:set>
                                      <p:cBhvr>
                                        <p:cTn id="26" dur="1" fill="hold">
                                          <p:stCondLst>
                                            <p:cond delay="0"/>
                                          </p:stCondLst>
                                        </p:cTn>
                                        <p:tgtEl>
                                          <p:spTgt spid="48"/>
                                        </p:tgtEl>
                                        <p:attrNameLst>
                                          <p:attrName>style.visibility</p:attrName>
                                        </p:attrNameLst>
                                      </p:cBhvr>
                                      <p:to>
                                        <p:strVal val="visible"/>
                                      </p:to>
                                    </p:set>
                                    <p:animEffect transition="in" filter="wipe(down)">
                                      <p:cBhvr>
                                        <p:cTn id="27" dur="1000"/>
                                        <p:tgtEl>
                                          <p:spTgt spid="48"/>
                                        </p:tgtEl>
                                      </p:cBhvr>
                                    </p:animEffect>
                                  </p:childTnLst>
                                </p:cTn>
                              </p:par>
                            </p:childTnLst>
                          </p:cTn>
                        </p:par>
                        <p:par>
                          <p:cTn id="28" fill="hold">
                            <p:stCondLst>
                              <p:cond delay="7500"/>
                            </p:stCondLst>
                            <p:childTnLst>
                              <p:par>
                                <p:cTn id="29" presetID="5" presetClass="entr" presetSubtype="10" fill="hold" nodeType="afterEffect">
                                  <p:stCondLst>
                                    <p:cond delay="0"/>
                                  </p:stCondLst>
                                  <p:childTnLst>
                                    <p:set>
                                      <p:cBhvr>
                                        <p:cTn id="30" dur="1" fill="hold">
                                          <p:stCondLst>
                                            <p:cond delay="0"/>
                                          </p:stCondLst>
                                        </p:cTn>
                                        <p:tgtEl>
                                          <p:spTgt spid="117774"/>
                                        </p:tgtEl>
                                        <p:attrNameLst>
                                          <p:attrName>style.visibility</p:attrName>
                                        </p:attrNameLst>
                                      </p:cBhvr>
                                      <p:to>
                                        <p:strVal val="visible"/>
                                      </p:to>
                                    </p:set>
                                    <p:animEffect transition="in" filter="checkerboard(across)">
                                      <p:cBhvr>
                                        <p:cTn id="31" dur="500"/>
                                        <p:tgtEl>
                                          <p:spTgt spid="117774"/>
                                        </p:tgtEl>
                                      </p:cBhvr>
                                    </p:animEffect>
                                  </p:childTnLst>
                                </p:cTn>
                              </p:par>
                            </p:childTnLst>
                          </p:cTn>
                        </p:par>
                        <p:par>
                          <p:cTn id="32" fill="hold">
                            <p:stCondLst>
                              <p:cond delay="8000"/>
                            </p:stCondLst>
                            <p:childTnLst>
                              <p:par>
                                <p:cTn id="33" presetID="22" presetClass="entr" presetSubtype="4" fill="hold" grpId="0" nodeType="afterEffect">
                                  <p:stCondLst>
                                    <p:cond delay="0"/>
                                  </p:stCondLst>
                                  <p:childTnLst>
                                    <p:set>
                                      <p:cBhvr>
                                        <p:cTn id="34" dur="1" fill="hold">
                                          <p:stCondLst>
                                            <p:cond delay="0"/>
                                          </p:stCondLst>
                                        </p:cTn>
                                        <p:tgtEl>
                                          <p:spTgt spid="47"/>
                                        </p:tgtEl>
                                        <p:attrNameLst>
                                          <p:attrName>style.visibility</p:attrName>
                                        </p:attrNameLst>
                                      </p:cBhvr>
                                      <p:to>
                                        <p:strVal val="visible"/>
                                      </p:to>
                                    </p:set>
                                    <p:animEffect transition="in" filter="wipe(down)">
                                      <p:cBhvr>
                                        <p:cTn id="35" dur="1000"/>
                                        <p:tgtEl>
                                          <p:spTgt spid="47"/>
                                        </p:tgtEl>
                                      </p:cBhvr>
                                    </p:animEffect>
                                  </p:childTnLst>
                                </p:cTn>
                              </p:par>
                            </p:childTnLst>
                          </p:cTn>
                        </p:par>
                        <p:par>
                          <p:cTn id="36" fill="hold">
                            <p:stCondLst>
                              <p:cond delay="9000"/>
                            </p:stCondLst>
                            <p:childTnLst>
                              <p:par>
                                <p:cTn id="37" presetID="12" presetClass="entr" presetSubtype="4" fill="hold" grpId="0" nodeType="afterEffect">
                                  <p:stCondLst>
                                    <p:cond delay="0"/>
                                  </p:stCondLst>
                                  <p:childTnLst>
                                    <p:set>
                                      <p:cBhvr>
                                        <p:cTn id="38" dur="1" fill="hold">
                                          <p:stCondLst>
                                            <p:cond delay="0"/>
                                          </p:stCondLst>
                                        </p:cTn>
                                        <p:tgtEl>
                                          <p:spTgt spid="50"/>
                                        </p:tgtEl>
                                        <p:attrNameLst>
                                          <p:attrName>style.visibility</p:attrName>
                                        </p:attrNameLst>
                                      </p:cBhvr>
                                      <p:to>
                                        <p:strVal val="visible"/>
                                      </p:to>
                                    </p:set>
                                    <p:animEffect transition="in" filter="slide(fromBottom)">
                                      <p:cBhvr>
                                        <p:cTn id="39" dur="1000"/>
                                        <p:tgtEl>
                                          <p:spTgt spid="5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38" grpId="0">
        <p:bldAsOne/>
      </p:bldGraphic>
      <p:bldP spid="47" grpId="0"/>
      <p:bldP spid="48" grpId="0"/>
      <p:bldP spid="49" grpId="0"/>
      <p:bldP spid="50"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3522" name="标题 1"/>
          <p:cNvSpPr>
            <a:spLocks noGrp="1"/>
          </p:cNvSpPr>
          <p:nvPr>
            <p:ph type="title"/>
          </p:nvPr>
        </p:nvSpPr>
        <p:spPr>
          <a:xfrm>
            <a:off x="381000" y="0"/>
            <a:ext cx="8229600" cy="990600"/>
          </a:xfrm>
        </p:spPr>
        <p:txBody>
          <a:bodyPr/>
          <a:lstStyle/>
          <a:p>
            <a:endParaRPr lang="zh-CN" altLang="en-US" sz="4100" dirty="0" smtClean="0">
              <a:effectLst/>
              <a:ea typeface="黑体" pitchFamily="49" charset="-122"/>
            </a:endParaRPr>
          </a:p>
        </p:txBody>
      </p:sp>
      <p:sp>
        <p:nvSpPr>
          <p:cNvPr id="4" name="内容占位符 3"/>
          <p:cNvSpPr>
            <a:spLocks noGrp="1"/>
          </p:cNvSpPr>
          <p:nvPr>
            <p:ph sz="quarter" idx="2"/>
          </p:nvPr>
        </p:nvSpPr>
        <p:spPr>
          <a:xfrm>
            <a:off x="4419600" y="1600200"/>
            <a:ext cx="3657600" cy="2209800"/>
          </a:xfrm>
          <a:solidFill>
            <a:srgbClr val="00B0F0">
              <a:alpha val="20000"/>
            </a:srgbClr>
          </a:solidFill>
          <a:ln w="28575">
            <a:solidFill>
              <a:srgbClr val="7030A0"/>
            </a:solidFill>
          </a:ln>
        </p:spPr>
        <p:txBody>
          <a:bodyPr/>
          <a:lstStyle/>
          <a:p>
            <a:pPr marL="342708" indent="-342708">
              <a:buFont typeface="Wingdings" pitchFamily="2" charset="2"/>
              <a:buNone/>
              <a:defRPr/>
            </a:pPr>
            <a:r>
              <a:rPr lang="zh-CN" altLang="en-US" sz="2800" b="1" dirty="0" smtClean="0">
                <a:solidFill>
                  <a:srgbClr val="993366"/>
                </a:solidFill>
                <a:effectLst/>
                <a:latin typeface="华文新魏" pitchFamily="2" charset="-122"/>
                <a:ea typeface="华文新魏" pitchFamily="2" charset="-122"/>
              </a:rPr>
              <a:t>    不肯原谅别人的结果是会有重量压在肩膀上，你不肯原谅的人愈多，这个担子就愈重。</a:t>
            </a:r>
          </a:p>
          <a:p>
            <a:pPr marL="342708" indent="-342708">
              <a:buFont typeface="Wingdings" pitchFamily="2" charset="2"/>
              <a:buNone/>
              <a:defRPr/>
            </a:pPr>
            <a:endParaRPr lang="en-US" altLang="zh-CN" b="1" dirty="0" smtClean="0">
              <a:solidFill>
                <a:srgbClr val="993366"/>
              </a:solidFill>
              <a:effectLst/>
              <a:latin typeface="华文新魏" pitchFamily="2" charset="-122"/>
              <a:ea typeface="华文新魏" pitchFamily="2" charset="-122"/>
            </a:endParaRPr>
          </a:p>
          <a:p>
            <a:pPr marL="342708" indent="-342708">
              <a:defRPr/>
            </a:pPr>
            <a:endParaRPr lang="zh-CN" altLang="en-US" dirty="0"/>
          </a:p>
        </p:txBody>
      </p:sp>
      <p:sp>
        <p:nvSpPr>
          <p:cNvPr id="6" name="TextBox 5"/>
          <p:cNvSpPr txBox="1"/>
          <p:nvPr/>
        </p:nvSpPr>
        <p:spPr>
          <a:xfrm>
            <a:off x="304800" y="4267200"/>
            <a:ext cx="8610600" cy="862013"/>
          </a:xfrm>
          <a:prstGeom prst="rect">
            <a:avLst/>
          </a:prstGeom>
          <a:solidFill>
            <a:sysClr val="window" lastClr="FFFFFF"/>
          </a:solidFill>
          <a:ln w="25400" cap="flat" cmpd="sng" algn="ctr">
            <a:solidFill>
              <a:srgbClr val="C0504D"/>
            </a:solidFill>
            <a:prstDash val="solid"/>
          </a:ln>
          <a:effectLst>
            <a:outerShdw blurRad="50800" dist="38100" dir="5400000" algn="t" rotWithShape="0">
              <a:prstClr val="black">
                <a:alpha val="40000"/>
              </a:prstClr>
            </a:outerShdw>
          </a:effectLst>
        </p:spPr>
        <p:txBody>
          <a:bodyPr lIns="91389" tIns="45694" rIns="91389" bIns="45694">
            <a:spAutoFit/>
          </a:bodyPr>
          <a:lstStyle/>
          <a:p>
            <a:pPr>
              <a:defRPr/>
            </a:pPr>
            <a:r>
              <a:rPr lang="zh-CN" altLang="en-US" sz="2500" b="1" kern="0" dirty="0">
                <a:solidFill>
                  <a:sysClr val="windowText" lastClr="000000"/>
                </a:solidFill>
                <a:effectLst>
                  <a:outerShdw blurRad="38100" dist="38100" dir="2700000" algn="tl">
                    <a:srgbClr val="000000">
                      <a:alpha val="43137"/>
                    </a:srgbClr>
                  </a:outerShdw>
                </a:effectLst>
                <a:latin typeface="Calibri"/>
              </a:rPr>
              <a:t>思考：请同学们想一想怎么样才能解决压在身上的这个重担呢？</a:t>
            </a:r>
            <a:endParaRPr lang="zh-CN" altLang="en-US" sz="2500" kern="0" dirty="0">
              <a:solidFill>
                <a:sysClr val="windowText" lastClr="000000"/>
              </a:solidFill>
              <a:effectLst>
                <a:outerShdw blurRad="38100" dist="38100" dir="2700000" algn="tl">
                  <a:srgbClr val="000000">
                    <a:alpha val="43137"/>
                  </a:srgbClr>
                </a:outerShdw>
              </a:effectLst>
              <a:latin typeface="Calibri"/>
            </a:endParaRPr>
          </a:p>
        </p:txBody>
      </p:sp>
      <p:sp>
        <p:nvSpPr>
          <p:cNvPr id="7" name="内容占位符 6"/>
          <p:cNvSpPr>
            <a:spLocks noGrp="1"/>
          </p:cNvSpPr>
          <p:nvPr>
            <p:ph sz="half" idx="1"/>
          </p:nvPr>
        </p:nvSpPr>
        <p:spPr>
          <a:xfrm>
            <a:off x="457200" y="1600200"/>
            <a:ext cx="4038600" cy="4530725"/>
          </a:xfrm>
        </p:spPr>
        <p:txBody>
          <a:bodyPr/>
          <a:lstStyle/>
          <a:p>
            <a:pPr marL="342708" indent="-342708">
              <a:defRPr/>
            </a:pPr>
            <a:endParaRPr lang="zh-CN" altLang="en-US" dirty="0"/>
          </a:p>
        </p:txBody>
      </p:sp>
      <p:pic>
        <p:nvPicPr>
          <p:cNvPr id="118791" name="Picture 7" descr="http://s11.sinaimg.cn/middle/4ac454a1t95ff81d4c2ca&amp;690"/>
          <p:cNvPicPr>
            <a:picLocks noChangeAspect="1" noChangeArrowheads="1"/>
          </p:cNvPicPr>
          <p:nvPr/>
        </p:nvPicPr>
        <p:blipFill>
          <a:blip r:embed="rId2" cstate="print"/>
          <a:srcRect/>
          <a:stretch>
            <a:fillRect/>
          </a:stretch>
        </p:blipFill>
        <p:spPr bwMode="auto">
          <a:xfrm>
            <a:off x="228603" y="1447807"/>
            <a:ext cx="3733800" cy="2247900"/>
          </a:xfrm>
          <a:prstGeom prst="roundRect">
            <a:avLst>
              <a:gd name="adj" fmla="val 11111"/>
            </a:avLst>
          </a:prstGeom>
          <a:ln w="190500" cap="rnd">
            <a:solidFill>
              <a:srgbClr val="C8C6BD"/>
            </a:solidFill>
            <a:prstDash val="solid"/>
          </a:ln>
          <a:effectLst>
            <a:outerShdw blurRad="101600" dist="50800" dir="7200000" algn="tl" rotWithShape="0">
              <a:srgbClr val="000000">
                <a:alpha val="45000"/>
              </a:srgbClr>
            </a:outerShdw>
          </a:effectLst>
          <a:scene3d>
            <a:camera prst="perspectiveFront" fov="5400000"/>
            <a:lightRig rig="threePt" dir="t">
              <a:rot lat="0" lon="0" rev="19200000"/>
            </a:lightRig>
          </a:scene3d>
          <a:sp3d extrusionH="25400">
            <a:bevelT w="304800" h="152400" prst="hardEdge"/>
            <a:extrusionClr>
              <a:srgbClr val="FFFFFF"/>
            </a:extrusionClr>
          </a:sp3d>
        </p:spPr>
      </p:pic>
      <p:sp>
        <p:nvSpPr>
          <p:cNvPr id="8" name="矩形 7"/>
          <p:cNvSpPr/>
          <p:nvPr/>
        </p:nvSpPr>
        <p:spPr>
          <a:xfrm>
            <a:off x="1371603" y="304800"/>
            <a:ext cx="5724644" cy="923277"/>
          </a:xfrm>
          <a:prstGeom prst="rect">
            <a:avLst/>
          </a:prstGeom>
          <a:solidFill>
            <a:srgbClr val="00B050"/>
          </a:solidFill>
        </p:spPr>
        <p:txBody>
          <a:bodyPr lIns="91389" tIns="45694" rIns="91389" bIns="45694">
            <a:spAutoFit/>
          </a:bodyPr>
          <a:lstStyle/>
          <a:p>
            <a:pPr algn="ctr" fontAlgn="base">
              <a:spcBef>
                <a:spcPct val="0"/>
              </a:spcBef>
              <a:spcAft>
                <a:spcPct val="0"/>
              </a:spcAft>
              <a:defRPr/>
            </a:pPr>
            <a:r>
              <a:rPr lang="zh-CN" altLang="en-US" sz="5400" dirty="0">
                <a:solidFill>
                  <a:srgbClr val="000066"/>
                </a:solidFill>
                <a:effectLst>
                  <a:outerShdw blurRad="38100" dist="38100" dir="2700000" algn="tl">
                    <a:srgbClr val="000000">
                      <a:alpha val="43137"/>
                    </a:srgbClr>
                  </a:outerShdw>
                </a:effectLst>
                <a:latin typeface="黑体" pitchFamily="49" charset="-122"/>
                <a:ea typeface="黑体" pitchFamily="49" charset="-122"/>
              </a:rPr>
              <a:t>案例：一袋马铃薯</a:t>
            </a:r>
            <a:endParaRPr lang="zh-CN" altLang="en-US" sz="5400" b="1" dirty="0">
              <a:ln w="10541" cmpd="sng">
                <a:solidFill>
                  <a:srgbClr val="5089A8">
                    <a:shade val="88000"/>
                    <a:satMod val="110000"/>
                  </a:srgbClr>
                </a:solidFill>
                <a:prstDash val="solid"/>
              </a:ln>
              <a:gradFill>
                <a:gsLst>
                  <a:gs pos="0">
                    <a:srgbClr val="5089A8">
                      <a:tint val="40000"/>
                      <a:satMod val="250000"/>
                    </a:srgbClr>
                  </a:gs>
                  <a:gs pos="9000">
                    <a:srgbClr val="5089A8">
                      <a:tint val="52000"/>
                      <a:satMod val="300000"/>
                    </a:srgbClr>
                  </a:gs>
                  <a:gs pos="50000">
                    <a:srgbClr val="5089A8">
                      <a:shade val="20000"/>
                      <a:satMod val="300000"/>
                    </a:srgbClr>
                  </a:gs>
                  <a:gs pos="79000">
                    <a:srgbClr val="5089A8">
                      <a:tint val="52000"/>
                      <a:satMod val="300000"/>
                    </a:srgbClr>
                  </a:gs>
                  <a:gs pos="100000">
                    <a:srgbClr val="5089A8">
                      <a:tint val="40000"/>
                      <a:satMod val="250000"/>
                    </a:srgbClr>
                  </a:gs>
                </a:gsLst>
                <a:lin ang="5400000"/>
              </a:gradFill>
              <a:effectLst>
                <a:outerShdw blurRad="38100" dist="38100" dir="2700000" algn="tl">
                  <a:srgbClr val="000000">
                    <a:alpha val="43137"/>
                  </a:srgbClr>
                </a:outerShdw>
              </a:effectLst>
              <a:latin typeface="黑体" pitchFamily="49" charset="-122"/>
            </a:endParaRPr>
          </a:p>
        </p:txBody>
      </p:sp>
      <p:pic>
        <p:nvPicPr>
          <p:cNvPr id="363528" name="Picture 9" descr="http://www.pxjyjy.com/news/pics/20150525/201505251432566012677.jpg"/>
          <p:cNvPicPr>
            <a:picLocks noChangeAspect="1" noChangeArrowheads="1"/>
          </p:cNvPicPr>
          <p:nvPr/>
        </p:nvPicPr>
        <p:blipFill>
          <a:blip r:embed="rId3" cstate="print"/>
          <a:srcRect/>
          <a:stretch>
            <a:fillRect/>
          </a:stretch>
        </p:blipFill>
        <p:spPr bwMode="auto">
          <a:xfrm>
            <a:off x="2971800" y="4876800"/>
            <a:ext cx="2543175" cy="1981200"/>
          </a:xfrm>
          <a:prstGeom prst="rect">
            <a:avLst/>
          </a:prstGeom>
          <a:noFill/>
          <a:ln w="9525">
            <a:noFill/>
            <a:miter lim="800000"/>
            <a:headEnd/>
            <a:tailEnd/>
          </a:ln>
        </p:spPr>
      </p:pic>
      <p:pic>
        <p:nvPicPr>
          <p:cNvPr id="118795" name="Picture 11" descr="http://atth.jzb.com/forum/201412/20/080619duzumm4l6lmezp4c.gif"/>
          <p:cNvPicPr>
            <a:picLocks noChangeAspect="1" noChangeArrowheads="1" noCrop="1"/>
          </p:cNvPicPr>
          <p:nvPr/>
        </p:nvPicPr>
        <p:blipFill>
          <a:blip r:embed="rId4" cstate="print"/>
          <a:srcRect/>
          <a:stretch>
            <a:fillRect/>
          </a:stretch>
        </p:blipFill>
        <p:spPr bwMode="auto">
          <a:xfrm>
            <a:off x="838200" y="4648200"/>
            <a:ext cx="609600" cy="685800"/>
          </a:xfrm>
          <a:prstGeom prst="rect">
            <a:avLst/>
          </a:prstGeom>
          <a:noFill/>
          <a:ln w="9525">
            <a:noFill/>
            <a:miter lim="800000"/>
            <a:headEnd/>
            <a:tailEnd/>
          </a:ln>
        </p:spPr>
      </p:pic>
      <p:pic>
        <p:nvPicPr>
          <p:cNvPr id="363530" name="Picture 29" descr="运动边框"/>
          <p:cNvPicPr>
            <a:picLocks noChangeAspect="1" noChangeArrowheads="1" noCrop="1"/>
          </p:cNvPicPr>
          <p:nvPr/>
        </p:nvPicPr>
        <p:blipFill>
          <a:blip r:embed="rId5" cstate="print"/>
          <a:srcRect/>
          <a:stretch>
            <a:fillRect/>
          </a:stretch>
        </p:blipFill>
        <p:spPr bwMode="auto">
          <a:xfrm>
            <a:off x="5835650" y="6486525"/>
            <a:ext cx="3352800" cy="371475"/>
          </a:xfrm>
          <a:prstGeom prst="rect">
            <a:avLst/>
          </a:prstGeom>
          <a:noFill/>
          <a:ln w="9525">
            <a:noFill/>
            <a:miter lim="800000"/>
            <a:headEnd/>
            <a:tailEnd/>
          </a:ln>
        </p:spPr>
      </p:pic>
      <p:sp>
        <p:nvSpPr>
          <p:cNvPr id="117771" name="TextBox 6"/>
          <p:cNvSpPr txBox="1">
            <a:spLocks noChangeArrowheads="1"/>
          </p:cNvSpPr>
          <p:nvPr/>
        </p:nvSpPr>
        <p:spPr bwMode="auto">
          <a:xfrm>
            <a:off x="5911850" y="6488113"/>
            <a:ext cx="3232150" cy="646278"/>
          </a:xfrm>
          <a:prstGeom prst="rect">
            <a:avLst/>
          </a:prstGeom>
          <a:noFill/>
          <a:ln w="9525">
            <a:noFill/>
            <a:miter lim="800000"/>
            <a:headEnd/>
            <a:tailEnd/>
          </a:ln>
        </p:spPr>
        <p:txBody>
          <a:bodyPr lIns="91389" tIns="45694" rIns="91389" bIns="45694">
            <a:spAutoFit/>
          </a:bodyPr>
          <a:lstStyle/>
          <a:p>
            <a:pPr fontAlgn="base">
              <a:spcBef>
                <a:spcPct val="0"/>
              </a:spcBef>
              <a:spcAft>
                <a:spcPct val="0"/>
              </a:spcAft>
              <a:defRPr/>
            </a:pPr>
            <a:r>
              <a:rPr lang="zh-CN" altLang="en-US" b="1" dirty="0">
                <a:solidFill>
                  <a:srgbClr val="B3D1DF"/>
                </a:solidFill>
                <a:effectLst>
                  <a:outerShdw blurRad="38100" dist="38100" dir="2700000" algn="tl">
                    <a:srgbClr val="000000">
                      <a:alpha val="43137"/>
                    </a:srgbClr>
                  </a:outerShdw>
                </a:effectLst>
                <a:latin typeface="黑体" pitchFamily="49" charset="-122"/>
              </a:rPr>
              <a:t>第三节       科学对待人生环境</a:t>
            </a:r>
          </a:p>
        </p:txBody>
      </p:sp>
    </p:spTree>
  </p:cSld>
  <p:clrMapOvr>
    <a:masterClrMapping/>
  </p:clrMapOvr>
  <p:transition spd="slow">
    <p:plus/>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2" presetClass="entr" presetSubtype="4" fill="hold" grpId="0" nodeType="clickEffect">
                                  <p:stCondLst>
                                    <p:cond delay="0"/>
                                  </p:stCondLst>
                                  <p:childTnLst>
                                    <p:set>
                                      <p:cBhvr>
                                        <p:cTn id="6" dur="1" fill="hold">
                                          <p:stCondLst>
                                            <p:cond delay="0"/>
                                          </p:stCondLst>
                                        </p:cTn>
                                        <p:tgtEl>
                                          <p:spTgt spid="4">
                                            <p:bg/>
                                          </p:spTgt>
                                        </p:tgtEl>
                                        <p:attrNameLst>
                                          <p:attrName>style.visibility</p:attrName>
                                        </p:attrNameLst>
                                      </p:cBhvr>
                                      <p:to>
                                        <p:strVal val="visible"/>
                                      </p:to>
                                    </p:set>
                                    <p:animEffect transition="in" filter="slide(fromBottom)">
                                      <p:cBhvr>
                                        <p:cTn id="7" dur="500"/>
                                        <p:tgtEl>
                                          <p:spTgt spid="4">
                                            <p:bg/>
                                          </p:spTgt>
                                        </p:tgtEl>
                                      </p:cBhvr>
                                    </p:animEffect>
                                  </p:childTnLst>
                                </p:cTn>
                              </p:par>
                            </p:childTnLst>
                          </p:cTn>
                        </p:par>
                      </p:childTnLst>
                    </p:cTn>
                  </p:par>
                  <p:par>
                    <p:cTn id="8" fill="hold">
                      <p:stCondLst>
                        <p:cond delay="indefinite"/>
                      </p:stCondLst>
                      <p:childTnLst>
                        <p:par>
                          <p:cTn id="9" fill="hold">
                            <p:stCondLst>
                              <p:cond delay="0"/>
                            </p:stCondLst>
                            <p:childTnLst>
                              <p:par>
                                <p:cTn id="10" presetID="12" presetClass="entr" presetSubtype="4" fill="hold" grpId="0" nodeType="clickEffect">
                                  <p:stCondLst>
                                    <p:cond delay="0"/>
                                  </p:stCondLst>
                                  <p:childTnLst>
                                    <p:set>
                                      <p:cBhvr>
                                        <p:cTn id="11" dur="1" fill="hold">
                                          <p:stCondLst>
                                            <p:cond delay="0"/>
                                          </p:stCondLst>
                                        </p:cTn>
                                        <p:tgtEl>
                                          <p:spTgt spid="4">
                                            <p:txEl>
                                              <p:pRg st="0" end="0"/>
                                            </p:txEl>
                                          </p:spTgt>
                                        </p:tgtEl>
                                        <p:attrNameLst>
                                          <p:attrName>style.visibility</p:attrName>
                                        </p:attrNameLst>
                                      </p:cBhvr>
                                      <p:to>
                                        <p:strVal val="visible"/>
                                      </p:to>
                                    </p:set>
                                    <p:animEffect transition="in" filter="slide(fromBottom)">
                                      <p:cBhvr>
                                        <p:cTn id="12" dur="500"/>
                                        <p:tgtEl>
                                          <p:spTgt spid="4">
                                            <p:txEl>
                                              <p:pRg st="0" end="0"/>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2" presetClass="entr" presetSubtype="4" fill="hold" nodeType="clickEffect">
                                  <p:stCondLst>
                                    <p:cond delay="0"/>
                                  </p:stCondLst>
                                  <p:childTnLst>
                                    <p:set>
                                      <p:cBhvr>
                                        <p:cTn id="16" dur="1" fill="hold">
                                          <p:stCondLst>
                                            <p:cond delay="0"/>
                                          </p:stCondLst>
                                        </p:cTn>
                                        <p:tgtEl>
                                          <p:spTgt spid="118795"/>
                                        </p:tgtEl>
                                        <p:attrNameLst>
                                          <p:attrName>style.visibility</p:attrName>
                                        </p:attrNameLst>
                                      </p:cBhvr>
                                      <p:to>
                                        <p:strVal val="visible"/>
                                      </p:to>
                                    </p:set>
                                    <p:anim calcmode="lin" valueType="num">
                                      <p:cBhvr additive="base">
                                        <p:cTn id="17" dur="500" fill="hold"/>
                                        <p:tgtEl>
                                          <p:spTgt spid="118795"/>
                                        </p:tgtEl>
                                        <p:attrNameLst>
                                          <p:attrName>ppt_x</p:attrName>
                                        </p:attrNameLst>
                                      </p:cBhvr>
                                      <p:tavLst>
                                        <p:tav tm="0">
                                          <p:val>
                                            <p:strVal val="#ppt_x"/>
                                          </p:val>
                                        </p:tav>
                                        <p:tav tm="100000">
                                          <p:val>
                                            <p:strVal val="#ppt_x"/>
                                          </p:val>
                                        </p:tav>
                                      </p:tavLst>
                                    </p:anim>
                                    <p:anim calcmode="lin" valueType="num">
                                      <p:cBhvr additive="base">
                                        <p:cTn id="18" dur="500" fill="hold"/>
                                        <p:tgtEl>
                                          <p:spTgt spid="118795"/>
                                        </p:tgtEl>
                                        <p:attrNameLst>
                                          <p:attrName>ppt_y</p:attrName>
                                        </p:attrNameLst>
                                      </p:cBhvr>
                                      <p:tavLst>
                                        <p:tav tm="0">
                                          <p:val>
                                            <p:strVal val="1+#ppt_h/2"/>
                                          </p:val>
                                        </p:tav>
                                        <p:tav tm="100000">
                                          <p:val>
                                            <p:strVal val="#ppt_y"/>
                                          </p:val>
                                        </p:tav>
                                      </p:tavLst>
                                    </p:anim>
                                  </p:childTnLst>
                                </p:cTn>
                              </p:par>
                            </p:childTnLst>
                          </p:cTn>
                        </p:par>
                      </p:childTnLst>
                    </p:cTn>
                  </p:par>
                  <p:par>
                    <p:cTn id="19" fill="hold">
                      <p:stCondLst>
                        <p:cond delay="indefinite"/>
                      </p:stCondLst>
                      <p:childTnLst>
                        <p:par>
                          <p:cTn id="20" fill="hold">
                            <p:stCondLst>
                              <p:cond delay="0"/>
                            </p:stCondLst>
                            <p:childTnLst>
                              <p:par>
                                <p:cTn id="21" presetID="12" presetClass="entr" presetSubtype="4" fill="hold" grpId="0" nodeType="clickEffect">
                                  <p:stCondLst>
                                    <p:cond delay="0"/>
                                  </p:stCondLst>
                                  <p:childTnLst>
                                    <p:set>
                                      <p:cBhvr>
                                        <p:cTn id="22" dur="1" fill="hold">
                                          <p:stCondLst>
                                            <p:cond delay="0"/>
                                          </p:stCondLst>
                                        </p:cTn>
                                        <p:tgtEl>
                                          <p:spTgt spid="6"/>
                                        </p:tgtEl>
                                        <p:attrNameLst>
                                          <p:attrName>style.visibility</p:attrName>
                                        </p:attrNameLst>
                                      </p:cBhvr>
                                      <p:to>
                                        <p:strVal val="visible"/>
                                      </p:to>
                                    </p:set>
                                    <p:animEffect transition="in" filter="slide(fromBottom)">
                                      <p:cBhvr>
                                        <p:cTn id="23"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animBg="1"/>
      <p:bldP spid="6"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4546" name="标题 1"/>
          <p:cNvSpPr>
            <a:spLocks noGrp="1"/>
          </p:cNvSpPr>
          <p:nvPr>
            <p:ph type="title"/>
          </p:nvPr>
        </p:nvSpPr>
        <p:spPr/>
        <p:txBody>
          <a:bodyPr/>
          <a:lstStyle/>
          <a:p>
            <a:pPr eaLnBrk="1" hangingPunct="1"/>
            <a:endParaRPr lang="zh-CN" altLang="en-US" smtClean="0"/>
          </a:p>
        </p:txBody>
      </p:sp>
      <p:sp>
        <p:nvSpPr>
          <p:cNvPr id="364547" name="内容占位符 2"/>
          <p:cNvSpPr>
            <a:spLocks noGrp="1"/>
          </p:cNvSpPr>
          <p:nvPr>
            <p:ph idx="1"/>
          </p:nvPr>
        </p:nvSpPr>
        <p:spPr/>
        <p:txBody>
          <a:bodyPr/>
          <a:lstStyle/>
          <a:p>
            <a:pPr eaLnBrk="1" hangingPunct="1"/>
            <a:endParaRPr lang="zh-CN" altLang="en-US" smtClean="0"/>
          </a:p>
        </p:txBody>
      </p:sp>
      <p:pic>
        <p:nvPicPr>
          <p:cNvPr id="364548" name="Picture 2" descr="http://1873.img.pp.sohu.com.cn/images/blog/2011/6/5/23/13/u118014059_1311b499d28g214.jpg"/>
          <p:cNvPicPr>
            <a:picLocks noChangeAspect="1" noChangeArrowheads="1"/>
          </p:cNvPicPr>
          <p:nvPr/>
        </p:nvPicPr>
        <p:blipFill>
          <a:blip r:embed="rId2" cstate="print"/>
          <a:srcRect/>
          <a:stretch>
            <a:fillRect/>
          </a:stretch>
        </p:blipFill>
        <p:spPr bwMode="auto">
          <a:xfrm>
            <a:off x="0" y="-228600"/>
            <a:ext cx="9217025" cy="7488238"/>
          </a:xfrm>
          <a:prstGeom prst="rect">
            <a:avLst/>
          </a:prstGeom>
          <a:noFill/>
          <a:ln w="9525">
            <a:noFill/>
            <a:miter lim="800000"/>
            <a:headEnd/>
            <a:tailEnd/>
          </a:ln>
        </p:spPr>
      </p:pic>
      <p:sp>
        <p:nvSpPr>
          <p:cNvPr id="7" name="Rectangle 3"/>
          <p:cNvSpPr txBox="1">
            <a:spLocks noChangeArrowheads="1"/>
          </p:cNvSpPr>
          <p:nvPr/>
        </p:nvSpPr>
        <p:spPr bwMode="auto">
          <a:xfrm>
            <a:off x="914400" y="1627188"/>
            <a:ext cx="4038600" cy="4530725"/>
          </a:xfrm>
          <a:prstGeom prst="rect">
            <a:avLst/>
          </a:prstGeom>
          <a:noFill/>
          <a:ln w="9525">
            <a:noFill/>
            <a:miter lim="800000"/>
            <a:headEnd/>
            <a:tailEnd/>
          </a:ln>
          <a:effectLst/>
        </p:spPr>
        <p:txBody>
          <a:bodyPr lIns="91389" tIns="45694" rIns="91389" bIns="45694"/>
          <a:lstStyle/>
          <a:p>
            <a:pPr marL="342708" indent="-342708" fontAlgn="base">
              <a:spcBef>
                <a:spcPct val="20000"/>
              </a:spcBef>
              <a:spcAft>
                <a:spcPct val="0"/>
              </a:spcAft>
              <a:buClr>
                <a:srgbClr val="0000FF"/>
              </a:buClr>
              <a:buSzPct val="60000"/>
              <a:defRPr/>
            </a:pPr>
            <a:endParaRPr lang="en-US" altLang="zh-CN" sz="3600" kern="0" dirty="0">
              <a:solidFill>
                <a:srgbClr val="000066"/>
              </a:solidFill>
              <a:effectLst>
                <a:outerShdw blurRad="38100" dist="38100" dir="2700000" algn="tl">
                  <a:srgbClr val="000000">
                    <a:alpha val="43137"/>
                  </a:srgbClr>
                </a:outerShdw>
              </a:effectLst>
              <a:ea typeface="华文新魏" pitchFamily="2" charset="-122"/>
            </a:endParaRPr>
          </a:p>
          <a:p>
            <a:pPr marL="342708" indent="-342708" fontAlgn="base">
              <a:spcBef>
                <a:spcPct val="20000"/>
              </a:spcBef>
              <a:spcAft>
                <a:spcPct val="0"/>
              </a:spcAft>
              <a:buClr>
                <a:srgbClr val="0000FF"/>
              </a:buClr>
              <a:buSzPct val="60000"/>
              <a:defRPr/>
            </a:pPr>
            <a:r>
              <a:rPr lang="en-US" altLang="zh-CN" sz="3600" kern="0" dirty="0">
                <a:solidFill>
                  <a:srgbClr val="000066"/>
                </a:solidFill>
                <a:effectLst>
                  <a:outerShdw blurRad="38100" dist="38100" dir="2700000" algn="tl">
                    <a:srgbClr val="000000">
                      <a:alpha val="43137"/>
                    </a:srgbClr>
                  </a:outerShdw>
                </a:effectLst>
                <a:ea typeface="华文新魏" pitchFamily="2" charset="-122"/>
              </a:rPr>
              <a:t> </a:t>
            </a:r>
          </a:p>
          <a:p>
            <a:pPr marL="342708" indent="-342708" fontAlgn="base">
              <a:spcBef>
                <a:spcPct val="20000"/>
              </a:spcBef>
              <a:spcAft>
                <a:spcPct val="0"/>
              </a:spcAft>
              <a:buClr>
                <a:srgbClr val="0000FF"/>
              </a:buClr>
              <a:buSzPct val="60000"/>
              <a:defRPr/>
            </a:pPr>
            <a:r>
              <a:rPr lang="en-US" altLang="zh-CN" sz="3600" kern="0" dirty="0">
                <a:solidFill>
                  <a:srgbClr val="000066"/>
                </a:solidFill>
                <a:effectLst>
                  <a:outerShdw blurRad="38100" dist="38100" dir="2700000" algn="tl">
                    <a:srgbClr val="000000">
                      <a:alpha val="43137"/>
                    </a:srgbClr>
                  </a:outerShdw>
                </a:effectLst>
                <a:ea typeface="华文新魏" pitchFamily="2" charset="-122"/>
              </a:rPr>
              <a:t> </a:t>
            </a:r>
          </a:p>
        </p:txBody>
      </p:sp>
      <p:sp>
        <p:nvSpPr>
          <p:cNvPr id="118790" name="TextBox 8"/>
          <p:cNvSpPr txBox="1">
            <a:spLocks noChangeArrowheads="1"/>
          </p:cNvSpPr>
          <p:nvPr/>
        </p:nvSpPr>
        <p:spPr bwMode="auto">
          <a:xfrm>
            <a:off x="1905000" y="1371600"/>
            <a:ext cx="4876800" cy="646113"/>
          </a:xfrm>
          <a:prstGeom prst="rect">
            <a:avLst/>
          </a:prstGeom>
          <a:noFill/>
          <a:ln w="9525">
            <a:noFill/>
            <a:miter lim="800000"/>
            <a:headEnd/>
            <a:tailEnd/>
          </a:ln>
        </p:spPr>
        <p:txBody>
          <a:bodyPr lIns="91389" tIns="45694" rIns="91389" bIns="45694">
            <a:spAutoFit/>
          </a:bodyPr>
          <a:lstStyle/>
          <a:p>
            <a:pPr fontAlgn="base">
              <a:spcBef>
                <a:spcPct val="0"/>
              </a:spcBef>
              <a:spcAft>
                <a:spcPct val="0"/>
              </a:spcAft>
              <a:defRPr/>
            </a:pPr>
            <a:r>
              <a:rPr lang="zh-CN" altLang="en-US" sz="3600" b="1" dirty="0">
                <a:solidFill>
                  <a:srgbClr val="FF0000"/>
                </a:solidFill>
                <a:effectLst>
                  <a:outerShdw blurRad="38100" dist="38100" dir="2700000" algn="tl">
                    <a:srgbClr val="000000">
                      <a:alpha val="43137"/>
                    </a:srgbClr>
                  </a:outerShdw>
                </a:effectLst>
                <a:latin typeface="黑体" pitchFamily="49" charset="-122"/>
                <a:ea typeface="黑体" pitchFamily="49" charset="-122"/>
              </a:rPr>
              <a:t>宽容别人就是善待自己 </a:t>
            </a:r>
          </a:p>
        </p:txBody>
      </p:sp>
      <p:pic>
        <p:nvPicPr>
          <p:cNvPr id="10" name="Picture 7" descr="C:\Users\lenovo\AppData\Roaming\Tencent\Users\173314811\QQ\WinTemp\RichOle\8E~5X1H%%JA2I}07PIBM}08.png"/>
          <p:cNvPicPr>
            <a:picLocks noChangeAspect="1" noChangeArrowheads="1"/>
          </p:cNvPicPr>
          <p:nvPr/>
        </p:nvPicPr>
        <p:blipFill>
          <a:blip r:embed="rId3" cstate="print"/>
          <a:srcRect/>
          <a:stretch>
            <a:fillRect/>
          </a:stretch>
        </p:blipFill>
        <p:spPr bwMode="auto">
          <a:xfrm>
            <a:off x="2057403" y="2057400"/>
            <a:ext cx="4495800" cy="281940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364552" name="Picture 29" descr="运动边框"/>
          <p:cNvPicPr>
            <a:picLocks noChangeAspect="1" noChangeArrowheads="1" noCrop="1"/>
          </p:cNvPicPr>
          <p:nvPr/>
        </p:nvPicPr>
        <p:blipFill>
          <a:blip r:embed="rId4" cstate="print"/>
          <a:srcRect/>
          <a:stretch>
            <a:fillRect/>
          </a:stretch>
        </p:blipFill>
        <p:spPr bwMode="auto">
          <a:xfrm>
            <a:off x="5638800" y="6486525"/>
            <a:ext cx="3505200" cy="371475"/>
          </a:xfrm>
          <a:prstGeom prst="rect">
            <a:avLst/>
          </a:prstGeom>
          <a:noFill/>
          <a:ln w="9525">
            <a:noFill/>
            <a:miter lim="800000"/>
            <a:headEnd/>
            <a:tailEnd/>
          </a:ln>
        </p:spPr>
      </p:pic>
      <p:sp>
        <p:nvSpPr>
          <p:cNvPr id="118793" name="TextBox 6"/>
          <p:cNvSpPr txBox="1">
            <a:spLocks noChangeArrowheads="1"/>
          </p:cNvSpPr>
          <p:nvPr/>
        </p:nvSpPr>
        <p:spPr bwMode="auto">
          <a:xfrm>
            <a:off x="5791200" y="6488113"/>
            <a:ext cx="3308350" cy="646278"/>
          </a:xfrm>
          <a:prstGeom prst="rect">
            <a:avLst/>
          </a:prstGeom>
          <a:noFill/>
          <a:ln w="9525">
            <a:noFill/>
            <a:miter lim="800000"/>
            <a:headEnd/>
            <a:tailEnd/>
          </a:ln>
        </p:spPr>
        <p:txBody>
          <a:bodyPr lIns="91389" tIns="45694" rIns="91389" bIns="45694">
            <a:spAutoFit/>
          </a:bodyPr>
          <a:lstStyle/>
          <a:p>
            <a:pPr fontAlgn="base">
              <a:spcBef>
                <a:spcPct val="0"/>
              </a:spcBef>
              <a:spcAft>
                <a:spcPct val="0"/>
              </a:spcAft>
              <a:defRPr/>
            </a:pPr>
            <a:r>
              <a:rPr lang="zh-CN" altLang="en-US" b="1" dirty="0">
                <a:solidFill>
                  <a:prstClr val="white"/>
                </a:solidFill>
                <a:effectLst>
                  <a:outerShdw blurRad="38100" dist="38100" dir="2700000" algn="tl">
                    <a:srgbClr val="000000">
                      <a:alpha val="43137"/>
                    </a:srgbClr>
                  </a:outerShdw>
                </a:effectLst>
                <a:latin typeface="黑体" pitchFamily="49" charset="-122"/>
              </a:rPr>
              <a:t>第三节        科学对待人生环境</a:t>
            </a:r>
          </a:p>
        </p:txBody>
      </p:sp>
      <p:pic>
        <p:nvPicPr>
          <p:cNvPr id="364554" name="Picture 11"/>
          <p:cNvPicPr>
            <a:picLocks noChangeAspect="1" noChangeArrowheads="1"/>
          </p:cNvPicPr>
          <p:nvPr/>
        </p:nvPicPr>
        <p:blipFill>
          <a:blip r:embed="rId5" cstate="print"/>
          <a:srcRect/>
          <a:stretch>
            <a:fillRect/>
          </a:stretch>
        </p:blipFill>
        <p:spPr bwMode="auto">
          <a:xfrm>
            <a:off x="7620000" y="1752600"/>
            <a:ext cx="1181100" cy="1511300"/>
          </a:xfrm>
          <a:prstGeom prst="rect">
            <a:avLst/>
          </a:prstGeom>
          <a:noFill/>
          <a:ln w="9525">
            <a:noFill/>
            <a:miter lim="800000"/>
            <a:headEnd/>
            <a:tailEnd/>
          </a:ln>
        </p:spPr>
      </p:pic>
      <p:sp>
        <p:nvSpPr>
          <p:cNvPr id="118795" name="TextBox 11"/>
          <p:cNvSpPr txBox="1">
            <a:spLocks noChangeArrowheads="1"/>
          </p:cNvSpPr>
          <p:nvPr/>
        </p:nvSpPr>
        <p:spPr bwMode="auto">
          <a:xfrm>
            <a:off x="228426" y="1676400"/>
            <a:ext cx="1046337" cy="3810000"/>
          </a:xfrm>
          <a:prstGeom prst="rect">
            <a:avLst/>
          </a:prstGeom>
          <a:noFill/>
          <a:ln w="9525">
            <a:noFill/>
            <a:miter lim="800000"/>
            <a:headEnd/>
            <a:tailEnd/>
          </a:ln>
        </p:spPr>
        <p:txBody>
          <a:bodyPr vert="eaVert" lIns="91389" tIns="45694" rIns="91389" bIns="45694">
            <a:spAutoFit/>
          </a:bodyPr>
          <a:lstStyle/>
          <a:p>
            <a:pPr fontAlgn="base">
              <a:spcBef>
                <a:spcPct val="0"/>
              </a:spcBef>
              <a:spcAft>
                <a:spcPct val="0"/>
              </a:spcAft>
              <a:defRPr/>
            </a:pPr>
            <a:r>
              <a:rPr lang="zh-CN" altLang="en-US" sz="2800" b="1" dirty="0">
                <a:solidFill>
                  <a:prstClr val="black"/>
                </a:solidFill>
                <a:effectLst>
                  <a:outerShdw blurRad="38100" dist="38100" dir="2700000" algn="tl">
                    <a:srgbClr val="000000">
                      <a:alpha val="43137"/>
                    </a:srgbClr>
                  </a:outerShdw>
                </a:effectLst>
                <a:latin typeface="黑体" pitchFamily="49" charset="-122"/>
                <a:ea typeface="黑体" pitchFamily="49" charset="-122"/>
              </a:rPr>
              <a:t>对人不能要求尽善尽美</a:t>
            </a:r>
            <a:endParaRPr lang="en-US" altLang="zh-CN" sz="2800" b="1" dirty="0">
              <a:solidFill>
                <a:prstClr val="black"/>
              </a:solidFill>
              <a:effectLst>
                <a:outerShdw blurRad="38100" dist="38100" dir="2700000" algn="tl">
                  <a:srgbClr val="000000">
                    <a:alpha val="43137"/>
                  </a:srgbClr>
                </a:outerShdw>
              </a:effectLst>
              <a:latin typeface="黑体" pitchFamily="49" charset="-122"/>
              <a:ea typeface="黑体" pitchFamily="49" charset="-122"/>
            </a:endParaRPr>
          </a:p>
          <a:p>
            <a:pPr fontAlgn="base">
              <a:spcBef>
                <a:spcPct val="0"/>
              </a:spcBef>
              <a:spcAft>
                <a:spcPct val="0"/>
              </a:spcAft>
              <a:defRPr/>
            </a:pPr>
            <a:r>
              <a:rPr lang="zh-CN" altLang="en-US" sz="2800" b="1" dirty="0">
                <a:solidFill>
                  <a:prstClr val="black"/>
                </a:solidFill>
                <a:effectLst>
                  <a:outerShdw blurRad="38100" dist="38100" dir="2700000" algn="tl">
                    <a:srgbClr val="000000">
                      <a:alpha val="43137"/>
                    </a:srgbClr>
                  </a:outerShdw>
                </a:effectLst>
                <a:latin typeface="黑体" pitchFamily="49" charset="-122"/>
                <a:ea typeface="黑体" pitchFamily="49" charset="-122"/>
              </a:rPr>
              <a:t>对己不要以为完美无缺</a:t>
            </a:r>
          </a:p>
        </p:txBody>
      </p:sp>
    </p:spTree>
  </p:cSld>
  <p:clrMapOvr>
    <a:masterClrMapping/>
  </p:clrMapOvr>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42370" name="Picture 2"/>
          <p:cNvPicPr>
            <a:picLocks noChangeAspect="1" noChangeArrowheads="1"/>
          </p:cNvPicPr>
          <p:nvPr/>
        </p:nvPicPr>
        <p:blipFill>
          <a:blip r:embed="rId3" cstate="print"/>
          <a:srcRect/>
          <a:stretch>
            <a:fillRect/>
          </a:stretch>
        </p:blipFill>
        <p:spPr bwMode="auto">
          <a:xfrm>
            <a:off x="3276600" y="260350"/>
            <a:ext cx="5329238" cy="4033838"/>
          </a:xfrm>
          <a:prstGeom prst="rect">
            <a:avLst/>
          </a:prstGeom>
          <a:noFill/>
          <a:ln w="9525">
            <a:noFill/>
            <a:miter lim="800000"/>
            <a:headEnd/>
            <a:tailEnd/>
          </a:ln>
        </p:spPr>
      </p:pic>
      <p:graphicFrame>
        <p:nvGraphicFramePr>
          <p:cNvPr id="6146" name="Object 3"/>
          <p:cNvGraphicFramePr>
            <a:graphicFrameLocks/>
          </p:cNvGraphicFramePr>
          <p:nvPr/>
        </p:nvGraphicFramePr>
        <p:xfrm>
          <a:off x="684213" y="476250"/>
          <a:ext cx="2376487" cy="3240088"/>
        </p:xfrm>
        <a:graphic>
          <a:graphicData uri="http://schemas.openxmlformats.org/presentationml/2006/ole">
            <p:oleObj spid="_x0000_s6146" r:id="rId4" imgW="3210077" imgH="3981917" progId="PBrush">
              <p:embed/>
            </p:oleObj>
          </a:graphicData>
        </a:graphic>
      </p:graphicFrame>
      <p:sp>
        <p:nvSpPr>
          <p:cNvPr id="3076" name="Text Box 4"/>
          <p:cNvSpPr txBox="1">
            <a:spLocks noChangeArrowheads="1"/>
          </p:cNvSpPr>
          <p:nvPr/>
        </p:nvSpPr>
        <p:spPr bwMode="auto">
          <a:xfrm>
            <a:off x="755650" y="5373688"/>
            <a:ext cx="1346200" cy="369887"/>
          </a:xfrm>
          <a:prstGeom prst="rect">
            <a:avLst/>
          </a:prstGeom>
          <a:noFill/>
          <a:ln w="9525">
            <a:noFill/>
            <a:miter lim="800000"/>
            <a:headEnd/>
            <a:tailEnd/>
          </a:ln>
        </p:spPr>
        <p:txBody>
          <a:bodyPr wrap="none" lIns="91389" tIns="45694" rIns="91389" bIns="45694">
            <a:spAutoFit/>
          </a:bodyPr>
          <a:lstStyle/>
          <a:p>
            <a:pPr eaLnBrk="0" fontAlgn="base" hangingPunct="0">
              <a:spcBef>
                <a:spcPct val="0"/>
              </a:spcBef>
              <a:spcAft>
                <a:spcPct val="0"/>
              </a:spcAft>
              <a:buFont typeface="Arial" pitchFamily="34" charset="0"/>
              <a:buNone/>
              <a:defRPr/>
            </a:pPr>
            <a:r>
              <a:rPr lang="zh-CN" altLang="en-US" b="1">
                <a:solidFill>
                  <a:srgbClr val="FFFFFF"/>
                </a:solidFill>
                <a:effectLst>
                  <a:outerShdw blurRad="38100" dist="38100" dir="2700000" algn="tl">
                    <a:srgbClr val="000000">
                      <a:alpha val="43137"/>
                    </a:srgbClr>
                  </a:outerShdw>
                </a:effectLst>
                <a:latin typeface="Tahoma" pitchFamily="34" charset="0"/>
              </a:rPr>
              <a:t>大学士张英</a:t>
            </a:r>
          </a:p>
        </p:txBody>
      </p:sp>
      <p:pic>
        <p:nvPicPr>
          <p:cNvPr id="6149" name="Picture 8" descr="5b741809e7b479b22fddd458"/>
          <p:cNvPicPr>
            <a:picLocks noChangeAspect="1" noChangeArrowheads="1"/>
          </p:cNvPicPr>
          <p:nvPr/>
        </p:nvPicPr>
        <p:blipFill>
          <a:blip r:embed="rId5" cstate="print"/>
          <a:srcRect/>
          <a:stretch>
            <a:fillRect/>
          </a:stretch>
        </p:blipFill>
        <p:spPr bwMode="auto">
          <a:xfrm>
            <a:off x="152400" y="3886200"/>
            <a:ext cx="4032250" cy="2447925"/>
          </a:xfrm>
          <a:prstGeom prst="rect">
            <a:avLst/>
          </a:prstGeom>
          <a:noFill/>
          <a:ln w="9525">
            <a:noFill/>
            <a:miter lim="800000"/>
            <a:headEnd/>
            <a:tailEnd/>
          </a:ln>
        </p:spPr>
      </p:pic>
      <p:sp>
        <p:nvSpPr>
          <p:cNvPr id="3078" name="矩形 7"/>
          <p:cNvSpPr>
            <a:spLocks noChangeArrowheads="1"/>
          </p:cNvSpPr>
          <p:nvPr/>
        </p:nvSpPr>
        <p:spPr bwMode="auto">
          <a:xfrm>
            <a:off x="4343400" y="4419600"/>
            <a:ext cx="3276600" cy="1754188"/>
          </a:xfrm>
          <a:prstGeom prst="rect">
            <a:avLst/>
          </a:prstGeom>
          <a:noFill/>
          <a:ln w="9525">
            <a:solidFill>
              <a:srgbClr val="FF0000"/>
            </a:solidFill>
            <a:miter lim="800000"/>
            <a:headEnd/>
            <a:tailEnd/>
          </a:ln>
        </p:spPr>
        <p:txBody>
          <a:bodyPr lIns="91389" tIns="45694" rIns="91389" bIns="45694">
            <a:spAutoFit/>
          </a:bodyPr>
          <a:lstStyle/>
          <a:p>
            <a:pPr algn="ctr" fontAlgn="base">
              <a:spcBef>
                <a:spcPct val="0"/>
              </a:spcBef>
              <a:spcAft>
                <a:spcPct val="0"/>
              </a:spcAft>
              <a:defRPr/>
            </a:pPr>
            <a:r>
              <a:rPr lang="zh-CN" altLang="en-US" sz="5400" b="1" dirty="0">
                <a:solidFill>
                  <a:srgbClr val="002060"/>
                </a:solidFill>
                <a:effectLst>
                  <a:outerShdw blurRad="38100" dist="38100" dir="2700000" algn="tl">
                    <a:srgbClr val="000000">
                      <a:alpha val="43137"/>
                    </a:srgbClr>
                  </a:outerShdw>
                </a:effectLst>
                <a:latin typeface="黑体" pitchFamily="49" charset="-122"/>
              </a:rPr>
              <a:t>安徽桐城</a:t>
            </a:r>
            <a:endParaRPr lang="en-US" altLang="zh-CN" sz="5400" b="1" dirty="0">
              <a:solidFill>
                <a:srgbClr val="002060"/>
              </a:solidFill>
              <a:effectLst>
                <a:outerShdw blurRad="38100" dist="38100" dir="2700000" algn="tl">
                  <a:srgbClr val="000000">
                    <a:alpha val="43137"/>
                  </a:srgbClr>
                </a:outerShdw>
              </a:effectLst>
              <a:latin typeface="黑体" pitchFamily="49" charset="-122"/>
            </a:endParaRPr>
          </a:p>
          <a:p>
            <a:pPr algn="ctr" fontAlgn="base">
              <a:spcBef>
                <a:spcPct val="0"/>
              </a:spcBef>
              <a:spcAft>
                <a:spcPct val="0"/>
              </a:spcAft>
              <a:defRPr/>
            </a:pPr>
            <a:r>
              <a:rPr lang="zh-CN" altLang="en-US" sz="5400" b="1" dirty="0">
                <a:solidFill>
                  <a:srgbClr val="002060"/>
                </a:solidFill>
                <a:effectLst>
                  <a:outerShdw blurRad="38100" dist="38100" dir="2700000" algn="tl">
                    <a:srgbClr val="000000">
                      <a:alpha val="43137"/>
                    </a:srgbClr>
                  </a:outerShdw>
                </a:effectLst>
                <a:latin typeface="黑体" pitchFamily="49" charset="-122"/>
              </a:rPr>
              <a:t>六尺巷</a:t>
            </a:r>
          </a:p>
        </p:txBody>
      </p:sp>
      <p:pic>
        <p:nvPicPr>
          <p:cNvPr id="6151" name="Picture 29" descr="运动边框"/>
          <p:cNvPicPr>
            <a:picLocks noChangeAspect="1" noChangeArrowheads="1" noCrop="1"/>
          </p:cNvPicPr>
          <p:nvPr/>
        </p:nvPicPr>
        <p:blipFill>
          <a:blip r:embed="rId6" cstate="print"/>
          <a:srcRect/>
          <a:stretch>
            <a:fillRect/>
          </a:stretch>
        </p:blipFill>
        <p:spPr bwMode="auto">
          <a:xfrm>
            <a:off x="5791200" y="6486525"/>
            <a:ext cx="3352800" cy="371475"/>
          </a:xfrm>
          <a:prstGeom prst="rect">
            <a:avLst/>
          </a:prstGeom>
          <a:noFill/>
          <a:ln w="9525">
            <a:noFill/>
            <a:miter lim="800000"/>
            <a:headEnd/>
            <a:tailEnd/>
          </a:ln>
        </p:spPr>
      </p:pic>
      <p:sp>
        <p:nvSpPr>
          <p:cNvPr id="3080" name="TextBox 6"/>
          <p:cNvSpPr txBox="1">
            <a:spLocks noChangeArrowheads="1"/>
          </p:cNvSpPr>
          <p:nvPr/>
        </p:nvSpPr>
        <p:spPr bwMode="auto">
          <a:xfrm>
            <a:off x="5867400" y="6488113"/>
            <a:ext cx="3232150" cy="646278"/>
          </a:xfrm>
          <a:prstGeom prst="rect">
            <a:avLst/>
          </a:prstGeom>
          <a:noFill/>
          <a:ln w="9525">
            <a:noFill/>
            <a:miter lim="800000"/>
            <a:headEnd/>
            <a:tailEnd/>
          </a:ln>
        </p:spPr>
        <p:txBody>
          <a:bodyPr lIns="91389" tIns="45694" rIns="91389" bIns="45694">
            <a:spAutoFit/>
          </a:bodyPr>
          <a:lstStyle/>
          <a:p>
            <a:pPr fontAlgn="base">
              <a:spcBef>
                <a:spcPct val="0"/>
              </a:spcBef>
              <a:spcAft>
                <a:spcPct val="0"/>
              </a:spcAft>
              <a:defRPr/>
            </a:pPr>
            <a:r>
              <a:rPr lang="zh-CN" altLang="en-US" b="1" dirty="0">
                <a:solidFill>
                  <a:srgbClr val="B3D1DF"/>
                </a:solidFill>
                <a:effectLst>
                  <a:outerShdw blurRad="38100" dist="38100" dir="2700000" algn="tl">
                    <a:srgbClr val="000000">
                      <a:alpha val="43137"/>
                    </a:srgbClr>
                  </a:outerShdw>
                </a:effectLst>
                <a:latin typeface="黑体" pitchFamily="49" charset="-122"/>
              </a:rPr>
              <a:t>第三节       科学对待人生环境</a:t>
            </a:r>
          </a:p>
        </p:txBody>
      </p:sp>
    </p:spTree>
  </p:cSld>
  <p:clrMapOvr>
    <a:masterClrMapping/>
  </p:clrMapOvr>
  <p:transition spd="slow">
    <p:plus/>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 presetClass="entr" presetSubtype="5" fill="hold" nodeType="afterEffect">
                                  <p:stCondLst>
                                    <p:cond delay="0"/>
                                  </p:stCondLst>
                                  <p:childTnLst>
                                    <p:set>
                                      <p:cBhvr>
                                        <p:cTn id="6" dur="1" fill="hold">
                                          <p:stCondLst>
                                            <p:cond delay="0"/>
                                          </p:stCondLst>
                                        </p:cTn>
                                        <p:tgtEl>
                                          <p:spTgt spid="442370"/>
                                        </p:tgtEl>
                                        <p:attrNameLst>
                                          <p:attrName>style.visibility</p:attrName>
                                        </p:attrNameLst>
                                      </p:cBhvr>
                                      <p:to>
                                        <p:strVal val="visible"/>
                                      </p:to>
                                    </p:set>
                                    <p:animEffect transition="in" filter="blinds(vertical)">
                                      <p:cBhvr>
                                        <p:cTn id="7" dur="500"/>
                                        <p:tgtEl>
                                          <p:spTgt spid="44237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矩形 2"/>
          <p:cNvSpPr/>
          <p:nvPr/>
        </p:nvSpPr>
        <p:spPr>
          <a:xfrm>
            <a:off x="0" y="0"/>
            <a:ext cx="9144000" cy="6858000"/>
          </a:xfrm>
          <a:prstGeom prst="rect">
            <a:avLst/>
          </a:prstGeom>
          <a:solidFill>
            <a:schemeClr val="bg1">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389" tIns="45694" rIns="91389" bIns="45694" anchor="ctr"/>
          <a:lstStyle/>
          <a:p>
            <a:pPr algn="ctr" fontAlgn="base">
              <a:spcBef>
                <a:spcPct val="0"/>
              </a:spcBef>
              <a:spcAft>
                <a:spcPct val="0"/>
              </a:spcAft>
              <a:defRPr/>
            </a:pPr>
            <a:r>
              <a:rPr lang="en-US" altLang="zh-CN" dirty="0">
                <a:solidFill>
                  <a:prstClr val="black"/>
                </a:solidFill>
                <a:effectLst>
                  <a:outerShdw blurRad="38100" dist="38100" dir="2700000" algn="tl">
                    <a:srgbClr val="000000">
                      <a:alpha val="43137"/>
                    </a:srgbClr>
                  </a:outerShdw>
                </a:effectLst>
              </a:rPr>
              <a:t>.</a:t>
            </a:r>
            <a:endParaRPr lang="zh-CN" altLang="en-US" dirty="0">
              <a:solidFill>
                <a:prstClr val="black"/>
              </a:solidFill>
              <a:effectLst>
                <a:outerShdw blurRad="38100" dist="38100" dir="2700000" algn="tl">
                  <a:srgbClr val="000000">
                    <a:alpha val="43137"/>
                  </a:srgbClr>
                </a:outerShdw>
              </a:effectLst>
            </a:endParaRPr>
          </a:p>
        </p:txBody>
      </p:sp>
      <p:pic>
        <p:nvPicPr>
          <p:cNvPr id="4" name="Picture 3" descr="C:\Users\Administrator\Desktop\工业4.0ppt制作\apic2925.jpg"/>
          <p:cNvPicPr>
            <a:picLocks noChangeAspect="1" noChangeArrowheads="1"/>
          </p:cNvPicPr>
          <p:nvPr/>
        </p:nvPicPr>
        <p:blipFill>
          <a:blip r:embed="rId2" cstate="print">
            <a:duotone>
              <a:schemeClr val="accent1">
                <a:shade val="45000"/>
                <a:satMod val="135000"/>
              </a:schemeClr>
              <a:prstClr val="white"/>
            </a:duotone>
          </a:blip>
          <a:srcRect b="86755"/>
          <a:stretch>
            <a:fillRect/>
          </a:stretch>
        </p:blipFill>
        <p:spPr bwMode="auto">
          <a:xfrm>
            <a:off x="0" y="-6230"/>
            <a:ext cx="9144000" cy="891609"/>
          </a:xfrm>
          <a:prstGeom prst="rect">
            <a:avLst/>
          </a:prstGeom>
          <a:noFill/>
        </p:spPr>
      </p:pic>
      <p:grpSp>
        <p:nvGrpSpPr>
          <p:cNvPr id="2" name="组合 5"/>
          <p:cNvGrpSpPr>
            <a:grpSpLocks/>
          </p:cNvGrpSpPr>
          <p:nvPr/>
        </p:nvGrpSpPr>
        <p:grpSpPr bwMode="auto">
          <a:xfrm>
            <a:off x="825500" y="14288"/>
            <a:ext cx="6910388" cy="844550"/>
            <a:chOff x="4200983" y="1819112"/>
            <a:chExt cx="4235526" cy="966699"/>
          </a:xfrm>
        </p:grpSpPr>
        <p:sp>
          <p:nvSpPr>
            <p:cNvPr id="7" name="圆角矩形 6"/>
            <p:cNvSpPr/>
            <p:nvPr/>
          </p:nvSpPr>
          <p:spPr>
            <a:xfrm>
              <a:off x="4218301" y="1819112"/>
              <a:ext cx="4218208" cy="966699"/>
            </a:xfrm>
            <a:prstGeom prst="roundRect">
              <a:avLst/>
            </a:prstGeom>
            <a:gradFill flip="none" rotWithShape="1">
              <a:gsLst>
                <a:gs pos="94000">
                  <a:schemeClr val="accent6">
                    <a:lumMod val="75000"/>
                    <a:alpha val="22000"/>
                  </a:schemeClr>
                </a:gs>
                <a:gs pos="98000">
                  <a:schemeClr val="accent6">
                    <a:lumMod val="63000"/>
                    <a:lumOff val="37000"/>
                    <a:alpha val="86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r>
                <a:rPr lang="en-US" altLang="zh-CN" sz="2800" b="1" dirty="0">
                  <a:solidFill>
                    <a:prstClr val="black">
                      <a:lumMod val="85000"/>
                      <a:lumOff val="15000"/>
                    </a:prstClr>
                  </a:solidFill>
                  <a:effectLst>
                    <a:outerShdw blurRad="38100" dist="38100" dir="2700000" algn="tl">
                      <a:srgbClr val="000000">
                        <a:alpha val="43137"/>
                      </a:srgbClr>
                    </a:outerShdw>
                  </a:effectLst>
                  <a:latin typeface="黑体" pitchFamily="49" charset="-122"/>
                  <a:ea typeface="黑体" pitchFamily="49" charset="-122"/>
                </a:rPr>
                <a:t> </a:t>
              </a:r>
              <a:r>
                <a:rPr lang="en-US" altLang="zh-CN" sz="3600" b="1" dirty="0">
                  <a:solidFill>
                    <a:prstClr val="black">
                      <a:lumMod val="85000"/>
                      <a:lumOff val="15000"/>
                    </a:prstClr>
                  </a:solidFill>
                  <a:effectLst>
                    <a:outerShdw blurRad="38100" dist="38100" dir="2700000" algn="tl">
                      <a:srgbClr val="000000">
                        <a:alpha val="43137"/>
                      </a:srgbClr>
                    </a:outerShdw>
                  </a:effectLst>
                  <a:latin typeface="黑体" pitchFamily="49" charset="-122"/>
                  <a:ea typeface="黑体" pitchFamily="49" charset="-122"/>
                </a:rPr>
                <a:t>4</a:t>
              </a:r>
              <a:r>
                <a:rPr lang="zh-CN" altLang="en-US" sz="3600" b="1" dirty="0">
                  <a:solidFill>
                    <a:prstClr val="black">
                      <a:lumMod val="85000"/>
                      <a:lumOff val="15000"/>
                    </a:prstClr>
                  </a:solidFill>
                  <a:effectLst>
                    <a:outerShdw blurRad="38100" dist="38100" dir="2700000" algn="tl">
                      <a:srgbClr val="000000">
                        <a:alpha val="43137"/>
                      </a:srgbClr>
                    </a:outerShdw>
                  </a:effectLst>
                  <a:latin typeface="黑体" pitchFamily="49" charset="-122"/>
                  <a:ea typeface="黑体" pitchFamily="49" charset="-122"/>
                </a:rPr>
                <a:t>、互助原则</a:t>
              </a:r>
            </a:p>
          </p:txBody>
        </p:sp>
        <p:sp>
          <p:nvSpPr>
            <p:cNvPr id="8" name="矩形 7"/>
            <p:cNvSpPr/>
            <p:nvPr/>
          </p:nvSpPr>
          <p:spPr>
            <a:xfrm>
              <a:off x="4200983" y="2015359"/>
              <a:ext cx="75895" cy="577839"/>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zh-CN" altLang="en-US">
                <a:solidFill>
                  <a:prstClr val="white"/>
                </a:solidFill>
                <a:effectLst>
                  <a:outerShdw blurRad="38100" dist="38100" dir="2700000" algn="tl">
                    <a:srgbClr val="000000">
                      <a:alpha val="43137"/>
                    </a:srgbClr>
                  </a:outerShdw>
                </a:effectLst>
              </a:endParaRPr>
            </a:p>
          </p:txBody>
        </p:sp>
      </p:grpSp>
      <p:sp>
        <p:nvSpPr>
          <p:cNvPr id="11" name="Oval 2"/>
          <p:cNvSpPr>
            <a:spLocks noChangeArrowheads="1"/>
          </p:cNvSpPr>
          <p:nvPr/>
        </p:nvSpPr>
        <p:spPr bwMode="auto">
          <a:xfrm>
            <a:off x="3846513" y="1350963"/>
            <a:ext cx="1273175" cy="1273175"/>
          </a:xfrm>
          <a:prstGeom prst="ellipse">
            <a:avLst/>
          </a:prstGeom>
          <a:solidFill>
            <a:schemeClr val="accent1">
              <a:lumMod val="75000"/>
            </a:schemeClr>
          </a:solidFill>
          <a:ln w="6350">
            <a:noFill/>
            <a:round/>
            <a:headEnd/>
            <a:tailEnd/>
          </a:ln>
        </p:spPr>
        <p:txBody>
          <a:bodyPr wrap="none" lIns="0" tIns="0" rIns="0" bIns="0" anchor="ctr"/>
          <a:lstStyle/>
          <a:p>
            <a:pPr fontAlgn="base">
              <a:spcBef>
                <a:spcPct val="0"/>
              </a:spcBef>
              <a:spcAft>
                <a:spcPct val="0"/>
              </a:spcAft>
              <a:defRPr/>
            </a:pPr>
            <a:endParaRPr lang="zh-CN" altLang="en-US" dirty="0">
              <a:solidFill>
                <a:prstClr val="black"/>
              </a:solidFill>
              <a:effectLst>
                <a:outerShdw blurRad="38100" dist="38100" dir="2700000" algn="tl">
                  <a:srgbClr val="000000">
                    <a:alpha val="43137"/>
                  </a:srgbClr>
                </a:outerShdw>
              </a:effectLst>
              <a:latin typeface="黑体" pitchFamily="49" charset="-122"/>
            </a:endParaRPr>
          </a:p>
        </p:txBody>
      </p:sp>
      <p:sp>
        <p:nvSpPr>
          <p:cNvPr id="12" name="Freeform 4"/>
          <p:cNvSpPr>
            <a:spLocks/>
          </p:cNvSpPr>
          <p:nvPr/>
        </p:nvSpPr>
        <p:spPr bwMode="auto">
          <a:xfrm>
            <a:off x="4075113" y="1660525"/>
            <a:ext cx="930275" cy="536575"/>
          </a:xfrm>
          <a:custGeom>
            <a:avLst/>
            <a:gdLst>
              <a:gd name="T0" fmla="*/ 0 w 2474"/>
              <a:gd name="T1" fmla="*/ 270177 h 852"/>
              <a:gd name="T2" fmla="*/ 50011 w 2474"/>
              <a:gd name="T3" fmla="*/ 270177 h 852"/>
              <a:gd name="T4" fmla="*/ 50011 w 2474"/>
              <a:gd name="T5" fmla="*/ 168782 h 852"/>
              <a:gd name="T6" fmla="*/ 117694 w 2474"/>
              <a:gd name="T7" fmla="*/ 364644 h 852"/>
              <a:gd name="T8" fmla="*/ 117694 w 2474"/>
              <a:gd name="T9" fmla="*/ 71165 h 852"/>
              <a:gd name="T10" fmla="*/ 278255 w 2474"/>
              <a:gd name="T11" fmla="*/ 536575 h 852"/>
              <a:gd name="T12" fmla="*/ 278255 w 2474"/>
              <a:gd name="T13" fmla="*/ 168782 h 852"/>
              <a:gd name="T14" fmla="*/ 345939 w 2474"/>
              <a:gd name="T15" fmla="*/ 364644 h 852"/>
              <a:gd name="T16" fmla="*/ 345939 w 2474"/>
              <a:gd name="T17" fmla="*/ 0 h 852"/>
              <a:gd name="T18" fmla="*/ 529813 w 2474"/>
              <a:gd name="T19" fmla="*/ 533426 h 852"/>
              <a:gd name="T20" fmla="*/ 529813 w 2474"/>
              <a:gd name="T21" fmla="*/ 168782 h 852"/>
              <a:gd name="T22" fmla="*/ 597497 w 2474"/>
              <a:gd name="T23" fmla="*/ 364644 h 852"/>
              <a:gd name="T24" fmla="*/ 597497 w 2474"/>
              <a:gd name="T25" fmla="*/ 71165 h 852"/>
              <a:gd name="T26" fmla="*/ 756929 w 2474"/>
              <a:gd name="T27" fmla="*/ 533426 h 852"/>
              <a:gd name="T28" fmla="*/ 756929 w 2474"/>
              <a:gd name="T29" fmla="*/ 0 h 852"/>
              <a:gd name="T30" fmla="*/ 884024 w 2474"/>
              <a:gd name="T31" fmla="*/ 369053 h 852"/>
              <a:gd name="T32" fmla="*/ 884024 w 2474"/>
              <a:gd name="T33" fmla="*/ 270177 h 852"/>
              <a:gd name="T34" fmla="*/ 930275 w 2474"/>
              <a:gd name="T35" fmla="*/ 270177 h 85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474"/>
              <a:gd name="T55" fmla="*/ 0 h 852"/>
              <a:gd name="T56" fmla="*/ 2474 w 2474"/>
              <a:gd name="T57" fmla="*/ 852 h 852"/>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474" h="852">
                <a:moveTo>
                  <a:pt x="0" y="429"/>
                </a:moveTo>
                <a:lnTo>
                  <a:pt x="133" y="429"/>
                </a:lnTo>
                <a:lnTo>
                  <a:pt x="133" y="268"/>
                </a:lnTo>
                <a:lnTo>
                  <a:pt x="313" y="579"/>
                </a:lnTo>
                <a:lnTo>
                  <a:pt x="313" y="113"/>
                </a:lnTo>
                <a:lnTo>
                  <a:pt x="740" y="852"/>
                </a:lnTo>
                <a:lnTo>
                  <a:pt x="740" y="268"/>
                </a:lnTo>
                <a:lnTo>
                  <a:pt x="920" y="579"/>
                </a:lnTo>
                <a:lnTo>
                  <a:pt x="920" y="0"/>
                </a:lnTo>
                <a:lnTo>
                  <a:pt x="1409" y="847"/>
                </a:lnTo>
                <a:lnTo>
                  <a:pt x="1409" y="268"/>
                </a:lnTo>
                <a:lnTo>
                  <a:pt x="1589" y="579"/>
                </a:lnTo>
                <a:lnTo>
                  <a:pt x="1589" y="113"/>
                </a:lnTo>
                <a:lnTo>
                  <a:pt x="2013" y="847"/>
                </a:lnTo>
                <a:lnTo>
                  <a:pt x="2013" y="0"/>
                </a:lnTo>
                <a:lnTo>
                  <a:pt x="2351" y="586"/>
                </a:lnTo>
                <a:lnTo>
                  <a:pt x="2351" y="429"/>
                </a:lnTo>
                <a:lnTo>
                  <a:pt x="2474" y="429"/>
                </a:lnTo>
              </a:path>
            </a:pathLst>
          </a:custGeom>
          <a:solidFill>
            <a:schemeClr val="accent1">
              <a:lumMod val="75000"/>
            </a:schemeClr>
          </a:solidFill>
          <a:ln w="22225">
            <a:solidFill>
              <a:schemeClr val="bg1"/>
            </a:solidFill>
            <a:round/>
            <a:headEnd/>
            <a:tailEnd/>
          </a:ln>
        </p:spPr>
        <p:txBody>
          <a:bodyPr wrap="none" lIns="0" tIns="0" rIns="0" bIns="0" anchor="ctr"/>
          <a:lstStyle/>
          <a:p>
            <a:pPr fontAlgn="base">
              <a:spcBef>
                <a:spcPct val="0"/>
              </a:spcBef>
              <a:spcAft>
                <a:spcPct val="0"/>
              </a:spcAft>
              <a:defRPr/>
            </a:pPr>
            <a:endParaRPr lang="zh-CN" altLang="en-US" dirty="0">
              <a:solidFill>
                <a:prstClr val="black"/>
              </a:solidFill>
              <a:effectLst>
                <a:outerShdw blurRad="38100" dist="38100" dir="2700000" algn="tl">
                  <a:srgbClr val="000000">
                    <a:alpha val="43137"/>
                  </a:srgbClr>
                </a:outerShdw>
              </a:effectLst>
              <a:latin typeface="黑体" pitchFamily="49" charset="-122"/>
            </a:endParaRPr>
          </a:p>
        </p:txBody>
      </p:sp>
      <p:sp>
        <p:nvSpPr>
          <p:cNvPr id="13" name="矩形 12"/>
          <p:cNvSpPr>
            <a:spLocks noChangeArrowheads="1"/>
          </p:cNvSpPr>
          <p:nvPr/>
        </p:nvSpPr>
        <p:spPr bwMode="auto">
          <a:xfrm>
            <a:off x="2819400" y="5486400"/>
            <a:ext cx="2514600" cy="923925"/>
          </a:xfrm>
          <a:prstGeom prst="rect">
            <a:avLst/>
          </a:prstGeom>
          <a:noFill/>
          <a:ln w="9525">
            <a:noFill/>
            <a:miter lim="800000"/>
            <a:headEnd/>
            <a:tailEnd/>
          </a:ln>
        </p:spPr>
        <p:txBody>
          <a:bodyPr lIns="91389" tIns="45694" rIns="91389" bIns="45694">
            <a:spAutoFit/>
          </a:bodyPr>
          <a:lstStyle/>
          <a:p>
            <a:pPr fontAlgn="base">
              <a:spcBef>
                <a:spcPct val="0"/>
              </a:spcBef>
              <a:spcAft>
                <a:spcPct val="0"/>
              </a:spcAft>
              <a:defRPr/>
            </a:pPr>
            <a:r>
              <a:rPr lang="zh-CN" altLang="en-US" b="1" dirty="0">
                <a:solidFill>
                  <a:srgbClr val="002060"/>
                </a:solidFill>
                <a:effectLst>
                  <a:outerShdw blurRad="38100" dist="38100" dir="2700000" algn="tl">
                    <a:srgbClr val="000000">
                      <a:alpha val="43137"/>
                    </a:srgbClr>
                  </a:outerShdw>
                </a:effectLst>
                <a:latin typeface="黑体" pitchFamily="49" charset="-122"/>
                <a:ea typeface="黑体" pitchFamily="49" charset="-122"/>
              </a:rPr>
              <a:t>出入相友、守望相助，</a:t>
            </a:r>
            <a:endParaRPr lang="en-US" altLang="zh-CN" b="1" dirty="0">
              <a:solidFill>
                <a:srgbClr val="002060"/>
              </a:solidFill>
              <a:effectLst>
                <a:outerShdw blurRad="38100" dist="38100" dir="2700000" algn="tl">
                  <a:srgbClr val="000000">
                    <a:alpha val="43137"/>
                  </a:srgbClr>
                </a:outerShdw>
              </a:effectLst>
              <a:latin typeface="黑体" pitchFamily="49" charset="-122"/>
              <a:ea typeface="黑体" pitchFamily="49" charset="-122"/>
            </a:endParaRPr>
          </a:p>
          <a:p>
            <a:pPr fontAlgn="base">
              <a:spcBef>
                <a:spcPct val="0"/>
              </a:spcBef>
              <a:spcAft>
                <a:spcPct val="0"/>
              </a:spcAft>
              <a:defRPr/>
            </a:pPr>
            <a:r>
              <a:rPr lang="zh-CN" altLang="en-US" b="1" dirty="0">
                <a:solidFill>
                  <a:srgbClr val="002060"/>
                </a:solidFill>
                <a:effectLst>
                  <a:outerShdw blurRad="38100" dist="38100" dir="2700000" algn="tl">
                    <a:srgbClr val="000000">
                      <a:alpha val="43137"/>
                    </a:srgbClr>
                  </a:outerShdw>
                </a:effectLst>
                <a:latin typeface="黑体" pitchFamily="49" charset="-122"/>
                <a:ea typeface="黑体" pitchFamily="49" charset="-122"/>
              </a:rPr>
              <a:t>疾病相扶持，则百姓睦。</a:t>
            </a:r>
            <a:endParaRPr lang="en-US" altLang="zh-CN" b="1" dirty="0">
              <a:solidFill>
                <a:srgbClr val="002060"/>
              </a:solidFill>
              <a:effectLst>
                <a:outerShdw blurRad="38100" dist="38100" dir="2700000" algn="tl">
                  <a:srgbClr val="000000">
                    <a:alpha val="43137"/>
                  </a:srgbClr>
                </a:outerShdw>
              </a:effectLst>
              <a:latin typeface="黑体" pitchFamily="49" charset="-122"/>
              <a:ea typeface="黑体" pitchFamily="49" charset="-122"/>
            </a:endParaRPr>
          </a:p>
          <a:p>
            <a:pPr fontAlgn="base">
              <a:spcBef>
                <a:spcPct val="0"/>
              </a:spcBef>
              <a:spcAft>
                <a:spcPct val="0"/>
              </a:spcAft>
              <a:defRPr/>
            </a:pPr>
            <a:r>
              <a:rPr lang="zh-CN" altLang="en-US" b="1" dirty="0">
                <a:solidFill>
                  <a:prstClr val="black"/>
                </a:solidFill>
                <a:effectLst>
                  <a:outerShdw blurRad="38100" dist="38100" dir="2700000" algn="tl">
                    <a:srgbClr val="000000">
                      <a:alpha val="43137"/>
                    </a:srgbClr>
                  </a:outerShdw>
                </a:effectLst>
                <a:latin typeface="黑体" pitchFamily="49" charset="-122"/>
              </a:rPr>
              <a:t>（</a:t>
            </a:r>
            <a:r>
              <a:rPr lang="en-US" altLang="zh-CN" b="1" dirty="0">
                <a:solidFill>
                  <a:prstClr val="black"/>
                </a:solidFill>
                <a:effectLst>
                  <a:outerShdw blurRad="38100" dist="38100" dir="2700000" algn="tl">
                    <a:srgbClr val="000000">
                      <a:alpha val="43137"/>
                    </a:srgbClr>
                  </a:outerShdw>
                </a:effectLst>
                <a:latin typeface="黑体" pitchFamily="49" charset="-122"/>
              </a:rPr>
              <a:t>《</a:t>
            </a:r>
            <a:r>
              <a:rPr lang="zh-CN" altLang="en-US" b="1" dirty="0">
                <a:solidFill>
                  <a:prstClr val="black"/>
                </a:solidFill>
                <a:effectLst>
                  <a:outerShdw blurRad="38100" dist="38100" dir="2700000" algn="tl">
                    <a:srgbClr val="000000">
                      <a:alpha val="43137"/>
                    </a:srgbClr>
                  </a:outerShdw>
                </a:effectLst>
                <a:latin typeface="黑体" pitchFamily="49" charset="-122"/>
              </a:rPr>
              <a:t>孟子</a:t>
            </a:r>
            <a:r>
              <a:rPr lang="en-US" altLang="zh-CN" b="1" dirty="0">
                <a:solidFill>
                  <a:prstClr val="black"/>
                </a:solidFill>
                <a:effectLst>
                  <a:outerShdw blurRad="38100" dist="38100" dir="2700000" algn="tl">
                    <a:srgbClr val="000000">
                      <a:alpha val="43137"/>
                    </a:srgbClr>
                  </a:outerShdw>
                </a:effectLst>
                <a:latin typeface="黑体" pitchFamily="49" charset="-122"/>
              </a:rPr>
              <a:t>·</a:t>
            </a:r>
            <a:r>
              <a:rPr lang="zh-CN" altLang="en-US" b="1" dirty="0">
                <a:solidFill>
                  <a:prstClr val="black"/>
                </a:solidFill>
                <a:effectLst>
                  <a:outerShdw blurRad="38100" dist="38100" dir="2700000" algn="tl">
                    <a:srgbClr val="000000">
                      <a:alpha val="43137"/>
                    </a:srgbClr>
                  </a:outerShdw>
                </a:effectLst>
                <a:latin typeface="黑体" pitchFamily="49" charset="-122"/>
              </a:rPr>
              <a:t>滕之公上</a:t>
            </a:r>
            <a:r>
              <a:rPr lang="en-US" altLang="zh-CN" b="1" dirty="0">
                <a:solidFill>
                  <a:prstClr val="black"/>
                </a:solidFill>
                <a:effectLst>
                  <a:outerShdw blurRad="38100" dist="38100" dir="2700000" algn="tl">
                    <a:srgbClr val="000000">
                      <a:alpha val="43137"/>
                    </a:srgbClr>
                  </a:outerShdw>
                </a:effectLst>
                <a:latin typeface="黑体" pitchFamily="49" charset="-122"/>
              </a:rPr>
              <a:t>》</a:t>
            </a:r>
            <a:endParaRPr lang="zh-CN" altLang="en-US" b="1" dirty="0">
              <a:solidFill>
                <a:prstClr val="black"/>
              </a:solidFill>
              <a:effectLst>
                <a:outerShdw blurRad="38100" dist="38100" dir="2700000" algn="tl">
                  <a:srgbClr val="000000">
                    <a:alpha val="43137"/>
                  </a:srgbClr>
                </a:outerShdw>
              </a:effectLst>
              <a:latin typeface="黑体" pitchFamily="49" charset="-122"/>
            </a:endParaRPr>
          </a:p>
        </p:txBody>
      </p:sp>
      <p:cxnSp>
        <p:nvCxnSpPr>
          <p:cNvPr id="14" name="形状 13"/>
          <p:cNvCxnSpPr>
            <a:endCxn id="11" idx="2"/>
          </p:cNvCxnSpPr>
          <p:nvPr/>
        </p:nvCxnSpPr>
        <p:spPr>
          <a:xfrm flipV="1">
            <a:off x="2873375" y="1987550"/>
            <a:ext cx="973138" cy="457200"/>
          </a:xfrm>
          <a:prstGeom prst="bentConnector3">
            <a:avLst>
              <a:gd name="adj1" fmla="val 50000"/>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8" name="形状 13"/>
          <p:cNvCxnSpPr>
            <a:stCxn id="11" idx="6"/>
          </p:cNvCxnSpPr>
          <p:nvPr/>
        </p:nvCxnSpPr>
        <p:spPr>
          <a:xfrm flipV="1">
            <a:off x="5119688" y="1814513"/>
            <a:ext cx="1120775" cy="173037"/>
          </a:xfrm>
          <a:prstGeom prst="bentConnector3">
            <a:avLst>
              <a:gd name="adj1" fmla="val 37049"/>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grpSp>
        <p:nvGrpSpPr>
          <p:cNvPr id="5" name="组合 11"/>
          <p:cNvGrpSpPr>
            <a:grpSpLocks/>
          </p:cNvGrpSpPr>
          <p:nvPr/>
        </p:nvGrpSpPr>
        <p:grpSpPr bwMode="auto">
          <a:xfrm>
            <a:off x="152400" y="1905000"/>
            <a:ext cx="2743200" cy="725488"/>
            <a:chOff x="214282" y="1846946"/>
            <a:chExt cx="2571768" cy="724799"/>
          </a:xfrm>
        </p:grpSpPr>
        <p:sp>
          <p:nvSpPr>
            <p:cNvPr id="23" name="圆角矩形 75"/>
            <p:cNvSpPr>
              <a:spLocks noChangeArrowheads="1"/>
            </p:cNvSpPr>
            <p:nvPr/>
          </p:nvSpPr>
          <p:spPr bwMode="auto">
            <a:xfrm>
              <a:off x="489616" y="1846946"/>
              <a:ext cx="2296434" cy="724799"/>
            </a:xfrm>
            <a:prstGeom prst="roundRect">
              <a:avLst>
                <a:gd name="adj" fmla="val 16667"/>
              </a:avLst>
            </a:prstGeom>
            <a:solidFill>
              <a:schemeClr val="accent1">
                <a:lumMod val="75000"/>
              </a:schemeClr>
            </a:solidFill>
            <a:ln w="19050" algn="ctr">
              <a:solidFill>
                <a:schemeClr val="tx1"/>
              </a:solidFill>
              <a:round/>
              <a:headEnd/>
              <a:tailEnd/>
            </a:ln>
          </p:spPr>
          <p:txBody>
            <a:bodyPr lIns="0" tIns="0" rIns="0" bIns="0" anchor="ctr"/>
            <a:lstStyle/>
            <a:p>
              <a:pPr algn="r" fontAlgn="base">
                <a:spcBef>
                  <a:spcPct val="0"/>
                </a:spcBef>
                <a:spcAft>
                  <a:spcPct val="0"/>
                </a:spcAft>
                <a:defRPr/>
              </a:pPr>
              <a:r>
                <a:rPr lang="zh-CN" altLang="en-US" sz="1600" b="1" dirty="0">
                  <a:solidFill>
                    <a:prstClr val="white"/>
                  </a:solidFill>
                  <a:effectLst>
                    <a:outerShdw blurRad="38100" dist="38100" dir="2700000" algn="tl">
                      <a:srgbClr val="000000">
                        <a:alpha val="43137"/>
                      </a:srgbClr>
                    </a:outerShdw>
                  </a:effectLst>
                  <a:latin typeface="黑体" pitchFamily="49" charset="-122"/>
                </a:rPr>
                <a:t>表现在交往的双方相互关心，相互帮助，相互支持</a:t>
              </a:r>
              <a:endParaRPr lang="en-GB" altLang="zh-CN" sz="1600" b="1" dirty="0">
                <a:solidFill>
                  <a:prstClr val="white"/>
                </a:solidFill>
                <a:effectLst>
                  <a:outerShdw blurRad="38100" dist="38100" dir="2700000" algn="tl">
                    <a:srgbClr val="000000">
                      <a:alpha val="43137"/>
                    </a:srgbClr>
                  </a:outerShdw>
                </a:effectLst>
                <a:latin typeface="黑体" pitchFamily="49" charset="-122"/>
              </a:endParaRPr>
            </a:p>
          </p:txBody>
        </p:sp>
        <p:sp>
          <p:nvSpPr>
            <p:cNvPr id="119910" name="Oval 360"/>
            <p:cNvSpPr>
              <a:spLocks noChangeArrowheads="1"/>
            </p:cNvSpPr>
            <p:nvPr/>
          </p:nvSpPr>
          <p:spPr bwMode="auto">
            <a:xfrm>
              <a:off x="214282" y="1999201"/>
              <a:ext cx="358679" cy="360021"/>
            </a:xfrm>
            <a:prstGeom prst="ellipse">
              <a:avLst/>
            </a:prstGeom>
            <a:solidFill>
              <a:srgbClr val="FFC44D"/>
            </a:solidFill>
            <a:ln w="12700">
              <a:noFill/>
              <a:round/>
              <a:headEnd/>
              <a:tailEnd/>
            </a:ln>
            <a:effectLst>
              <a:prstShdw prst="shdw17" dist="17961" dir="2700000">
                <a:srgbClr val="99762E"/>
              </a:prstShdw>
            </a:effectLst>
          </p:spPr>
          <p:txBody>
            <a:bodyPr wrap="none" lIns="0" tIns="0" rIns="0" bIns="0" anchor="ctr" anchorCtr="1"/>
            <a:lstStyle/>
            <a:p>
              <a:pPr algn="ctr" defTabSz="761576" fontAlgn="base">
                <a:spcBef>
                  <a:spcPct val="0"/>
                </a:spcBef>
                <a:spcAft>
                  <a:spcPct val="0"/>
                </a:spcAft>
                <a:defRPr/>
              </a:pPr>
              <a:endParaRPr lang="en-GB" altLang="zh-CN" dirty="0">
                <a:solidFill>
                  <a:prstClr val="black"/>
                </a:solidFill>
                <a:effectLst>
                  <a:outerShdw blurRad="38100" dist="38100" dir="2700000" algn="tl">
                    <a:srgbClr val="000000">
                      <a:alpha val="43137"/>
                    </a:srgbClr>
                  </a:outerShdw>
                </a:effectLst>
                <a:latin typeface="黑体" pitchFamily="49" charset="-122"/>
              </a:endParaRPr>
            </a:p>
          </p:txBody>
        </p:sp>
      </p:grpSp>
      <p:grpSp>
        <p:nvGrpSpPr>
          <p:cNvPr id="6" name="组合 11"/>
          <p:cNvGrpSpPr>
            <a:grpSpLocks/>
          </p:cNvGrpSpPr>
          <p:nvPr/>
        </p:nvGrpSpPr>
        <p:grpSpPr bwMode="auto">
          <a:xfrm>
            <a:off x="6076950" y="1447800"/>
            <a:ext cx="3067050" cy="838200"/>
            <a:chOff x="508440" y="1930403"/>
            <a:chExt cx="3085170" cy="838200"/>
          </a:xfrm>
        </p:grpSpPr>
        <p:sp>
          <p:nvSpPr>
            <p:cNvPr id="29" name="圆角矩形 75"/>
            <p:cNvSpPr>
              <a:spLocks noChangeArrowheads="1"/>
            </p:cNvSpPr>
            <p:nvPr/>
          </p:nvSpPr>
          <p:spPr bwMode="auto">
            <a:xfrm>
              <a:off x="815041" y="1930403"/>
              <a:ext cx="2778569" cy="838200"/>
            </a:xfrm>
            <a:prstGeom prst="roundRect">
              <a:avLst>
                <a:gd name="adj" fmla="val 16667"/>
              </a:avLst>
            </a:prstGeom>
            <a:solidFill>
              <a:schemeClr val="accent1">
                <a:lumMod val="75000"/>
              </a:schemeClr>
            </a:solidFill>
            <a:ln w="19050" algn="ctr">
              <a:solidFill>
                <a:schemeClr val="tx1"/>
              </a:solidFill>
              <a:round/>
              <a:headEnd/>
              <a:tailEnd/>
            </a:ln>
          </p:spPr>
          <p:txBody>
            <a:bodyPr lIns="0" tIns="0" rIns="0" bIns="0" anchor="ctr"/>
            <a:lstStyle/>
            <a:p>
              <a:pPr fontAlgn="base">
                <a:spcBef>
                  <a:spcPct val="0"/>
                </a:spcBef>
                <a:spcAft>
                  <a:spcPct val="0"/>
                </a:spcAft>
                <a:defRPr/>
              </a:pPr>
              <a:r>
                <a:rPr lang="zh-CN" altLang="en-US" b="1" dirty="0">
                  <a:solidFill>
                    <a:prstClr val="white"/>
                  </a:solidFill>
                  <a:effectLst>
                    <a:outerShdw blurRad="38100" dist="38100" dir="2700000" algn="tl">
                      <a:srgbClr val="000000">
                        <a:alpha val="43137"/>
                      </a:srgbClr>
                    </a:outerShdw>
                  </a:effectLst>
                  <a:latin typeface="黑体" pitchFamily="49" charset="-122"/>
                </a:rPr>
                <a:t>    助人为乐是中国传统美德也是当代社会的公德</a:t>
              </a:r>
              <a:endParaRPr lang="en-GB" altLang="zh-CN" b="1" dirty="0">
                <a:solidFill>
                  <a:prstClr val="white"/>
                </a:solidFill>
                <a:effectLst>
                  <a:outerShdw blurRad="38100" dist="38100" dir="2700000" algn="tl">
                    <a:srgbClr val="000000">
                      <a:alpha val="43137"/>
                    </a:srgbClr>
                  </a:outerShdw>
                </a:effectLst>
                <a:latin typeface="黑体" pitchFamily="49" charset="-122"/>
              </a:endParaRPr>
            </a:p>
          </p:txBody>
        </p:sp>
        <p:sp>
          <p:nvSpPr>
            <p:cNvPr id="119908" name="Oval 360"/>
            <p:cNvSpPr>
              <a:spLocks noChangeArrowheads="1"/>
            </p:cNvSpPr>
            <p:nvPr/>
          </p:nvSpPr>
          <p:spPr bwMode="auto">
            <a:xfrm>
              <a:off x="508440" y="2082803"/>
              <a:ext cx="359298" cy="381000"/>
            </a:xfrm>
            <a:prstGeom prst="ellipse">
              <a:avLst/>
            </a:prstGeom>
            <a:solidFill>
              <a:srgbClr val="FFC44D"/>
            </a:solidFill>
            <a:ln w="12700">
              <a:noFill/>
              <a:round/>
              <a:headEnd/>
              <a:tailEnd/>
            </a:ln>
            <a:effectLst>
              <a:prstShdw prst="shdw17" dist="17961" dir="2700000">
                <a:srgbClr val="99762E"/>
              </a:prstShdw>
            </a:effectLst>
          </p:spPr>
          <p:txBody>
            <a:bodyPr wrap="none" lIns="0" tIns="0" rIns="0" bIns="0" anchor="ctr" anchorCtr="1"/>
            <a:lstStyle/>
            <a:p>
              <a:pPr algn="ctr" defTabSz="761576" fontAlgn="base">
                <a:spcBef>
                  <a:spcPct val="0"/>
                </a:spcBef>
                <a:spcAft>
                  <a:spcPct val="0"/>
                </a:spcAft>
                <a:defRPr/>
              </a:pPr>
              <a:endParaRPr lang="en-GB" altLang="zh-CN" dirty="0">
                <a:solidFill>
                  <a:prstClr val="black"/>
                </a:solidFill>
                <a:effectLst>
                  <a:outerShdw blurRad="38100" dist="38100" dir="2700000" algn="tl">
                    <a:srgbClr val="000000">
                      <a:alpha val="43137"/>
                    </a:srgbClr>
                  </a:outerShdw>
                </a:effectLst>
                <a:latin typeface="黑体" pitchFamily="49" charset="-122"/>
              </a:endParaRPr>
            </a:p>
          </p:txBody>
        </p:sp>
      </p:grpSp>
      <p:grpSp>
        <p:nvGrpSpPr>
          <p:cNvPr id="9" name="组合 31"/>
          <p:cNvGrpSpPr>
            <a:grpSpLocks/>
          </p:cNvGrpSpPr>
          <p:nvPr/>
        </p:nvGrpSpPr>
        <p:grpSpPr bwMode="auto">
          <a:xfrm>
            <a:off x="4953000" y="2286000"/>
            <a:ext cx="5076825" cy="769938"/>
            <a:chOff x="-90480" y="4365096"/>
            <a:chExt cx="5077176" cy="772272"/>
          </a:xfrm>
        </p:grpSpPr>
        <p:sp>
          <p:nvSpPr>
            <p:cNvPr id="119904" name="矩形 32"/>
            <p:cNvSpPr>
              <a:spLocks noChangeArrowheads="1"/>
            </p:cNvSpPr>
            <p:nvPr/>
          </p:nvSpPr>
          <p:spPr bwMode="auto">
            <a:xfrm>
              <a:off x="900188" y="4798205"/>
              <a:ext cx="2759266" cy="339163"/>
            </a:xfrm>
            <a:prstGeom prst="rect">
              <a:avLst/>
            </a:prstGeom>
            <a:noFill/>
            <a:ln w="9525">
              <a:noFill/>
              <a:miter lim="800000"/>
              <a:headEnd/>
              <a:tailEnd/>
            </a:ln>
          </p:spPr>
          <p:txBody>
            <a:bodyPr>
              <a:spAutoFit/>
            </a:bodyPr>
            <a:lstStyle/>
            <a:p>
              <a:pPr fontAlgn="base">
                <a:spcBef>
                  <a:spcPct val="0"/>
                </a:spcBef>
                <a:spcAft>
                  <a:spcPct val="0"/>
                </a:spcAft>
                <a:defRPr/>
              </a:pPr>
              <a:r>
                <a:rPr lang="zh-CN" altLang="en-US" sz="1600" b="1" dirty="0">
                  <a:solidFill>
                    <a:prstClr val="black"/>
                  </a:solidFill>
                  <a:effectLst>
                    <a:outerShdw blurRad="38100" dist="38100" dir="2700000" algn="tl">
                      <a:srgbClr val="000000">
                        <a:alpha val="43137"/>
                      </a:srgbClr>
                    </a:outerShdw>
                  </a:effectLst>
                  <a:latin typeface="黑体" pitchFamily="49" charset="-122"/>
                  <a:ea typeface="黑体" pitchFamily="49" charset="-122"/>
                  <a:cs typeface="Verdana" pitchFamily="34" charset="0"/>
                </a:rPr>
                <a:t>社会主义荣辱观的重要内容</a:t>
              </a:r>
              <a:endParaRPr lang="en-US" altLang="zh-CN" sz="1600" dirty="0">
                <a:solidFill>
                  <a:prstClr val="black"/>
                </a:solidFill>
                <a:effectLst>
                  <a:outerShdw blurRad="38100" dist="38100" dir="2700000" algn="tl">
                    <a:srgbClr val="000000">
                      <a:alpha val="43137"/>
                    </a:srgbClr>
                  </a:outerShdw>
                </a:effectLst>
                <a:latin typeface="黑体" pitchFamily="49" charset="-122"/>
                <a:ea typeface="黑体" pitchFamily="49" charset="-122"/>
                <a:cs typeface="Verdana" pitchFamily="34" charset="0"/>
              </a:endParaRPr>
            </a:p>
          </p:txBody>
        </p:sp>
        <p:cxnSp>
          <p:nvCxnSpPr>
            <p:cNvPr id="34" name="直接连接符 33"/>
            <p:cNvCxnSpPr/>
            <p:nvPr/>
          </p:nvCxnSpPr>
          <p:spPr bwMode="auto">
            <a:xfrm>
              <a:off x="1174845" y="4798205"/>
              <a:ext cx="1908307" cy="0"/>
            </a:xfrm>
            <a:prstGeom prst="line">
              <a:avLst/>
            </a:prstGeom>
            <a:ln w="19050">
              <a:solidFill>
                <a:schemeClr val="accent6">
                  <a:lumMod val="50000"/>
                </a:schemeClr>
              </a:solidFill>
              <a:prstDash val="solid"/>
            </a:ln>
          </p:spPr>
          <p:style>
            <a:lnRef idx="1">
              <a:schemeClr val="accent6"/>
            </a:lnRef>
            <a:fillRef idx="0">
              <a:schemeClr val="accent6"/>
            </a:fillRef>
            <a:effectRef idx="0">
              <a:schemeClr val="accent6"/>
            </a:effectRef>
            <a:fontRef idx="minor">
              <a:schemeClr val="tx1"/>
            </a:fontRef>
          </p:style>
        </p:cxnSp>
        <p:sp>
          <p:nvSpPr>
            <p:cNvPr id="35" name="矩形 34"/>
            <p:cNvSpPr/>
            <p:nvPr/>
          </p:nvSpPr>
          <p:spPr>
            <a:xfrm>
              <a:off x="-90480" y="4365096"/>
              <a:ext cx="5077176" cy="370251"/>
            </a:xfrm>
            <a:prstGeom prst="rect">
              <a:avLst/>
            </a:prstGeom>
          </p:spPr>
          <p:txBody>
            <a:bodyPr>
              <a:spAutoFit/>
              <a:scene3d>
                <a:camera prst="orthographicFront"/>
                <a:lightRig rig="flat" dir="tl">
                  <a:rot lat="0" lon="0" rev="6600000"/>
                </a:lightRig>
              </a:scene3d>
              <a:sp3d extrusionH="25400" contourW="8890">
                <a:bevelT w="38100" h="31750"/>
                <a:contourClr>
                  <a:schemeClr val="accent2">
                    <a:shade val="75000"/>
                  </a:schemeClr>
                </a:contourClr>
              </a:sp3d>
            </a:bodyPr>
            <a:lstStyle/>
            <a:p>
              <a:pPr fontAlgn="base">
                <a:spcBef>
                  <a:spcPct val="0"/>
                </a:spcBef>
                <a:spcAft>
                  <a:spcPct val="0"/>
                </a:spcAft>
                <a:defRPr/>
              </a:pPr>
              <a:r>
                <a:rPr lang="zh-CN" altLang="en-US" b="1" dirty="0">
                  <a:ln w="11430"/>
                  <a:gradFill>
                    <a:gsLst>
                      <a:gs pos="0">
                        <a:srgbClr val="C0504D">
                          <a:tint val="70000"/>
                          <a:satMod val="245000"/>
                        </a:srgbClr>
                      </a:gs>
                      <a:gs pos="75000">
                        <a:srgbClr val="C0504D">
                          <a:tint val="90000"/>
                          <a:shade val="60000"/>
                          <a:satMod val="240000"/>
                        </a:srgbClr>
                      </a:gs>
                      <a:gs pos="100000">
                        <a:srgbClr val="C0504D">
                          <a:tint val="100000"/>
                          <a:shade val="50000"/>
                          <a:satMod val="240000"/>
                        </a:srgbClr>
                      </a:gs>
                    </a:gsLst>
                    <a:lin ang="5400000"/>
                  </a:gradFill>
                  <a:effectLst>
                    <a:outerShdw blurRad="50800" dist="39000" dir="5460000" algn="tl">
                      <a:srgbClr val="000000">
                        <a:alpha val="38000"/>
                      </a:srgbClr>
                    </a:outerShdw>
                  </a:effectLst>
                  <a:latin typeface="黑体" pitchFamily="49" charset="-122"/>
                </a:rPr>
                <a:t>“以团结互助为荣，以损人利己为耻”</a:t>
              </a:r>
            </a:p>
          </p:txBody>
        </p:sp>
      </p:grpSp>
      <p:grpSp>
        <p:nvGrpSpPr>
          <p:cNvPr id="10" name="组合 35"/>
          <p:cNvGrpSpPr>
            <a:grpSpLocks/>
          </p:cNvGrpSpPr>
          <p:nvPr/>
        </p:nvGrpSpPr>
        <p:grpSpPr bwMode="auto">
          <a:xfrm>
            <a:off x="0" y="2743200"/>
            <a:ext cx="3729038" cy="1255713"/>
            <a:chOff x="533634" y="4371982"/>
            <a:chExt cx="3729237" cy="1259100"/>
          </a:xfrm>
        </p:grpSpPr>
        <p:sp>
          <p:nvSpPr>
            <p:cNvPr id="119901" name="矩形 36"/>
            <p:cNvSpPr>
              <a:spLocks noChangeArrowheads="1"/>
            </p:cNvSpPr>
            <p:nvPr/>
          </p:nvSpPr>
          <p:spPr bwMode="auto">
            <a:xfrm>
              <a:off x="897191" y="4798580"/>
              <a:ext cx="2762397" cy="832502"/>
            </a:xfrm>
            <a:prstGeom prst="rect">
              <a:avLst/>
            </a:prstGeom>
            <a:noFill/>
            <a:ln w="9525">
              <a:noFill/>
              <a:miter lim="800000"/>
              <a:headEnd/>
              <a:tailEnd/>
            </a:ln>
          </p:spPr>
          <p:txBody>
            <a:bodyPr>
              <a:spAutoFit/>
            </a:bodyPr>
            <a:lstStyle/>
            <a:p>
              <a:pPr fontAlgn="base">
                <a:spcBef>
                  <a:spcPct val="0"/>
                </a:spcBef>
                <a:spcAft>
                  <a:spcPct val="0"/>
                </a:spcAft>
                <a:defRPr/>
              </a:pPr>
              <a:r>
                <a:rPr lang="zh-CN" altLang="en-US" sz="1600" b="1" dirty="0">
                  <a:solidFill>
                    <a:prstClr val="black"/>
                  </a:solidFill>
                  <a:effectLst>
                    <a:outerShdw blurRad="38100" dist="38100" dir="2700000" algn="tl">
                      <a:srgbClr val="000000">
                        <a:alpha val="43137"/>
                      </a:srgbClr>
                    </a:outerShdw>
                  </a:effectLst>
                  <a:latin typeface="黑体" pitchFamily="49" charset="-122"/>
                  <a:ea typeface="黑体" pitchFamily="49" charset="-122"/>
                </a:rPr>
                <a:t>满足了双方各自的需要，又促进了相应相互间的联系，深化了感情。</a:t>
              </a:r>
              <a:endParaRPr lang="en-US" altLang="zh-CN" sz="1600" b="1" dirty="0">
                <a:solidFill>
                  <a:prstClr val="black"/>
                </a:solidFill>
                <a:effectLst>
                  <a:outerShdw blurRad="38100" dist="38100" dir="2700000" algn="tl">
                    <a:srgbClr val="000000">
                      <a:alpha val="43137"/>
                    </a:srgbClr>
                  </a:outerShdw>
                </a:effectLst>
                <a:latin typeface="黑体" pitchFamily="49" charset="-122"/>
                <a:ea typeface="黑体" pitchFamily="49" charset="-122"/>
              </a:endParaRPr>
            </a:p>
          </p:txBody>
        </p:sp>
        <p:cxnSp>
          <p:nvCxnSpPr>
            <p:cNvPr id="38" name="直接连接符 37"/>
            <p:cNvCxnSpPr/>
            <p:nvPr/>
          </p:nvCxnSpPr>
          <p:spPr bwMode="auto">
            <a:xfrm>
              <a:off x="1175018" y="4798580"/>
              <a:ext cx="1908277" cy="0"/>
            </a:xfrm>
            <a:prstGeom prst="line">
              <a:avLst/>
            </a:prstGeom>
            <a:ln w="19050">
              <a:solidFill>
                <a:schemeClr val="accent6">
                  <a:lumMod val="50000"/>
                </a:schemeClr>
              </a:solidFill>
              <a:prstDash val="solid"/>
            </a:ln>
          </p:spPr>
          <p:style>
            <a:lnRef idx="1">
              <a:schemeClr val="accent6"/>
            </a:lnRef>
            <a:fillRef idx="0">
              <a:schemeClr val="accent6"/>
            </a:fillRef>
            <a:effectRef idx="0">
              <a:schemeClr val="accent6"/>
            </a:effectRef>
            <a:fontRef idx="minor">
              <a:schemeClr val="tx1"/>
            </a:fontRef>
          </p:style>
        </p:cxnSp>
        <p:sp>
          <p:nvSpPr>
            <p:cNvPr id="39" name="矩形 38"/>
            <p:cNvSpPr/>
            <p:nvPr/>
          </p:nvSpPr>
          <p:spPr>
            <a:xfrm>
              <a:off x="533634" y="4371982"/>
              <a:ext cx="3729237" cy="478060"/>
            </a:xfrm>
            <a:prstGeom prst="rect">
              <a:avLst/>
            </a:prstGeom>
          </p:spPr>
          <p:txBody>
            <a:bodyPr wrap="none">
              <a:spAutoFit/>
              <a:scene3d>
                <a:camera prst="orthographicFront"/>
                <a:lightRig rig="flat" dir="tl">
                  <a:rot lat="0" lon="0" rev="6600000"/>
                </a:lightRig>
              </a:scene3d>
              <a:sp3d extrusionH="25400" contourW="8890">
                <a:bevelT w="38100" h="31750"/>
                <a:contourClr>
                  <a:schemeClr val="accent2">
                    <a:shade val="75000"/>
                  </a:schemeClr>
                </a:contourClr>
              </a:sp3d>
            </a:bodyPr>
            <a:lstStyle/>
            <a:p>
              <a:pPr fontAlgn="base">
                <a:spcBef>
                  <a:spcPct val="0"/>
                </a:spcBef>
                <a:spcAft>
                  <a:spcPct val="0"/>
                </a:spcAft>
                <a:defRPr/>
              </a:pPr>
              <a:r>
                <a:rPr lang="zh-CN" altLang="en-US" sz="2500" b="1" dirty="0">
                  <a:ln w="11430"/>
                  <a:gradFill>
                    <a:gsLst>
                      <a:gs pos="0">
                        <a:srgbClr val="C0504D">
                          <a:tint val="70000"/>
                          <a:satMod val="245000"/>
                        </a:srgbClr>
                      </a:gs>
                      <a:gs pos="75000">
                        <a:srgbClr val="C0504D">
                          <a:tint val="90000"/>
                          <a:shade val="60000"/>
                          <a:satMod val="240000"/>
                        </a:srgbClr>
                      </a:gs>
                      <a:gs pos="100000">
                        <a:srgbClr val="C0504D">
                          <a:tint val="100000"/>
                          <a:shade val="50000"/>
                          <a:satMod val="240000"/>
                        </a:srgbClr>
                      </a:gs>
                    </a:gsLst>
                    <a:lin ang="5400000"/>
                  </a:gradFill>
                  <a:effectLst>
                    <a:outerShdw blurRad="50800" dist="39000" dir="5460000" algn="tl">
                      <a:srgbClr val="000000">
                        <a:alpha val="38000"/>
                      </a:srgbClr>
                    </a:outerShdw>
                  </a:effectLst>
                  <a:latin typeface="黑体" pitchFamily="49" charset="-122"/>
                </a:rPr>
                <a:t>“赠人玫瑰，手有余香”</a:t>
              </a:r>
            </a:p>
          </p:txBody>
        </p:sp>
      </p:grpSp>
      <p:grpSp>
        <p:nvGrpSpPr>
          <p:cNvPr id="15" name="Group 2"/>
          <p:cNvGrpSpPr>
            <a:grpSpLocks/>
          </p:cNvGrpSpPr>
          <p:nvPr/>
        </p:nvGrpSpPr>
        <p:grpSpPr bwMode="auto">
          <a:xfrm>
            <a:off x="0" y="762000"/>
            <a:ext cx="9144000" cy="909638"/>
            <a:chOff x="247" y="4566"/>
            <a:chExt cx="3829" cy="1431"/>
          </a:xfrm>
        </p:grpSpPr>
        <p:grpSp>
          <p:nvGrpSpPr>
            <p:cNvPr id="16" name="Group 3"/>
            <p:cNvGrpSpPr>
              <a:grpSpLocks/>
            </p:cNvGrpSpPr>
            <p:nvPr/>
          </p:nvGrpSpPr>
          <p:grpSpPr bwMode="auto">
            <a:xfrm>
              <a:off x="2161" y="4566"/>
              <a:ext cx="1915" cy="1431"/>
              <a:chOff x="2854" y="1824"/>
              <a:chExt cx="2622" cy="1882"/>
            </a:xfrm>
          </p:grpSpPr>
          <p:sp>
            <p:nvSpPr>
              <p:cNvPr id="119880" name="Line 4"/>
              <p:cNvSpPr>
                <a:spLocks noChangeShapeType="1"/>
              </p:cNvSpPr>
              <p:nvPr/>
            </p:nvSpPr>
            <p:spPr bwMode="auto">
              <a:xfrm>
                <a:off x="2854" y="1824"/>
                <a:ext cx="2622" cy="1432"/>
              </a:xfrm>
              <a:prstGeom prst="line">
                <a:avLst/>
              </a:prstGeom>
              <a:noFill/>
              <a:ln w="3175">
                <a:solidFill>
                  <a:srgbClr val="EAEAEA"/>
                </a:solidFill>
                <a:round/>
                <a:headEnd type="none" w="sm" len="sm"/>
                <a:tailEnd type="none" w="sm" len="sm"/>
              </a:ln>
            </p:spPr>
            <p:txBody>
              <a:bodyPr wrap="none" anchor="ctr"/>
              <a:lstStyle/>
              <a:p>
                <a:pPr fontAlgn="base">
                  <a:spcBef>
                    <a:spcPct val="0"/>
                  </a:spcBef>
                  <a:spcAft>
                    <a:spcPct val="0"/>
                  </a:spcAft>
                  <a:defRPr/>
                </a:pPr>
                <a:endParaRPr lang="zh-CN" altLang="en-US" dirty="0">
                  <a:solidFill>
                    <a:prstClr val="black"/>
                  </a:solidFill>
                  <a:effectLst>
                    <a:outerShdw blurRad="38100" dist="38100" dir="2700000" algn="tl">
                      <a:srgbClr val="000000">
                        <a:alpha val="43137"/>
                      </a:srgbClr>
                    </a:outerShdw>
                  </a:effectLst>
                  <a:latin typeface="黑体" pitchFamily="49" charset="-122"/>
                </a:endParaRPr>
              </a:p>
            </p:txBody>
          </p:sp>
          <p:sp>
            <p:nvSpPr>
              <p:cNvPr id="119881" name="Line 5"/>
              <p:cNvSpPr>
                <a:spLocks noChangeShapeType="1"/>
              </p:cNvSpPr>
              <p:nvPr/>
            </p:nvSpPr>
            <p:spPr bwMode="auto">
              <a:xfrm>
                <a:off x="2854" y="1824"/>
                <a:ext cx="2622" cy="1688"/>
              </a:xfrm>
              <a:prstGeom prst="line">
                <a:avLst/>
              </a:prstGeom>
              <a:noFill/>
              <a:ln w="3175">
                <a:solidFill>
                  <a:srgbClr val="EAEAEA"/>
                </a:solidFill>
                <a:round/>
                <a:headEnd type="none" w="sm" len="sm"/>
                <a:tailEnd type="none" w="sm" len="sm"/>
              </a:ln>
            </p:spPr>
            <p:txBody>
              <a:bodyPr wrap="none" anchor="ctr"/>
              <a:lstStyle/>
              <a:p>
                <a:pPr fontAlgn="base">
                  <a:spcBef>
                    <a:spcPct val="0"/>
                  </a:spcBef>
                  <a:spcAft>
                    <a:spcPct val="0"/>
                  </a:spcAft>
                  <a:defRPr/>
                </a:pPr>
                <a:endParaRPr lang="zh-CN" altLang="en-US" dirty="0">
                  <a:solidFill>
                    <a:prstClr val="black"/>
                  </a:solidFill>
                  <a:effectLst>
                    <a:outerShdw blurRad="38100" dist="38100" dir="2700000" algn="tl">
                      <a:srgbClr val="000000">
                        <a:alpha val="43137"/>
                      </a:srgbClr>
                    </a:outerShdw>
                  </a:effectLst>
                  <a:latin typeface="黑体" pitchFamily="49" charset="-122"/>
                </a:endParaRPr>
              </a:p>
            </p:txBody>
          </p:sp>
          <p:sp>
            <p:nvSpPr>
              <p:cNvPr id="119882" name="Line 6"/>
              <p:cNvSpPr>
                <a:spLocks noChangeShapeType="1"/>
              </p:cNvSpPr>
              <p:nvPr/>
            </p:nvSpPr>
            <p:spPr bwMode="auto">
              <a:xfrm>
                <a:off x="2854" y="1824"/>
                <a:ext cx="2488" cy="1882"/>
              </a:xfrm>
              <a:prstGeom prst="line">
                <a:avLst/>
              </a:prstGeom>
              <a:noFill/>
              <a:ln w="3175">
                <a:solidFill>
                  <a:srgbClr val="EAEAEA"/>
                </a:solidFill>
                <a:round/>
                <a:headEnd type="none" w="sm" len="sm"/>
                <a:tailEnd type="none" w="sm" len="sm"/>
              </a:ln>
            </p:spPr>
            <p:txBody>
              <a:bodyPr wrap="none" anchor="ctr"/>
              <a:lstStyle/>
              <a:p>
                <a:pPr fontAlgn="base">
                  <a:spcBef>
                    <a:spcPct val="0"/>
                  </a:spcBef>
                  <a:spcAft>
                    <a:spcPct val="0"/>
                  </a:spcAft>
                  <a:defRPr/>
                </a:pPr>
                <a:endParaRPr lang="zh-CN" altLang="en-US" dirty="0">
                  <a:solidFill>
                    <a:prstClr val="black"/>
                  </a:solidFill>
                  <a:effectLst>
                    <a:outerShdw blurRad="38100" dist="38100" dir="2700000" algn="tl">
                      <a:srgbClr val="000000">
                        <a:alpha val="43137"/>
                      </a:srgbClr>
                    </a:outerShdw>
                  </a:effectLst>
                  <a:latin typeface="黑体" pitchFamily="49" charset="-122"/>
                </a:endParaRPr>
              </a:p>
            </p:txBody>
          </p:sp>
          <p:sp>
            <p:nvSpPr>
              <p:cNvPr id="119883" name="Line 7"/>
              <p:cNvSpPr>
                <a:spLocks noChangeShapeType="1"/>
              </p:cNvSpPr>
              <p:nvPr/>
            </p:nvSpPr>
            <p:spPr bwMode="auto">
              <a:xfrm>
                <a:off x="2854" y="1824"/>
                <a:ext cx="2083" cy="1882"/>
              </a:xfrm>
              <a:prstGeom prst="line">
                <a:avLst/>
              </a:prstGeom>
              <a:noFill/>
              <a:ln w="3175">
                <a:solidFill>
                  <a:srgbClr val="EAEAEA"/>
                </a:solidFill>
                <a:round/>
                <a:headEnd type="none" w="sm" len="sm"/>
                <a:tailEnd type="none" w="sm" len="sm"/>
              </a:ln>
            </p:spPr>
            <p:txBody>
              <a:bodyPr wrap="none" anchor="ctr"/>
              <a:lstStyle/>
              <a:p>
                <a:pPr fontAlgn="base">
                  <a:spcBef>
                    <a:spcPct val="0"/>
                  </a:spcBef>
                  <a:spcAft>
                    <a:spcPct val="0"/>
                  </a:spcAft>
                  <a:defRPr/>
                </a:pPr>
                <a:endParaRPr lang="zh-CN" altLang="en-US" dirty="0">
                  <a:solidFill>
                    <a:prstClr val="black"/>
                  </a:solidFill>
                  <a:effectLst>
                    <a:outerShdw blurRad="38100" dist="38100" dir="2700000" algn="tl">
                      <a:srgbClr val="000000">
                        <a:alpha val="43137"/>
                      </a:srgbClr>
                    </a:outerShdw>
                  </a:effectLst>
                  <a:latin typeface="黑体" pitchFamily="49" charset="-122"/>
                </a:endParaRPr>
              </a:p>
            </p:txBody>
          </p:sp>
          <p:sp>
            <p:nvSpPr>
              <p:cNvPr id="119884" name="Line 8"/>
              <p:cNvSpPr>
                <a:spLocks noChangeShapeType="1"/>
              </p:cNvSpPr>
              <p:nvPr/>
            </p:nvSpPr>
            <p:spPr bwMode="auto">
              <a:xfrm>
                <a:off x="2854" y="1824"/>
                <a:ext cx="1704" cy="1882"/>
              </a:xfrm>
              <a:prstGeom prst="line">
                <a:avLst/>
              </a:prstGeom>
              <a:noFill/>
              <a:ln w="3175">
                <a:solidFill>
                  <a:srgbClr val="EAEAEA"/>
                </a:solidFill>
                <a:round/>
                <a:headEnd type="none" w="sm" len="sm"/>
                <a:tailEnd type="none" w="sm" len="sm"/>
              </a:ln>
            </p:spPr>
            <p:txBody>
              <a:bodyPr wrap="none" anchor="ctr"/>
              <a:lstStyle/>
              <a:p>
                <a:pPr fontAlgn="base">
                  <a:spcBef>
                    <a:spcPct val="0"/>
                  </a:spcBef>
                  <a:spcAft>
                    <a:spcPct val="0"/>
                  </a:spcAft>
                  <a:defRPr/>
                </a:pPr>
                <a:endParaRPr lang="zh-CN" altLang="en-US" dirty="0">
                  <a:solidFill>
                    <a:prstClr val="black"/>
                  </a:solidFill>
                  <a:effectLst>
                    <a:outerShdw blurRad="38100" dist="38100" dir="2700000" algn="tl">
                      <a:srgbClr val="000000">
                        <a:alpha val="43137"/>
                      </a:srgbClr>
                    </a:outerShdw>
                  </a:effectLst>
                  <a:latin typeface="黑体" pitchFamily="49" charset="-122"/>
                </a:endParaRPr>
              </a:p>
            </p:txBody>
          </p:sp>
          <p:sp>
            <p:nvSpPr>
              <p:cNvPr id="119885" name="Line 9"/>
              <p:cNvSpPr>
                <a:spLocks noChangeShapeType="1"/>
              </p:cNvSpPr>
              <p:nvPr/>
            </p:nvSpPr>
            <p:spPr bwMode="auto">
              <a:xfrm>
                <a:off x="2854" y="1824"/>
                <a:ext cx="1322" cy="1882"/>
              </a:xfrm>
              <a:prstGeom prst="line">
                <a:avLst/>
              </a:prstGeom>
              <a:noFill/>
              <a:ln w="3175">
                <a:solidFill>
                  <a:srgbClr val="EAEAEA"/>
                </a:solidFill>
                <a:round/>
                <a:headEnd type="none" w="sm" len="sm"/>
                <a:tailEnd type="none" w="sm" len="sm"/>
              </a:ln>
            </p:spPr>
            <p:txBody>
              <a:bodyPr wrap="none" anchor="ctr"/>
              <a:lstStyle/>
              <a:p>
                <a:pPr fontAlgn="base">
                  <a:spcBef>
                    <a:spcPct val="0"/>
                  </a:spcBef>
                  <a:spcAft>
                    <a:spcPct val="0"/>
                  </a:spcAft>
                  <a:defRPr/>
                </a:pPr>
                <a:endParaRPr lang="zh-CN" altLang="en-US" dirty="0">
                  <a:solidFill>
                    <a:prstClr val="black"/>
                  </a:solidFill>
                  <a:effectLst>
                    <a:outerShdw blurRad="38100" dist="38100" dir="2700000" algn="tl">
                      <a:srgbClr val="000000">
                        <a:alpha val="43137"/>
                      </a:srgbClr>
                    </a:outerShdw>
                  </a:effectLst>
                  <a:latin typeface="黑体" pitchFamily="49" charset="-122"/>
                </a:endParaRPr>
              </a:p>
            </p:txBody>
          </p:sp>
          <p:sp>
            <p:nvSpPr>
              <p:cNvPr id="119886" name="Line 10"/>
              <p:cNvSpPr>
                <a:spLocks noChangeShapeType="1"/>
              </p:cNvSpPr>
              <p:nvPr/>
            </p:nvSpPr>
            <p:spPr bwMode="auto">
              <a:xfrm>
                <a:off x="2854" y="1824"/>
                <a:ext cx="986" cy="1882"/>
              </a:xfrm>
              <a:prstGeom prst="line">
                <a:avLst/>
              </a:prstGeom>
              <a:noFill/>
              <a:ln w="3175">
                <a:solidFill>
                  <a:srgbClr val="EAEAEA"/>
                </a:solidFill>
                <a:round/>
                <a:headEnd type="none" w="sm" len="sm"/>
                <a:tailEnd type="none" w="sm" len="sm"/>
              </a:ln>
            </p:spPr>
            <p:txBody>
              <a:bodyPr wrap="none" anchor="ctr"/>
              <a:lstStyle/>
              <a:p>
                <a:pPr fontAlgn="base">
                  <a:spcBef>
                    <a:spcPct val="0"/>
                  </a:spcBef>
                  <a:spcAft>
                    <a:spcPct val="0"/>
                  </a:spcAft>
                  <a:defRPr/>
                </a:pPr>
                <a:endParaRPr lang="zh-CN" altLang="en-US" dirty="0">
                  <a:solidFill>
                    <a:prstClr val="black"/>
                  </a:solidFill>
                  <a:effectLst>
                    <a:outerShdw blurRad="38100" dist="38100" dir="2700000" algn="tl">
                      <a:srgbClr val="000000">
                        <a:alpha val="43137"/>
                      </a:srgbClr>
                    </a:outerShdw>
                  </a:effectLst>
                  <a:latin typeface="黑体" pitchFamily="49" charset="-122"/>
                </a:endParaRPr>
              </a:p>
            </p:txBody>
          </p:sp>
          <p:sp>
            <p:nvSpPr>
              <p:cNvPr id="119887" name="Line 11"/>
              <p:cNvSpPr>
                <a:spLocks noChangeShapeType="1"/>
              </p:cNvSpPr>
              <p:nvPr/>
            </p:nvSpPr>
            <p:spPr bwMode="auto">
              <a:xfrm>
                <a:off x="2854" y="1824"/>
                <a:ext cx="651" cy="1882"/>
              </a:xfrm>
              <a:prstGeom prst="line">
                <a:avLst/>
              </a:prstGeom>
              <a:noFill/>
              <a:ln w="3175">
                <a:solidFill>
                  <a:srgbClr val="EAEAEA"/>
                </a:solidFill>
                <a:round/>
                <a:headEnd type="none" w="sm" len="sm"/>
                <a:tailEnd type="none" w="sm" len="sm"/>
              </a:ln>
            </p:spPr>
            <p:txBody>
              <a:bodyPr wrap="none" anchor="ctr"/>
              <a:lstStyle/>
              <a:p>
                <a:pPr fontAlgn="base">
                  <a:spcBef>
                    <a:spcPct val="0"/>
                  </a:spcBef>
                  <a:spcAft>
                    <a:spcPct val="0"/>
                  </a:spcAft>
                  <a:defRPr/>
                </a:pPr>
                <a:endParaRPr lang="zh-CN" altLang="en-US" dirty="0">
                  <a:solidFill>
                    <a:prstClr val="black"/>
                  </a:solidFill>
                  <a:effectLst>
                    <a:outerShdw blurRad="38100" dist="38100" dir="2700000" algn="tl">
                      <a:srgbClr val="000000">
                        <a:alpha val="43137"/>
                      </a:srgbClr>
                    </a:outerShdw>
                  </a:effectLst>
                  <a:latin typeface="黑体" pitchFamily="49" charset="-122"/>
                </a:endParaRPr>
              </a:p>
            </p:txBody>
          </p:sp>
          <p:sp>
            <p:nvSpPr>
              <p:cNvPr id="119888" name="Line 12"/>
              <p:cNvSpPr>
                <a:spLocks noChangeShapeType="1"/>
              </p:cNvSpPr>
              <p:nvPr/>
            </p:nvSpPr>
            <p:spPr bwMode="auto">
              <a:xfrm>
                <a:off x="2854" y="1824"/>
                <a:ext cx="314" cy="1882"/>
              </a:xfrm>
              <a:prstGeom prst="line">
                <a:avLst/>
              </a:prstGeom>
              <a:noFill/>
              <a:ln w="3175">
                <a:solidFill>
                  <a:srgbClr val="EAEAEA"/>
                </a:solidFill>
                <a:round/>
                <a:headEnd type="none" w="sm" len="sm"/>
                <a:tailEnd type="none" w="sm" len="sm"/>
              </a:ln>
            </p:spPr>
            <p:txBody>
              <a:bodyPr wrap="none" anchor="ctr"/>
              <a:lstStyle/>
              <a:p>
                <a:pPr fontAlgn="base">
                  <a:spcBef>
                    <a:spcPct val="0"/>
                  </a:spcBef>
                  <a:spcAft>
                    <a:spcPct val="0"/>
                  </a:spcAft>
                  <a:defRPr/>
                </a:pPr>
                <a:endParaRPr lang="zh-CN" altLang="en-US" dirty="0">
                  <a:solidFill>
                    <a:prstClr val="black"/>
                  </a:solidFill>
                  <a:effectLst>
                    <a:outerShdw blurRad="38100" dist="38100" dir="2700000" algn="tl">
                      <a:srgbClr val="000000">
                        <a:alpha val="43137"/>
                      </a:srgbClr>
                    </a:outerShdw>
                  </a:effectLst>
                  <a:latin typeface="黑体" pitchFamily="49" charset="-122"/>
                </a:endParaRPr>
              </a:p>
            </p:txBody>
          </p:sp>
          <p:sp>
            <p:nvSpPr>
              <p:cNvPr id="119889" name="Line 13"/>
              <p:cNvSpPr>
                <a:spLocks noChangeShapeType="1"/>
              </p:cNvSpPr>
              <p:nvPr/>
            </p:nvSpPr>
            <p:spPr bwMode="auto">
              <a:xfrm>
                <a:off x="2854" y="1824"/>
                <a:ext cx="0" cy="1882"/>
              </a:xfrm>
              <a:prstGeom prst="line">
                <a:avLst/>
              </a:prstGeom>
              <a:noFill/>
              <a:ln w="3175">
                <a:solidFill>
                  <a:srgbClr val="EAEAEA"/>
                </a:solidFill>
                <a:round/>
                <a:headEnd type="none" w="sm" len="sm"/>
                <a:tailEnd type="none" w="sm" len="sm"/>
              </a:ln>
            </p:spPr>
            <p:txBody>
              <a:bodyPr wrap="none" anchor="ctr"/>
              <a:lstStyle/>
              <a:p>
                <a:pPr fontAlgn="base">
                  <a:spcBef>
                    <a:spcPct val="0"/>
                  </a:spcBef>
                  <a:spcAft>
                    <a:spcPct val="0"/>
                  </a:spcAft>
                  <a:defRPr/>
                </a:pPr>
                <a:endParaRPr lang="zh-CN" altLang="en-US" dirty="0">
                  <a:solidFill>
                    <a:prstClr val="black"/>
                  </a:solidFill>
                  <a:effectLst>
                    <a:outerShdw blurRad="38100" dist="38100" dir="2700000" algn="tl">
                      <a:srgbClr val="000000">
                        <a:alpha val="43137"/>
                      </a:srgbClr>
                    </a:outerShdw>
                  </a:effectLst>
                  <a:latin typeface="黑体" pitchFamily="49" charset="-122"/>
                </a:endParaRPr>
              </a:p>
            </p:txBody>
          </p:sp>
          <p:sp>
            <p:nvSpPr>
              <p:cNvPr id="119890" name="Line 14"/>
              <p:cNvSpPr>
                <a:spLocks noChangeShapeType="1"/>
              </p:cNvSpPr>
              <p:nvPr/>
            </p:nvSpPr>
            <p:spPr bwMode="auto">
              <a:xfrm>
                <a:off x="2854" y="1824"/>
                <a:ext cx="2622" cy="1238"/>
              </a:xfrm>
              <a:prstGeom prst="line">
                <a:avLst/>
              </a:prstGeom>
              <a:noFill/>
              <a:ln w="3175">
                <a:solidFill>
                  <a:srgbClr val="EAEAEA"/>
                </a:solidFill>
                <a:round/>
                <a:headEnd type="none" w="sm" len="sm"/>
                <a:tailEnd type="none" w="sm" len="sm"/>
              </a:ln>
            </p:spPr>
            <p:txBody>
              <a:bodyPr wrap="none" anchor="ctr"/>
              <a:lstStyle/>
              <a:p>
                <a:pPr fontAlgn="base">
                  <a:spcBef>
                    <a:spcPct val="0"/>
                  </a:spcBef>
                  <a:spcAft>
                    <a:spcPct val="0"/>
                  </a:spcAft>
                  <a:defRPr/>
                </a:pPr>
                <a:endParaRPr lang="zh-CN" altLang="en-US" dirty="0">
                  <a:solidFill>
                    <a:prstClr val="black"/>
                  </a:solidFill>
                  <a:effectLst>
                    <a:outerShdw blurRad="38100" dist="38100" dir="2700000" algn="tl">
                      <a:srgbClr val="000000">
                        <a:alpha val="43137"/>
                      </a:srgbClr>
                    </a:outerShdw>
                  </a:effectLst>
                  <a:latin typeface="黑体" pitchFamily="49" charset="-122"/>
                </a:endParaRPr>
              </a:p>
            </p:txBody>
          </p:sp>
          <p:sp>
            <p:nvSpPr>
              <p:cNvPr id="119891" name="Line 15"/>
              <p:cNvSpPr>
                <a:spLocks noChangeShapeType="1"/>
              </p:cNvSpPr>
              <p:nvPr/>
            </p:nvSpPr>
            <p:spPr bwMode="auto">
              <a:xfrm>
                <a:off x="2854" y="1824"/>
                <a:ext cx="2622" cy="1067"/>
              </a:xfrm>
              <a:prstGeom prst="line">
                <a:avLst/>
              </a:prstGeom>
              <a:noFill/>
              <a:ln w="3175">
                <a:solidFill>
                  <a:srgbClr val="EAEAEA"/>
                </a:solidFill>
                <a:round/>
                <a:headEnd type="none" w="sm" len="sm"/>
                <a:tailEnd type="none" w="sm" len="sm"/>
              </a:ln>
            </p:spPr>
            <p:txBody>
              <a:bodyPr wrap="none" anchor="ctr"/>
              <a:lstStyle/>
              <a:p>
                <a:pPr fontAlgn="base">
                  <a:spcBef>
                    <a:spcPct val="0"/>
                  </a:spcBef>
                  <a:spcAft>
                    <a:spcPct val="0"/>
                  </a:spcAft>
                  <a:defRPr/>
                </a:pPr>
                <a:endParaRPr lang="zh-CN" altLang="en-US" dirty="0">
                  <a:solidFill>
                    <a:prstClr val="black"/>
                  </a:solidFill>
                  <a:effectLst>
                    <a:outerShdw blurRad="38100" dist="38100" dir="2700000" algn="tl">
                      <a:srgbClr val="000000">
                        <a:alpha val="43137"/>
                      </a:srgbClr>
                    </a:outerShdw>
                  </a:effectLst>
                  <a:latin typeface="黑体" pitchFamily="49" charset="-122"/>
                </a:endParaRPr>
              </a:p>
            </p:txBody>
          </p:sp>
          <p:sp>
            <p:nvSpPr>
              <p:cNvPr id="119892" name="Line 16"/>
              <p:cNvSpPr>
                <a:spLocks noChangeShapeType="1"/>
              </p:cNvSpPr>
              <p:nvPr/>
            </p:nvSpPr>
            <p:spPr bwMode="auto">
              <a:xfrm>
                <a:off x="2854" y="1824"/>
                <a:ext cx="2622" cy="920"/>
              </a:xfrm>
              <a:prstGeom prst="line">
                <a:avLst/>
              </a:prstGeom>
              <a:noFill/>
              <a:ln w="3175">
                <a:solidFill>
                  <a:srgbClr val="EAEAEA"/>
                </a:solidFill>
                <a:round/>
                <a:headEnd type="none" w="sm" len="sm"/>
                <a:tailEnd type="none" w="sm" len="sm"/>
              </a:ln>
            </p:spPr>
            <p:txBody>
              <a:bodyPr wrap="none" anchor="ctr"/>
              <a:lstStyle/>
              <a:p>
                <a:pPr fontAlgn="base">
                  <a:spcBef>
                    <a:spcPct val="0"/>
                  </a:spcBef>
                  <a:spcAft>
                    <a:spcPct val="0"/>
                  </a:spcAft>
                  <a:defRPr/>
                </a:pPr>
                <a:endParaRPr lang="zh-CN" altLang="en-US" dirty="0">
                  <a:solidFill>
                    <a:prstClr val="black"/>
                  </a:solidFill>
                  <a:effectLst>
                    <a:outerShdw blurRad="38100" dist="38100" dir="2700000" algn="tl">
                      <a:srgbClr val="000000">
                        <a:alpha val="43137"/>
                      </a:srgbClr>
                    </a:outerShdw>
                  </a:effectLst>
                  <a:latin typeface="黑体" pitchFamily="49" charset="-122"/>
                </a:endParaRPr>
              </a:p>
            </p:txBody>
          </p:sp>
          <p:sp>
            <p:nvSpPr>
              <p:cNvPr id="119893" name="Line 17"/>
              <p:cNvSpPr>
                <a:spLocks noChangeShapeType="1"/>
              </p:cNvSpPr>
              <p:nvPr/>
            </p:nvSpPr>
            <p:spPr bwMode="auto">
              <a:xfrm>
                <a:off x="2854" y="1824"/>
                <a:ext cx="2622" cy="769"/>
              </a:xfrm>
              <a:prstGeom prst="line">
                <a:avLst/>
              </a:prstGeom>
              <a:noFill/>
              <a:ln w="3175">
                <a:solidFill>
                  <a:srgbClr val="EAEAEA"/>
                </a:solidFill>
                <a:round/>
                <a:headEnd type="none" w="sm" len="sm"/>
                <a:tailEnd type="none" w="sm" len="sm"/>
              </a:ln>
            </p:spPr>
            <p:txBody>
              <a:bodyPr wrap="none" anchor="ctr"/>
              <a:lstStyle/>
              <a:p>
                <a:pPr fontAlgn="base">
                  <a:spcBef>
                    <a:spcPct val="0"/>
                  </a:spcBef>
                  <a:spcAft>
                    <a:spcPct val="0"/>
                  </a:spcAft>
                  <a:defRPr/>
                </a:pPr>
                <a:endParaRPr lang="zh-CN" altLang="en-US" dirty="0">
                  <a:solidFill>
                    <a:prstClr val="black"/>
                  </a:solidFill>
                  <a:effectLst>
                    <a:outerShdw blurRad="38100" dist="38100" dir="2700000" algn="tl">
                      <a:srgbClr val="000000">
                        <a:alpha val="43137"/>
                      </a:srgbClr>
                    </a:outerShdw>
                  </a:effectLst>
                  <a:latin typeface="黑体" pitchFamily="49" charset="-122"/>
                </a:endParaRPr>
              </a:p>
            </p:txBody>
          </p:sp>
          <p:sp>
            <p:nvSpPr>
              <p:cNvPr id="119894" name="Line 18"/>
              <p:cNvSpPr>
                <a:spLocks noChangeShapeType="1"/>
              </p:cNvSpPr>
              <p:nvPr/>
            </p:nvSpPr>
            <p:spPr bwMode="auto">
              <a:xfrm>
                <a:off x="2877" y="1824"/>
                <a:ext cx="2599" cy="640"/>
              </a:xfrm>
              <a:prstGeom prst="line">
                <a:avLst/>
              </a:prstGeom>
              <a:noFill/>
              <a:ln w="3175">
                <a:solidFill>
                  <a:srgbClr val="EAEAEA"/>
                </a:solidFill>
                <a:round/>
                <a:headEnd type="none" w="sm" len="sm"/>
                <a:tailEnd type="none" w="sm" len="sm"/>
              </a:ln>
            </p:spPr>
            <p:txBody>
              <a:bodyPr wrap="none" anchor="ctr"/>
              <a:lstStyle/>
              <a:p>
                <a:pPr fontAlgn="base">
                  <a:spcBef>
                    <a:spcPct val="0"/>
                  </a:spcBef>
                  <a:spcAft>
                    <a:spcPct val="0"/>
                  </a:spcAft>
                  <a:defRPr/>
                </a:pPr>
                <a:endParaRPr lang="zh-CN" altLang="en-US" dirty="0">
                  <a:solidFill>
                    <a:prstClr val="black"/>
                  </a:solidFill>
                  <a:effectLst>
                    <a:outerShdw blurRad="38100" dist="38100" dir="2700000" algn="tl">
                      <a:srgbClr val="000000">
                        <a:alpha val="43137"/>
                      </a:srgbClr>
                    </a:outerShdw>
                  </a:effectLst>
                  <a:latin typeface="黑体" pitchFamily="49" charset="-122"/>
                </a:endParaRPr>
              </a:p>
            </p:txBody>
          </p:sp>
          <p:sp>
            <p:nvSpPr>
              <p:cNvPr id="119895" name="Line 19"/>
              <p:cNvSpPr>
                <a:spLocks noChangeShapeType="1"/>
              </p:cNvSpPr>
              <p:nvPr/>
            </p:nvSpPr>
            <p:spPr bwMode="auto">
              <a:xfrm>
                <a:off x="2854" y="1824"/>
                <a:ext cx="2622" cy="512"/>
              </a:xfrm>
              <a:prstGeom prst="line">
                <a:avLst/>
              </a:prstGeom>
              <a:noFill/>
              <a:ln w="3175">
                <a:solidFill>
                  <a:srgbClr val="EAEAEA"/>
                </a:solidFill>
                <a:round/>
                <a:headEnd type="none" w="sm" len="sm"/>
                <a:tailEnd type="none" w="sm" len="sm"/>
              </a:ln>
            </p:spPr>
            <p:txBody>
              <a:bodyPr wrap="none" anchor="ctr"/>
              <a:lstStyle/>
              <a:p>
                <a:pPr fontAlgn="base">
                  <a:spcBef>
                    <a:spcPct val="0"/>
                  </a:spcBef>
                  <a:spcAft>
                    <a:spcPct val="0"/>
                  </a:spcAft>
                  <a:defRPr/>
                </a:pPr>
                <a:endParaRPr lang="zh-CN" altLang="en-US" dirty="0">
                  <a:solidFill>
                    <a:prstClr val="black"/>
                  </a:solidFill>
                  <a:effectLst>
                    <a:outerShdw blurRad="38100" dist="38100" dir="2700000" algn="tl">
                      <a:srgbClr val="000000">
                        <a:alpha val="43137"/>
                      </a:srgbClr>
                    </a:outerShdw>
                  </a:effectLst>
                  <a:latin typeface="黑体" pitchFamily="49" charset="-122"/>
                </a:endParaRPr>
              </a:p>
            </p:txBody>
          </p:sp>
          <p:sp>
            <p:nvSpPr>
              <p:cNvPr id="119896" name="Line 20"/>
              <p:cNvSpPr>
                <a:spLocks noChangeShapeType="1"/>
              </p:cNvSpPr>
              <p:nvPr/>
            </p:nvSpPr>
            <p:spPr bwMode="auto">
              <a:xfrm>
                <a:off x="2854" y="1824"/>
                <a:ext cx="2622" cy="404"/>
              </a:xfrm>
              <a:prstGeom prst="line">
                <a:avLst/>
              </a:prstGeom>
              <a:noFill/>
              <a:ln w="3175">
                <a:solidFill>
                  <a:srgbClr val="EAEAEA"/>
                </a:solidFill>
                <a:round/>
                <a:headEnd type="none" w="sm" len="sm"/>
                <a:tailEnd type="none" w="sm" len="sm"/>
              </a:ln>
            </p:spPr>
            <p:txBody>
              <a:bodyPr wrap="none" anchor="ctr"/>
              <a:lstStyle/>
              <a:p>
                <a:pPr fontAlgn="base">
                  <a:spcBef>
                    <a:spcPct val="0"/>
                  </a:spcBef>
                  <a:spcAft>
                    <a:spcPct val="0"/>
                  </a:spcAft>
                  <a:defRPr/>
                </a:pPr>
                <a:endParaRPr lang="zh-CN" altLang="en-US" dirty="0">
                  <a:solidFill>
                    <a:prstClr val="black"/>
                  </a:solidFill>
                  <a:effectLst>
                    <a:outerShdw blurRad="38100" dist="38100" dir="2700000" algn="tl">
                      <a:srgbClr val="000000">
                        <a:alpha val="43137"/>
                      </a:srgbClr>
                    </a:outerShdw>
                  </a:effectLst>
                  <a:latin typeface="黑体" pitchFamily="49" charset="-122"/>
                </a:endParaRPr>
              </a:p>
            </p:txBody>
          </p:sp>
          <p:sp>
            <p:nvSpPr>
              <p:cNvPr id="119897" name="Line 21"/>
              <p:cNvSpPr>
                <a:spLocks noChangeShapeType="1"/>
              </p:cNvSpPr>
              <p:nvPr/>
            </p:nvSpPr>
            <p:spPr bwMode="auto">
              <a:xfrm>
                <a:off x="2854" y="1824"/>
                <a:ext cx="2622" cy="299"/>
              </a:xfrm>
              <a:prstGeom prst="line">
                <a:avLst/>
              </a:prstGeom>
              <a:noFill/>
              <a:ln w="3175">
                <a:solidFill>
                  <a:srgbClr val="EAEAEA"/>
                </a:solidFill>
                <a:round/>
                <a:headEnd type="none" w="sm" len="sm"/>
                <a:tailEnd type="none" w="sm" len="sm"/>
              </a:ln>
            </p:spPr>
            <p:txBody>
              <a:bodyPr wrap="none" anchor="ctr"/>
              <a:lstStyle/>
              <a:p>
                <a:pPr fontAlgn="base">
                  <a:spcBef>
                    <a:spcPct val="0"/>
                  </a:spcBef>
                  <a:spcAft>
                    <a:spcPct val="0"/>
                  </a:spcAft>
                  <a:defRPr/>
                </a:pPr>
                <a:endParaRPr lang="zh-CN" altLang="en-US" dirty="0">
                  <a:solidFill>
                    <a:prstClr val="black"/>
                  </a:solidFill>
                  <a:effectLst>
                    <a:outerShdw blurRad="38100" dist="38100" dir="2700000" algn="tl">
                      <a:srgbClr val="000000">
                        <a:alpha val="43137"/>
                      </a:srgbClr>
                    </a:outerShdw>
                  </a:effectLst>
                  <a:latin typeface="黑体" pitchFamily="49" charset="-122"/>
                </a:endParaRPr>
              </a:p>
            </p:txBody>
          </p:sp>
          <p:sp>
            <p:nvSpPr>
              <p:cNvPr id="119898" name="Line 22"/>
              <p:cNvSpPr>
                <a:spLocks noChangeShapeType="1"/>
              </p:cNvSpPr>
              <p:nvPr/>
            </p:nvSpPr>
            <p:spPr bwMode="auto">
              <a:xfrm>
                <a:off x="2854" y="1824"/>
                <a:ext cx="2622" cy="213"/>
              </a:xfrm>
              <a:prstGeom prst="line">
                <a:avLst/>
              </a:prstGeom>
              <a:noFill/>
              <a:ln w="3175">
                <a:solidFill>
                  <a:srgbClr val="EAEAEA"/>
                </a:solidFill>
                <a:round/>
                <a:headEnd type="none" w="sm" len="sm"/>
                <a:tailEnd type="none" w="sm" len="sm"/>
              </a:ln>
            </p:spPr>
            <p:txBody>
              <a:bodyPr wrap="none" anchor="ctr"/>
              <a:lstStyle/>
              <a:p>
                <a:pPr fontAlgn="base">
                  <a:spcBef>
                    <a:spcPct val="0"/>
                  </a:spcBef>
                  <a:spcAft>
                    <a:spcPct val="0"/>
                  </a:spcAft>
                  <a:defRPr/>
                </a:pPr>
                <a:endParaRPr lang="zh-CN" altLang="en-US" dirty="0">
                  <a:solidFill>
                    <a:prstClr val="black"/>
                  </a:solidFill>
                  <a:effectLst>
                    <a:outerShdw blurRad="38100" dist="38100" dir="2700000" algn="tl">
                      <a:srgbClr val="000000">
                        <a:alpha val="43137"/>
                      </a:srgbClr>
                    </a:outerShdw>
                  </a:effectLst>
                  <a:latin typeface="黑体" pitchFamily="49" charset="-122"/>
                </a:endParaRPr>
              </a:p>
            </p:txBody>
          </p:sp>
          <p:sp>
            <p:nvSpPr>
              <p:cNvPr id="119899" name="Line 23"/>
              <p:cNvSpPr>
                <a:spLocks noChangeShapeType="1"/>
              </p:cNvSpPr>
              <p:nvPr/>
            </p:nvSpPr>
            <p:spPr bwMode="auto">
              <a:xfrm>
                <a:off x="2854" y="1824"/>
                <a:ext cx="2622" cy="125"/>
              </a:xfrm>
              <a:prstGeom prst="line">
                <a:avLst/>
              </a:prstGeom>
              <a:noFill/>
              <a:ln w="3175">
                <a:solidFill>
                  <a:srgbClr val="EAEAEA"/>
                </a:solidFill>
                <a:round/>
                <a:headEnd type="none" w="sm" len="sm"/>
                <a:tailEnd type="none" w="sm" len="sm"/>
              </a:ln>
            </p:spPr>
            <p:txBody>
              <a:bodyPr wrap="none" anchor="ctr"/>
              <a:lstStyle/>
              <a:p>
                <a:pPr fontAlgn="base">
                  <a:spcBef>
                    <a:spcPct val="0"/>
                  </a:spcBef>
                  <a:spcAft>
                    <a:spcPct val="0"/>
                  </a:spcAft>
                  <a:defRPr/>
                </a:pPr>
                <a:endParaRPr lang="zh-CN" altLang="en-US" dirty="0">
                  <a:solidFill>
                    <a:prstClr val="black"/>
                  </a:solidFill>
                  <a:effectLst>
                    <a:outerShdw blurRad="38100" dist="38100" dir="2700000" algn="tl">
                      <a:srgbClr val="000000">
                        <a:alpha val="43137"/>
                      </a:srgbClr>
                    </a:outerShdw>
                  </a:effectLst>
                  <a:latin typeface="黑体" pitchFamily="49" charset="-122"/>
                </a:endParaRPr>
              </a:p>
            </p:txBody>
          </p:sp>
          <p:sp>
            <p:nvSpPr>
              <p:cNvPr id="119900" name="Line 24"/>
              <p:cNvSpPr>
                <a:spLocks noChangeShapeType="1"/>
              </p:cNvSpPr>
              <p:nvPr/>
            </p:nvSpPr>
            <p:spPr bwMode="auto">
              <a:xfrm>
                <a:off x="2854" y="1824"/>
                <a:ext cx="2622" cy="62"/>
              </a:xfrm>
              <a:prstGeom prst="line">
                <a:avLst/>
              </a:prstGeom>
              <a:noFill/>
              <a:ln w="3175">
                <a:solidFill>
                  <a:srgbClr val="EAEAEA"/>
                </a:solidFill>
                <a:round/>
                <a:headEnd type="none" w="sm" len="sm"/>
                <a:tailEnd type="none" w="sm" len="sm"/>
              </a:ln>
            </p:spPr>
            <p:txBody>
              <a:bodyPr wrap="none" anchor="ctr"/>
              <a:lstStyle/>
              <a:p>
                <a:pPr fontAlgn="base">
                  <a:spcBef>
                    <a:spcPct val="0"/>
                  </a:spcBef>
                  <a:spcAft>
                    <a:spcPct val="0"/>
                  </a:spcAft>
                  <a:defRPr/>
                </a:pPr>
                <a:endParaRPr lang="zh-CN" altLang="en-US" dirty="0">
                  <a:solidFill>
                    <a:prstClr val="black"/>
                  </a:solidFill>
                  <a:effectLst>
                    <a:outerShdw blurRad="38100" dist="38100" dir="2700000" algn="tl">
                      <a:srgbClr val="000000">
                        <a:alpha val="43137"/>
                      </a:srgbClr>
                    </a:outerShdw>
                  </a:effectLst>
                  <a:latin typeface="黑体" pitchFamily="49" charset="-122"/>
                </a:endParaRPr>
              </a:p>
            </p:txBody>
          </p:sp>
        </p:grpSp>
        <p:grpSp>
          <p:nvGrpSpPr>
            <p:cNvPr id="17" name="Group 25"/>
            <p:cNvGrpSpPr>
              <a:grpSpLocks/>
            </p:cNvGrpSpPr>
            <p:nvPr/>
          </p:nvGrpSpPr>
          <p:grpSpPr bwMode="auto">
            <a:xfrm>
              <a:off x="247" y="4566"/>
              <a:ext cx="1914" cy="1431"/>
              <a:chOff x="235" y="1824"/>
              <a:chExt cx="2619" cy="1882"/>
            </a:xfrm>
          </p:grpSpPr>
          <p:sp>
            <p:nvSpPr>
              <p:cNvPr id="119859" name="Line 26"/>
              <p:cNvSpPr>
                <a:spLocks noChangeShapeType="1"/>
              </p:cNvSpPr>
              <p:nvPr/>
            </p:nvSpPr>
            <p:spPr bwMode="auto">
              <a:xfrm flipH="1">
                <a:off x="235" y="1824"/>
                <a:ext cx="2619" cy="0"/>
              </a:xfrm>
              <a:prstGeom prst="line">
                <a:avLst/>
              </a:prstGeom>
              <a:noFill/>
              <a:ln w="3175">
                <a:solidFill>
                  <a:srgbClr val="EAEAEA"/>
                </a:solidFill>
                <a:round/>
                <a:headEnd type="none" w="sm" len="sm"/>
                <a:tailEnd type="none" w="sm" len="sm"/>
              </a:ln>
            </p:spPr>
            <p:txBody>
              <a:bodyPr wrap="none" anchor="ctr"/>
              <a:lstStyle/>
              <a:p>
                <a:pPr fontAlgn="base">
                  <a:spcBef>
                    <a:spcPct val="0"/>
                  </a:spcBef>
                  <a:spcAft>
                    <a:spcPct val="0"/>
                  </a:spcAft>
                  <a:defRPr/>
                </a:pPr>
                <a:endParaRPr lang="zh-CN" altLang="en-US" dirty="0">
                  <a:solidFill>
                    <a:prstClr val="black"/>
                  </a:solidFill>
                  <a:effectLst>
                    <a:outerShdw blurRad="38100" dist="38100" dir="2700000" algn="tl">
                      <a:srgbClr val="000000">
                        <a:alpha val="43137"/>
                      </a:srgbClr>
                    </a:outerShdw>
                  </a:effectLst>
                  <a:latin typeface="黑体" pitchFamily="49" charset="-122"/>
                </a:endParaRPr>
              </a:p>
            </p:txBody>
          </p:sp>
          <p:sp>
            <p:nvSpPr>
              <p:cNvPr id="119860" name="Line 27"/>
              <p:cNvSpPr>
                <a:spLocks noChangeShapeType="1"/>
              </p:cNvSpPr>
              <p:nvPr/>
            </p:nvSpPr>
            <p:spPr bwMode="auto">
              <a:xfrm flipH="1">
                <a:off x="235" y="1824"/>
                <a:ext cx="2619" cy="1432"/>
              </a:xfrm>
              <a:prstGeom prst="line">
                <a:avLst/>
              </a:prstGeom>
              <a:noFill/>
              <a:ln w="3175">
                <a:solidFill>
                  <a:srgbClr val="EAEAEA"/>
                </a:solidFill>
                <a:round/>
                <a:headEnd type="none" w="sm" len="sm"/>
                <a:tailEnd type="none" w="sm" len="sm"/>
              </a:ln>
            </p:spPr>
            <p:txBody>
              <a:bodyPr wrap="none" anchor="ctr"/>
              <a:lstStyle/>
              <a:p>
                <a:pPr fontAlgn="base">
                  <a:spcBef>
                    <a:spcPct val="0"/>
                  </a:spcBef>
                  <a:spcAft>
                    <a:spcPct val="0"/>
                  </a:spcAft>
                  <a:defRPr/>
                </a:pPr>
                <a:endParaRPr lang="zh-CN" altLang="en-US" dirty="0">
                  <a:solidFill>
                    <a:prstClr val="black"/>
                  </a:solidFill>
                  <a:effectLst>
                    <a:outerShdw blurRad="38100" dist="38100" dir="2700000" algn="tl">
                      <a:srgbClr val="000000">
                        <a:alpha val="43137"/>
                      </a:srgbClr>
                    </a:outerShdw>
                  </a:effectLst>
                  <a:latin typeface="黑体" pitchFamily="49" charset="-122"/>
                </a:endParaRPr>
              </a:p>
            </p:txBody>
          </p:sp>
          <p:sp>
            <p:nvSpPr>
              <p:cNvPr id="119861" name="Line 28"/>
              <p:cNvSpPr>
                <a:spLocks noChangeShapeType="1"/>
              </p:cNvSpPr>
              <p:nvPr/>
            </p:nvSpPr>
            <p:spPr bwMode="auto">
              <a:xfrm flipH="1">
                <a:off x="235" y="1824"/>
                <a:ext cx="2619" cy="1688"/>
              </a:xfrm>
              <a:prstGeom prst="line">
                <a:avLst/>
              </a:prstGeom>
              <a:noFill/>
              <a:ln w="3175">
                <a:solidFill>
                  <a:srgbClr val="EAEAEA"/>
                </a:solidFill>
                <a:round/>
                <a:headEnd type="none" w="sm" len="sm"/>
                <a:tailEnd type="none" w="sm" len="sm"/>
              </a:ln>
            </p:spPr>
            <p:txBody>
              <a:bodyPr wrap="none" anchor="ctr"/>
              <a:lstStyle/>
              <a:p>
                <a:pPr fontAlgn="base">
                  <a:spcBef>
                    <a:spcPct val="0"/>
                  </a:spcBef>
                  <a:spcAft>
                    <a:spcPct val="0"/>
                  </a:spcAft>
                  <a:defRPr/>
                </a:pPr>
                <a:endParaRPr lang="zh-CN" altLang="en-US" dirty="0">
                  <a:solidFill>
                    <a:prstClr val="black"/>
                  </a:solidFill>
                  <a:effectLst>
                    <a:outerShdw blurRad="38100" dist="38100" dir="2700000" algn="tl">
                      <a:srgbClr val="000000">
                        <a:alpha val="43137"/>
                      </a:srgbClr>
                    </a:outerShdw>
                  </a:effectLst>
                  <a:latin typeface="黑体" pitchFamily="49" charset="-122"/>
                </a:endParaRPr>
              </a:p>
            </p:txBody>
          </p:sp>
          <p:sp>
            <p:nvSpPr>
              <p:cNvPr id="119862" name="Line 29"/>
              <p:cNvSpPr>
                <a:spLocks noChangeShapeType="1"/>
              </p:cNvSpPr>
              <p:nvPr/>
            </p:nvSpPr>
            <p:spPr bwMode="auto">
              <a:xfrm flipH="1">
                <a:off x="371" y="1824"/>
                <a:ext cx="2481" cy="1882"/>
              </a:xfrm>
              <a:prstGeom prst="line">
                <a:avLst/>
              </a:prstGeom>
              <a:noFill/>
              <a:ln w="3175">
                <a:solidFill>
                  <a:srgbClr val="EAEAEA"/>
                </a:solidFill>
                <a:round/>
                <a:headEnd type="none" w="sm" len="sm"/>
                <a:tailEnd type="none" w="sm" len="sm"/>
              </a:ln>
            </p:spPr>
            <p:txBody>
              <a:bodyPr wrap="none" anchor="ctr"/>
              <a:lstStyle/>
              <a:p>
                <a:pPr fontAlgn="base">
                  <a:spcBef>
                    <a:spcPct val="0"/>
                  </a:spcBef>
                  <a:spcAft>
                    <a:spcPct val="0"/>
                  </a:spcAft>
                  <a:defRPr/>
                </a:pPr>
                <a:endParaRPr lang="zh-CN" altLang="en-US" dirty="0">
                  <a:solidFill>
                    <a:prstClr val="black"/>
                  </a:solidFill>
                  <a:effectLst>
                    <a:outerShdw blurRad="38100" dist="38100" dir="2700000" algn="tl">
                      <a:srgbClr val="000000">
                        <a:alpha val="43137"/>
                      </a:srgbClr>
                    </a:outerShdw>
                  </a:effectLst>
                  <a:latin typeface="黑体" pitchFamily="49" charset="-122"/>
                </a:endParaRPr>
              </a:p>
            </p:txBody>
          </p:sp>
          <p:sp>
            <p:nvSpPr>
              <p:cNvPr id="119863" name="Line 30"/>
              <p:cNvSpPr>
                <a:spLocks noChangeShapeType="1"/>
              </p:cNvSpPr>
              <p:nvPr/>
            </p:nvSpPr>
            <p:spPr bwMode="auto">
              <a:xfrm flipH="1">
                <a:off x="774" y="1824"/>
                <a:ext cx="2078" cy="1882"/>
              </a:xfrm>
              <a:prstGeom prst="line">
                <a:avLst/>
              </a:prstGeom>
              <a:noFill/>
              <a:ln w="3175">
                <a:solidFill>
                  <a:srgbClr val="EAEAEA"/>
                </a:solidFill>
                <a:round/>
                <a:headEnd type="none" w="sm" len="sm"/>
                <a:tailEnd type="none" w="sm" len="sm"/>
              </a:ln>
            </p:spPr>
            <p:txBody>
              <a:bodyPr wrap="none" anchor="ctr"/>
              <a:lstStyle/>
              <a:p>
                <a:pPr fontAlgn="base">
                  <a:spcBef>
                    <a:spcPct val="0"/>
                  </a:spcBef>
                  <a:spcAft>
                    <a:spcPct val="0"/>
                  </a:spcAft>
                  <a:defRPr/>
                </a:pPr>
                <a:endParaRPr lang="zh-CN" altLang="en-US" dirty="0">
                  <a:solidFill>
                    <a:prstClr val="black"/>
                  </a:solidFill>
                  <a:effectLst>
                    <a:outerShdw blurRad="38100" dist="38100" dir="2700000" algn="tl">
                      <a:srgbClr val="000000">
                        <a:alpha val="43137"/>
                      </a:srgbClr>
                    </a:outerShdw>
                  </a:effectLst>
                  <a:latin typeface="黑体" pitchFamily="49" charset="-122"/>
                </a:endParaRPr>
              </a:p>
            </p:txBody>
          </p:sp>
          <p:sp>
            <p:nvSpPr>
              <p:cNvPr id="119864" name="Line 31"/>
              <p:cNvSpPr>
                <a:spLocks noChangeShapeType="1"/>
              </p:cNvSpPr>
              <p:nvPr/>
            </p:nvSpPr>
            <p:spPr bwMode="auto">
              <a:xfrm flipH="1">
                <a:off x="1153" y="1824"/>
                <a:ext cx="1701" cy="1882"/>
              </a:xfrm>
              <a:prstGeom prst="line">
                <a:avLst/>
              </a:prstGeom>
              <a:noFill/>
              <a:ln w="3175">
                <a:solidFill>
                  <a:srgbClr val="EAEAEA"/>
                </a:solidFill>
                <a:round/>
                <a:headEnd type="none" w="sm" len="sm"/>
                <a:tailEnd type="none" w="sm" len="sm"/>
              </a:ln>
            </p:spPr>
            <p:txBody>
              <a:bodyPr wrap="none" anchor="ctr"/>
              <a:lstStyle/>
              <a:p>
                <a:pPr fontAlgn="base">
                  <a:spcBef>
                    <a:spcPct val="0"/>
                  </a:spcBef>
                  <a:spcAft>
                    <a:spcPct val="0"/>
                  </a:spcAft>
                  <a:defRPr/>
                </a:pPr>
                <a:endParaRPr lang="zh-CN" altLang="en-US" dirty="0">
                  <a:solidFill>
                    <a:prstClr val="black"/>
                  </a:solidFill>
                  <a:effectLst>
                    <a:outerShdw blurRad="38100" dist="38100" dir="2700000" algn="tl">
                      <a:srgbClr val="000000">
                        <a:alpha val="43137"/>
                      </a:srgbClr>
                    </a:outerShdw>
                  </a:effectLst>
                  <a:latin typeface="黑体" pitchFamily="49" charset="-122"/>
                </a:endParaRPr>
              </a:p>
            </p:txBody>
          </p:sp>
          <p:sp>
            <p:nvSpPr>
              <p:cNvPr id="119865" name="Line 32"/>
              <p:cNvSpPr>
                <a:spLocks noChangeShapeType="1"/>
              </p:cNvSpPr>
              <p:nvPr/>
            </p:nvSpPr>
            <p:spPr bwMode="auto">
              <a:xfrm flipH="1">
                <a:off x="1534" y="1824"/>
                <a:ext cx="1320" cy="1882"/>
              </a:xfrm>
              <a:prstGeom prst="line">
                <a:avLst/>
              </a:prstGeom>
              <a:noFill/>
              <a:ln w="3175">
                <a:solidFill>
                  <a:srgbClr val="EAEAEA"/>
                </a:solidFill>
                <a:round/>
                <a:headEnd type="none" w="sm" len="sm"/>
                <a:tailEnd type="none" w="sm" len="sm"/>
              </a:ln>
            </p:spPr>
            <p:txBody>
              <a:bodyPr wrap="none" anchor="ctr"/>
              <a:lstStyle/>
              <a:p>
                <a:pPr fontAlgn="base">
                  <a:spcBef>
                    <a:spcPct val="0"/>
                  </a:spcBef>
                  <a:spcAft>
                    <a:spcPct val="0"/>
                  </a:spcAft>
                  <a:defRPr/>
                </a:pPr>
                <a:endParaRPr lang="zh-CN" altLang="en-US" dirty="0">
                  <a:solidFill>
                    <a:prstClr val="black"/>
                  </a:solidFill>
                  <a:effectLst>
                    <a:outerShdw blurRad="38100" dist="38100" dir="2700000" algn="tl">
                      <a:srgbClr val="000000">
                        <a:alpha val="43137"/>
                      </a:srgbClr>
                    </a:outerShdw>
                  </a:effectLst>
                  <a:latin typeface="黑体" pitchFamily="49" charset="-122"/>
                </a:endParaRPr>
              </a:p>
            </p:txBody>
          </p:sp>
          <p:sp>
            <p:nvSpPr>
              <p:cNvPr id="119866" name="Line 33"/>
              <p:cNvSpPr>
                <a:spLocks noChangeShapeType="1"/>
              </p:cNvSpPr>
              <p:nvPr/>
            </p:nvSpPr>
            <p:spPr bwMode="auto">
              <a:xfrm flipH="1">
                <a:off x="1872" y="1824"/>
                <a:ext cx="981" cy="1882"/>
              </a:xfrm>
              <a:prstGeom prst="line">
                <a:avLst/>
              </a:prstGeom>
              <a:noFill/>
              <a:ln w="3175">
                <a:solidFill>
                  <a:srgbClr val="EAEAEA"/>
                </a:solidFill>
                <a:round/>
                <a:headEnd type="none" w="sm" len="sm"/>
                <a:tailEnd type="none" w="sm" len="sm"/>
              </a:ln>
            </p:spPr>
            <p:txBody>
              <a:bodyPr wrap="none" anchor="ctr"/>
              <a:lstStyle/>
              <a:p>
                <a:pPr fontAlgn="base">
                  <a:spcBef>
                    <a:spcPct val="0"/>
                  </a:spcBef>
                  <a:spcAft>
                    <a:spcPct val="0"/>
                  </a:spcAft>
                  <a:defRPr/>
                </a:pPr>
                <a:endParaRPr lang="zh-CN" altLang="en-US" dirty="0">
                  <a:solidFill>
                    <a:prstClr val="black"/>
                  </a:solidFill>
                  <a:effectLst>
                    <a:outerShdw blurRad="38100" dist="38100" dir="2700000" algn="tl">
                      <a:srgbClr val="000000">
                        <a:alpha val="43137"/>
                      </a:srgbClr>
                    </a:outerShdw>
                  </a:effectLst>
                  <a:latin typeface="黑体" pitchFamily="49" charset="-122"/>
                </a:endParaRPr>
              </a:p>
            </p:txBody>
          </p:sp>
          <p:sp>
            <p:nvSpPr>
              <p:cNvPr id="119867" name="Line 34"/>
              <p:cNvSpPr>
                <a:spLocks noChangeShapeType="1"/>
              </p:cNvSpPr>
              <p:nvPr/>
            </p:nvSpPr>
            <p:spPr bwMode="auto">
              <a:xfrm flipH="1">
                <a:off x="2206" y="1824"/>
                <a:ext cx="648" cy="1882"/>
              </a:xfrm>
              <a:prstGeom prst="line">
                <a:avLst/>
              </a:prstGeom>
              <a:noFill/>
              <a:ln w="3175">
                <a:solidFill>
                  <a:srgbClr val="EAEAEA"/>
                </a:solidFill>
                <a:round/>
                <a:headEnd type="none" w="sm" len="sm"/>
                <a:tailEnd type="none" w="sm" len="sm"/>
              </a:ln>
            </p:spPr>
            <p:txBody>
              <a:bodyPr wrap="none" anchor="ctr"/>
              <a:lstStyle/>
              <a:p>
                <a:pPr fontAlgn="base">
                  <a:spcBef>
                    <a:spcPct val="0"/>
                  </a:spcBef>
                  <a:spcAft>
                    <a:spcPct val="0"/>
                  </a:spcAft>
                  <a:defRPr/>
                </a:pPr>
                <a:endParaRPr lang="zh-CN" altLang="en-US" dirty="0">
                  <a:solidFill>
                    <a:prstClr val="black"/>
                  </a:solidFill>
                  <a:effectLst>
                    <a:outerShdw blurRad="38100" dist="38100" dir="2700000" algn="tl">
                      <a:srgbClr val="000000">
                        <a:alpha val="43137"/>
                      </a:srgbClr>
                    </a:outerShdw>
                  </a:effectLst>
                  <a:latin typeface="黑体" pitchFamily="49" charset="-122"/>
                </a:endParaRPr>
              </a:p>
            </p:txBody>
          </p:sp>
          <p:sp>
            <p:nvSpPr>
              <p:cNvPr id="119868" name="Line 35"/>
              <p:cNvSpPr>
                <a:spLocks noChangeShapeType="1"/>
              </p:cNvSpPr>
              <p:nvPr/>
            </p:nvSpPr>
            <p:spPr bwMode="auto">
              <a:xfrm flipH="1">
                <a:off x="2543" y="1824"/>
                <a:ext cx="311" cy="1882"/>
              </a:xfrm>
              <a:prstGeom prst="line">
                <a:avLst/>
              </a:prstGeom>
              <a:noFill/>
              <a:ln w="3175">
                <a:solidFill>
                  <a:srgbClr val="EAEAEA"/>
                </a:solidFill>
                <a:round/>
                <a:headEnd type="none" w="sm" len="sm"/>
                <a:tailEnd type="none" w="sm" len="sm"/>
              </a:ln>
            </p:spPr>
            <p:txBody>
              <a:bodyPr wrap="none" anchor="ctr"/>
              <a:lstStyle/>
              <a:p>
                <a:pPr fontAlgn="base">
                  <a:spcBef>
                    <a:spcPct val="0"/>
                  </a:spcBef>
                  <a:spcAft>
                    <a:spcPct val="0"/>
                  </a:spcAft>
                  <a:defRPr/>
                </a:pPr>
                <a:endParaRPr lang="zh-CN" altLang="en-US" dirty="0">
                  <a:solidFill>
                    <a:prstClr val="black"/>
                  </a:solidFill>
                  <a:effectLst>
                    <a:outerShdw blurRad="38100" dist="38100" dir="2700000" algn="tl">
                      <a:srgbClr val="000000">
                        <a:alpha val="43137"/>
                      </a:srgbClr>
                    </a:outerShdw>
                  </a:effectLst>
                  <a:latin typeface="黑体" pitchFamily="49" charset="-122"/>
                </a:endParaRPr>
              </a:p>
            </p:txBody>
          </p:sp>
          <p:sp>
            <p:nvSpPr>
              <p:cNvPr id="119869" name="Line 36"/>
              <p:cNvSpPr>
                <a:spLocks noChangeShapeType="1"/>
              </p:cNvSpPr>
              <p:nvPr/>
            </p:nvSpPr>
            <p:spPr bwMode="auto">
              <a:xfrm flipH="1">
                <a:off x="235" y="1824"/>
                <a:ext cx="2619" cy="1238"/>
              </a:xfrm>
              <a:prstGeom prst="line">
                <a:avLst/>
              </a:prstGeom>
              <a:noFill/>
              <a:ln w="3175">
                <a:solidFill>
                  <a:srgbClr val="EAEAEA"/>
                </a:solidFill>
                <a:round/>
                <a:headEnd type="none" w="sm" len="sm"/>
                <a:tailEnd type="none" w="sm" len="sm"/>
              </a:ln>
            </p:spPr>
            <p:txBody>
              <a:bodyPr wrap="none" anchor="ctr"/>
              <a:lstStyle/>
              <a:p>
                <a:pPr fontAlgn="base">
                  <a:spcBef>
                    <a:spcPct val="0"/>
                  </a:spcBef>
                  <a:spcAft>
                    <a:spcPct val="0"/>
                  </a:spcAft>
                  <a:defRPr/>
                </a:pPr>
                <a:endParaRPr lang="zh-CN" altLang="en-US" dirty="0">
                  <a:solidFill>
                    <a:prstClr val="black"/>
                  </a:solidFill>
                  <a:effectLst>
                    <a:outerShdw blurRad="38100" dist="38100" dir="2700000" algn="tl">
                      <a:srgbClr val="000000">
                        <a:alpha val="43137"/>
                      </a:srgbClr>
                    </a:outerShdw>
                  </a:effectLst>
                  <a:latin typeface="黑体" pitchFamily="49" charset="-122"/>
                </a:endParaRPr>
              </a:p>
            </p:txBody>
          </p:sp>
          <p:sp>
            <p:nvSpPr>
              <p:cNvPr id="119870" name="Line 37"/>
              <p:cNvSpPr>
                <a:spLocks noChangeShapeType="1"/>
              </p:cNvSpPr>
              <p:nvPr/>
            </p:nvSpPr>
            <p:spPr bwMode="auto">
              <a:xfrm flipH="1">
                <a:off x="235" y="1824"/>
                <a:ext cx="2619" cy="1067"/>
              </a:xfrm>
              <a:prstGeom prst="line">
                <a:avLst/>
              </a:prstGeom>
              <a:noFill/>
              <a:ln w="3175">
                <a:solidFill>
                  <a:srgbClr val="EAEAEA"/>
                </a:solidFill>
                <a:round/>
                <a:headEnd type="none" w="sm" len="sm"/>
                <a:tailEnd type="none" w="sm" len="sm"/>
              </a:ln>
            </p:spPr>
            <p:txBody>
              <a:bodyPr wrap="none" anchor="ctr"/>
              <a:lstStyle/>
              <a:p>
                <a:pPr fontAlgn="base">
                  <a:spcBef>
                    <a:spcPct val="0"/>
                  </a:spcBef>
                  <a:spcAft>
                    <a:spcPct val="0"/>
                  </a:spcAft>
                  <a:defRPr/>
                </a:pPr>
                <a:endParaRPr lang="zh-CN" altLang="en-US" dirty="0">
                  <a:solidFill>
                    <a:prstClr val="black"/>
                  </a:solidFill>
                  <a:effectLst>
                    <a:outerShdw blurRad="38100" dist="38100" dir="2700000" algn="tl">
                      <a:srgbClr val="000000">
                        <a:alpha val="43137"/>
                      </a:srgbClr>
                    </a:outerShdw>
                  </a:effectLst>
                  <a:latin typeface="黑体" pitchFamily="49" charset="-122"/>
                </a:endParaRPr>
              </a:p>
            </p:txBody>
          </p:sp>
          <p:sp>
            <p:nvSpPr>
              <p:cNvPr id="119871" name="Line 38"/>
              <p:cNvSpPr>
                <a:spLocks noChangeShapeType="1"/>
              </p:cNvSpPr>
              <p:nvPr/>
            </p:nvSpPr>
            <p:spPr bwMode="auto">
              <a:xfrm flipH="1">
                <a:off x="235" y="1824"/>
                <a:ext cx="2619" cy="920"/>
              </a:xfrm>
              <a:prstGeom prst="line">
                <a:avLst/>
              </a:prstGeom>
              <a:noFill/>
              <a:ln w="3175">
                <a:solidFill>
                  <a:srgbClr val="EAEAEA"/>
                </a:solidFill>
                <a:round/>
                <a:headEnd type="none" w="sm" len="sm"/>
                <a:tailEnd type="none" w="sm" len="sm"/>
              </a:ln>
            </p:spPr>
            <p:txBody>
              <a:bodyPr wrap="none" anchor="ctr"/>
              <a:lstStyle/>
              <a:p>
                <a:pPr fontAlgn="base">
                  <a:spcBef>
                    <a:spcPct val="0"/>
                  </a:spcBef>
                  <a:spcAft>
                    <a:spcPct val="0"/>
                  </a:spcAft>
                  <a:defRPr/>
                </a:pPr>
                <a:endParaRPr lang="zh-CN" altLang="en-US" dirty="0">
                  <a:solidFill>
                    <a:prstClr val="black"/>
                  </a:solidFill>
                  <a:effectLst>
                    <a:outerShdw blurRad="38100" dist="38100" dir="2700000" algn="tl">
                      <a:srgbClr val="000000">
                        <a:alpha val="43137"/>
                      </a:srgbClr>
                    </a:outerShdw>
                  </a:effectLst>
                  <a:latin typeface="黑体" pitchFamily="49" charset="-122"/>
                </a:endParaRPr>
              </a:p>
            </p:txBody>
          </p:sp>
          <p:sp>
            <p:nvSpPr>
              <p:cNvPr id="119872" name="Line 39"/>
              <p:cNvSpPr>
                <a:spLocks noChangeShapeType="1"/>
              </p:cNvSpPr>
              <p:nvPr/>
            </p:nvSpPr>
            <p:spPr bwMode="auto">
              <a:xfrm flipH="1">
                <a:off x="235" y="1824"/>
                <a:ext cx="2619" cy="769"/>
              </a:xfrm>
              <a:prstGeom prst="line">
                <a:avLst/>
              </a:prstGeom>
              <a:noFill/>
              <a:ln w="3175">
                <a:solidFill>
                  <a:srgbClr val="EAEAEA"/>
                </a:solidFill>
                <a:round/>
                <a:headEnd type="none" w="sm" len="sm"/>
                <a:tailEnd type="none" w="sm" len="sm"/>
              </a:ln>
            </p:spPr>
            <p:txBody>
              <a:bodyPr wrap="none" anchor="ctr"/>
              <a:lstStyle/>
              <a:p>
                <a:pPr fontAlgn="base">
                  <a:spcBef>
                    <a:spcPct val="0"/>
                  </a:spcBef>
                  <a:spcAft>
                    <a:spcPct val="0"/>
                  </a:spcAft>
                  <a:defRPr/>
                </a:pPr>
                <a:endParaRPr lang="zh-CN" altLang="en-US" dirty="0">
                  <a:solidFill>
                    <a:prstClr val="black"/>
                  </a:solidFill>
                  <a:effectLst>
                    <a:outerShdw blurRad="38100" dist="38100" dir="2700000" algn="tl">
                      <a:srgbClr val="000000">
                        <a:alpha val="43137"/>
                      </a:srgbClr>
                    </a:outerShdw>
                  </a:effectLst>
                  <a:latin typeface="黑体" pitchFamily="49" charset="-122"/>
                </a:endParaRPr>
              </a:p>
            </p:txBody>
          </p:sp>
          <p:sp>
            <p:nvSpPr>
              <p:cNvPr id="119873" name="Line 40"/>
              <p:cNvSpPr>
                <a:spLocks noChangeShapeType="1"/>
              </p:cNvSpPr>
              <p:nvPr/>
            </p:nvSpPr>
            <p:spPr bwMode="auto">
              <a:xfrm flipH="1">
                <a:off x="235" y="1824"/>
                <a:ext cx="2597" cy="640"/>
              </a:xfrm>
              <a:prstGeom prst="line">
                <a:avLst/>
              </a:prstGeom>
              <a:noFill/>
              <a:ln w="3175">
                <a:solidFill>
                  <a:srgbClr val="EAEAEA"/>
                </a:solidFill>
                <a:round/>
                <a:headEnd type="none" w="sm" len="sm"/>
                <a:tailEnd type="none" w="sm" len="sm"/>
              </a:ln>
            </p:spPr>
            <p:txBody>
              <a:bodyPr wrap="none" anchor="ctr"/>
              <a:lstStyle/>
              <a:p>
                <a:pPr fontAlgn="base">
                  <a:spcBef>
                    <a:spcPct val="0"/>
                  </a:spcBef>
                  <a:spcAft>
                    <a:spcPct val="0"/>
                  </a:spcAft>
                  <a:defRPr/>
                </a:pPr>
                <a:endParaRPr lang="zh-CN" altLang="en-US" dirty="0">
                  <a:solidFill>
                    <a:prstClr val="black"/>
                  </a:solidFill>
                  <a:effectLst>
                    <a:outerShdw blurRad="38100" dist="38100" dir="2700000" algn="tl">
                      <a:srgbClr val="000000">
                        <a:alpha val="43137"/>
                      </a:srgbClr>
                    </a:outerShdw>
                  </a:effectLst>
                  <a:latin typeface="黑体" pitchFamily="49" charset="-122"/>
                </a:endParaRPr>
              </a:p>
            </p:txBody>
          </p:sp>
          <p:sp>
            <p:nvSpPr>
              <p:cNvPr id="119874" name="Line 41"/>
              <p:cNvSpPr>
                <a:spLocks noChangeShapeType="1"/>
              </p:cNvSpPr>
              <p:nvPr/>
            </p:nvSpPr>
            <p:spPr bwMode="auto">
              <a:xfrm flipH="1">
                <a:off x="235" y="1824"/>
                <a:ext cx="2619" cy="512"/>
              </a:xfrm>
              <a:prstGeom prst="line">
                <a:avLst/>
              </a:prstGeom>
              <a:noFill/>
              <a:ln w="3175">
                <a:solidFill>
                  <a:srgbClr val="EAEAEA"/>
                </a:solidFill>
                <a:round/>
                <a:headEnd type="none" w="sm" len="sm"/>
                <a:tailEnd type="none" w="sm" len="sm"/>
              </a:ln>
            </p:spPr>
            <p:txBody>
              <a:bodyPr wrap="none" anchor="ctr"/>
              <a:lstStyle/>
              <a:p>
                <a:pPr fontAlgn="base">
                  <a:spcBef>
                    <a:spcPct val="0"/>
                  </a:spcBef>
                  <a:spcAft>
                    <a:spcPct val="0"/>
                  </a:spcAft>
                  <a:defRPr/>
                </a:pPr>
                <a:endParaRPr lang="zh-CN" altLang="en-US" dirty="0">
                  <a:solidFill>
                    <a:prstClr val="black"/>
                  </a:solidFill>
                  <a:effectLst>
                    <a:outerShdw blurRad="38100" dist="38100" dir="2700000" algn="tl">
                      <a:srgbClr val="000000">
                        <a:alpha val="43137"/>
                      </a:srgbClr>
                    </a:outerShdw>
                  </a:effectLst>
                  <a:latin typeface="黑体" pitchFamily="49" charset="-122"/>
                </a:endParaRPr>
              </a:p>
            </p:txBody>
          </p:sp>
          <p:sp>
            <p:nvSpPr>
              <p:cNvPr id="119875" name="Line 42"/>
              <p:cNvSpPr>
                <a:spLocks noChangeShapeType="1"/>
              </p:cNvSpPr>
              <p:nvPr/>
            </p:nvSpPr>
            <p:spPr bwMode="auto">
              <a:xfrm flipH="1">
                <a:off x="235" y="1824"/>
                <a:ext cx="2619" cy="404"/>
              </a:xfrm>
              <a:prstGeom prst="line">
                <a:avLst/>
              </a:prstGeom>
              <a:noFill/>
              <a:ln w="3175">
                <a:solidFill>
                  <a:srgbClr val="EAEAEA"/>
                </a:solidFill>
                <a:round/>
                <a:headEnd type="none" w="sm" len="sm"/>
                <a:tailEnd type="none" w="sm" len="sm"/>
              </a:ln>
            </p:spPr>
            <p:txBody>
              <a:bodyPr wrap="none" anchor="ctr"/>
              <a:lstStyle/>
              <a:p>
                <a:pPr fontAlgn="base">
                  <a:spcBef>
                    <a:spcPct val="0"/>
                  </a:spcBef>
                  <a:spcAft>
                    <a:spcPct val="0"/>
                  </a:spcAft>
                  <a:defRPr/>
                </a:pPr>
                <a:endParaRPr lang="zh-CN" altLang="en-US" dirty="0">
                  <a:solidFill>
                    <a:prstClr val="black"/>
                  </a:solidFill>
                  <a:effectLst>
                    <a:outerShdw blurRad="38100" dist="38100" dir="2700000" algn="tl">
                      <a:srgbClr val="000000">
                        <a:alpha val="43137"/>
                      </a:srgbClr>
                    </a:outerShdw>
                  </a:effectLst>
                  <a:latin typeface="黑体" pitchFamily="49" charset="-122"/>
                </a:endParaRPr>
              </a:p>
            </p:txBody>
          </p:sp>
          <p:sp>
            <p:nvSpPr>
              <p:cNvPr id="119876" name="Line 43"/>
              <p:cNvSpPr>
                <a:spLocks noChangeShapeType="1"/>
              </p:cNvSpPr>
              <p:nvPr/>
            </p:nvSpPr>
            <p:spPr bwMode="auto">
              <a:xfrm flipH="1">
                <a:off x="235" y="1824"/>
                <a:ext cx="2619" cy="299"/>
              </a:xfrm>
              <a:prstGeom prst="line">
                <a:avLst/>
              </a:prstGeom>
              <a:noFill/>
              <a:ln w="3175">
                <a:solidFill>
                  <a:srgbClr val="EAEAEA"/>
                </a:solidFill>
                <a:round/>
                <a:headEnd type="none" w="sm" len="sm"/>
                <a:tailEnd type="none" w="sm" len="sm"/>
              </a:ln>
            </p:spPr>
            <p:txBody>
              <a:bodyPr wrap="none" anchor="ctr"/>
              <a:lstStyle/>
              <a:p>
                <a:pPr fontAlgn="base">
                  <a:spcBef>
                    <a:spcPct val="0"/>
                  </a:spcBef>
                  <a:spcAft>
                    <a:spcPct val="0"/>
                  </a:spcAft>
                  <a:defRPr/>
                </a:pPr>
                <a:endParaRPr lang="zh-CN" altLang="en-US" dirty="0">
                  <a:solidFill>
                    <a:prstClr val="black"/>
                  </a:solidFill>
                  <a:effectLst>
                    <a:outerShdw blurRad="38100" dist="38100" dir="2700000" algn="tl">
                      <a:srgbClr val="000000">
                        <a:alpha val="43137"/>
                      </a:srgbClr>
                    </a:outerShdw>
                  </a:effectLst>
                  <a:latin typeface="黑体" pitchFamily="49" charset="-122"/>
                </a:endParaRPr>
              </a:p>
            </p:txBody>
          </p:sp>
          <p:sp>
            <p:nvSpPr>
              <p:cNvPr id="119877" name="Line 44"/>
              <p:cNvSpPr>
                <a:spLocks noChangeShapeType="1"/>
              </p:cNvSpPr>
              <p:nvPr/>
            </p:nvSpPr>
            <p:spPr bwMode="auto">
              <a:xfrm flipH="1">
                <a:off x="235" y="1824"/>
                <a:ext cx="2619" cy="213"/>
              </a:xfrm>
              <a:prstGeom prst="line">
                <a:avLst/>
              </a:prstGeom>
              <a:noFill/>
              <a:ln w="3175">
                <a:solidFill>
                  <a:srgbClr val="EAEAEA"/>
                </a:solidFill>
                <a:round/>
                <a:headEnd type="none" w="sm" len="sm"/>
                <a:tailEnd type="none" w="sm" len="sm"/>
              </a:ln>
            </p:spPr>
            <p:txBody>
              <a:bodyPr wrap="none" anchor="ctr"/>
              <a:lstStyle/>
              <a:p>
                <a:pPr fontAlgn="base">
                  <a:spcBef>
                    <a:spcPct val="0"/>
                  </a:spcBef>
                  <a:spcAft>
                    <a:spcPct val="0"/>
                  </a:spcAft>
                  <a:defRPr/>
                </a:pPr>
                <a:endParaRPr lang="zh-CN" altLang="en-US" dirty="0">
                  <a:solidFill>
                    <a:prstClr val="black"/>
                  </a:solidFill>
                  <a:effectLst>
                    <a:outerShdw blurRad="38100" dist="38100" dir="2700000" algn="tl">
                      <a:srgbClr val="000000">
                        <a:alpha val="43137"/>
                      </a:srgbClr>
                    </a:outerShdw>
                  </a:effectLst>
                  <a:latin typeface="黑体" pitchFamily="49" charset="-122"/>
                </a:endParaRPr>
              </a:p>
            </p:txBody>
          </p:sp>
          <p:sp>
            <p:nvSpPr>
              <p:cNvPr id="119878" name="Line 45"/>
              <p:cNvSpPr>
                <a:spLocks noChangeShapeType="1"/>
              </p:cNvSpPr>
              <p:nvPr/>
            </p:nvSpPr>
            <p:spPr bwMode="auto">
              <a:xfrm flipH="1">
                <a:off x="235" y="1824"/>
                <a:ext cx="2619" cy="125"/>
              </a:xfrm>
              <a:prstGeom prst="line">
                <a:avLst/>
              </a:prstGeom>
              <a:noFill/>
              <a:ln w="3175">
                <a:solidFill>
                  <a:srgbClr val="EAEAEA"/>
                </a:solidFill>
                <a:round/>
                <a:headEnd type="none" w="sm" len="sm"/>
                <a:tailEnd type="none" w="sm" len="sm"/>
              </a:ln>
            </p:spPr>
            <p:txBody>
              <a:bodyPr wrap="none" anchor="ctr"/>
              <a:lstStyle/>
              <a:p>
                <a:pPr fontAlgn="base">
                  <a:spcBef>
                    <a:spcPct val="0"/>
                  </a:spcBef>
                  <a:spcAft>
                    <a:spcPct val="0"/>
                  </a:spcAft>
                  <a:defRPr/>
                </a:pPr>
                <a:endParaRPr lang="zh-CN" altLang="en-US" dirty="0">
                  <a:solidFill>
                    <a:prstClr val="black"/>
                  </a:solidFill>
                  <a:effectLst>
                    <a:outerShdw blurRad="38100" dist="38100" dir="2700000" algn="tl">
                      <a:srgbClr val="000000">
                        <a:alpha val="43137"/>
                      </a:srgbClr>
                    </a:outerShdw>
                  </a:effectLst>
                  <a:latin typeface="黑体" pitchFamily="49" charset="-122"/>
                </a:endParaRPr>
              </a:p>
            </p:txBody>
          </p:sp>
          <p:sp>
            <p:nvSpPr>
              <p:cNvPr id="119879" name="Line 46"/>
              <p:cNvSpPr>
                <a:spLocks noChangeShapeType="1"/>
              </p:cNvSpPr>
              <p:nvPr/>
            </p:nvSpPr>
            <p:spPr bwMode="auto">
              <a:xfrm flipH="1">
                <a:off x="235" y="1824"/>
                <a:ext cx="2619" cy="62"/>
              </a:xfrm>
              <a:prstGeom prst="line">
                <a:avLst/>
              </a:prstGeom>
              <a:noFill/>
              <a:ln w="3175">
                <a:solidFill>
                  <a:srgbClr val="EAEAEA"/>
                </a:solidFill>
                <a:round/>
                <a:headEnd type="none" w="sm" len="sm"/>
                <a:tailEnd type="none" w="sm" len="sm"/>
              </a:ln>
            </p:spPr>
            <p:txBody>
              <a:bodyPr wrap="none" anchor="ctr"/>
              <a:lstStyle/>
              <a:p>
                <a:pPr fontAlgn="base">
                  <a:spcBef>
                    <a:spcPct val="0"/>
                  </a:spcBef>
                  <a:spcAft>
                    <a:spcPct val="0"/>
                  </a:spcAft>
                  <a:defRPr/>
                </a:pPr>
                <a:endParaRPr lang="zh-CN" altLang="en-US" dirty="0">
                  <a:solidFill>
                    <a:prstClr val="black"/>
                  </a:solidFill>
                  <a:effectLst>
                    <a:outerShdw blurRad="38100" dist="38100" dir="2700000" algn="tl">
                      <a:srgbClr val="000000">
                        <a:alpha val="43137"/>
                      </a:srgbClr>
                    </a:outerShdw>
                  </a:effectLst>
                  <a:latin typeface="黑体" pitchFamily="49" charset="-122"/>
                </a:endParaRPr>
              </a:p>
            </p:txBody>
          </p:sp>
        </p:grpSp>
        <p:grpSp>
          <p:nvGrpSpPr>
            <p:cNvPr id="19" name="Group 47"/>
            <p:cNvGrpSpPr>
              <a:grpSpLocks/>
            </p:cNvGrpSpPr>
            <p:nvPr/>
          </p:nvGrpSpPr>
          <p:grpSpPr bwMode="auto">
            <a:xfrm>
              <a:off x="247" y="4581"/>
              <a:ext cx="3829" cy="1220"/>
              <a:chOff x="235" y="1844"/>
              <a:chExt cx="5241" cy="1605"/>
            </a:xfrm>
          </p:grpSpPr>
          <p:grpSp>
            <p:nvGrpSpPr>
              <p:cNvPr id="20" name="Group 48"/>
              <p:cNvGrpSpPr>
                <a:grpSpLocks/>
              </p:cNvGrpSpPr>
              <p:nvPr/>
            </p:nvGrpSpPr>
            <p:grpSpPr bwMode="auto">
              <a:xfrm>
                <a:off x="235" y="2750"/>
                <a:ext cx="5241" cy="699"/>
                <a:chOff x="235" y="2750"/>
                <a:chExt cx="5241" cy="699"/>
              </a:xfrm>
            </p:grpSpPr>
            <p:sp>
              <p:nvSpPr>
                <p:cNvPr id="119855" name="Line 49"/>
                <p:cNvSpPr>
                  <a:spLocks noChangeShapeType="1"/>
                </p:cNvSpPr>
                <p:nvPr/>
              </p:nvSpPr>
              <p:spPr bwMode="auto">
                <a:xfrm>
                  <a:off x="235" y="3457"/>
                  <a:ext cx="5241" cy="0"/>
                </a:xfrm>
                <a:prstGeom prst="line">
                  <a:avLst/>
                </a:prstGeom>
                <a:noFill/>
                <a:ln w="3175">
                  <a:solidFill>
                    <a:srgbClr val="EAEAEA"/>
                  </a:solidFill>
                  <a:round/>
                  <a:headEnd type="none" w="sm" len="sm"/>
                  <a:tailEnd type="none" w="sm" len="sm"/>
                </a:ln>
              </p:spPr>
              <p:txBody>
                <a:bodyPr wrap="none" anchor="ctr"/>
                <a:lstStyle/>
                <a:p>
                  <a:pPr fontAlgn="base">
                    <a:spcBef>
                      <a:spcPct val="0"/>
                    </a:spcBef>
                    <a:spcAft>
                      <a:spcPct val="0"/>
                    </a:spcAft>
                    <a:defRPr/>
                  </a:pPr>
                  <a:endParaRPr lang="zh-CN" altLang="en-US" dirty="0">
                    <a:solidFill>
                      <a:prstClr val="black"/>
                    </a:solidFill>
                    <a:effectLst>
                      <a:outerShdw blurRad="38100" dist="38100" dir="2700000" algn="tl">
                        <a:srgbClr val="000000">
                          <a:alpha val="43137"/>
                        </a:srgbClr>
                      </a:outerShdw>
                    </a:effectLst>
                    <a:latin typeface="黑体" pitchFamily="49" charset="-122"/>
                  </a:endParaRPr>
                </a:p>
              </p:txBody>
            </p:sp>
            <p:sp>
              <p:nvSpPr>
                <p:cNvPr id="119856" name="Line 50"/>
                <p:cNvSpPr>
                  <a:spLocks noChangeShapeType="1"/>
                </p:cNvSpPr>
                <p:nvPr/>
              </p:nvSpPr>
              <p:spPr bwMode="auto">
                <a:xfrm>
                  <a:off x="235" y="3191"/>
                  <a:ext cx="5241" cy="0"/>
                </a:xfrm>
                <a:prstGeom prst="line">
                  <a:avLst/>
                </a:prstGeom>
                <a:noFill/>
                <a:ln w="3175">
                  <a:solidFill>
                    <a:srgbClr val="EAEAEA"/>
                  </a:solidFill>
                  <a:round/>
                  <a:headEnd type="none" w="sm" len="sm"/>
                  <a:tailEnd type="none" w="sm" len="sm"/>
                </a:ln>
              </p:spPr>
              <p:txBody>
                <a:bodyPr wrap="none" anchor="ctr"/>
                <a:lstStyle/>
                <a:p>
                  <a:pPr fontAlgn="base">
                    <a:spcBef>
                      <a:spcPct val="0"/>
                    </a:spcBef>
                    <a:spcAft>
                      <a:spcPct val="0"/>
                    </a:spcAft>
                    <a:defRPr/>
                  </a:pPr>
                  <a:endParaRPr lang="zh-CN" altLang="en-US" dirty="0">
                    <a:solidFill>
                      <a:prstClr val="black"/>
                    </a:solidFill>
                    <a:effectLst>
                      <a:outerShdw blurRad="38100" dist="38100" dir="2700000" algn="tl">
                        <a:srgbClr val="000000">
                          <a:alpha val="43137"/>
                        </a:srgbClr>
                      </a:outerShdw>
                    </a:effectLst>
                    <a:latin typeface="黑体" pitchFamily="49" charset="-122"/>
                  </a:endParaRPr>
                </a:p>
              </p:txBody>
            </p:sp>
            <p:sp>
              <p:nvSpPr>
                <p:cNvPr id="119857" name="Line 52"/>
                <p:cNvSpPr>
                  <a:spLocks noChangeShapeType="1"/>
                </p:cNvSpPr>
                <p:nvPr/>
              </p:nvSpPr>
              <p:spPr bwMode="auto">
                <a:xfrm>
                  <a:off x="235" y="2751"/>
                  <a:ext cx="5239" cy="0"/>
                </a:xfrm>
                <a:prstGeom prst="line">
                  <a:avLst/>
                </a:prstGeom>
                <a:noFill/>
                <a:ln w="3175">
                  <a:solidFill>
                    <a:srgbClr val="EAEAEA"/>
                  </a:solidFill>
                  <a:round/>
                  <a:headEnd type="none" w="sm" len="sm"/>
                  <a:tailEnd type="none" w="sm" len="sm"/>
                </a:ln>
              </p:spPr>
              <p:txBody>
                <a:bodyPr wrap="none" anchor="ctr"/>
                <a:lstStyle/>
                <a:p>
                  <a:pPr fontAlgn="base">
                    <a:spcBef>
                      <a:spcPct val="0"/>
                    </a:spcBef>
                    <a:spcAft>
                      <a:spcPct val="0"/>
                    </a:spcAft>
                    <a:defRPr/>
                  </a:pPr>
                  <a:endParaRPr lang="zh-CN" altLang="en-US" dirty="0">
                    <a:solidFill>
                      <a:prstClr val="black"/>
                    </a:solidFill>
                    <a:effectLst>
                      <a:outerShdw blurRad="38100" dist="38100" dir="2700000" algn="tl">
                        <a:srgbClr val="000000">
                          <a:alpha val="43137"/>
                        </a:srgbClr>
                      </a:outerShdw>
                    </a:effectLst>
                    <a:latin typeface="黑体" pitchFamily="49" charset="-122"/>
                  </a:endParaRPr>
                </a:p>
              </p:txBody>
            </p:sp>
            <p:sp>
              <p:nvSpPr>
                <p:cNvPr id="119858" name="Line 51"/>
                <p:cNvSpPr>
                  <a:spLocks noChangeShapeType="1"/>
                </p:cNvSpPr>
                <p:nvPr/>
              </p:nvSpPr>
              <p:spPr bwMode="auto">
                <a:xfrm>
                  <a:off x="235" y="2958"/>
                  <a:ext cx="5239" cy="0"/>
                </a:xfrm>
                <a:prstGeom prst="line">
                  <a:avLst/>
                </a:prstGeom>
                <a:noFill/>
                <a:ln w="3175">
                  <a:solidFill>
                    <a:srgbClr val="EAEAEA"/>
                  </a:solidFill>
                  <a:round/>
                  <a:headEnd type="none" w="sm" len="sm"/>
                  <a:tailEnd type="none" w="sm" len="sm"/>
                </a:ln>
              </p:spPr>
              <p:txBody>
                <a:bodyPr wrap="none" anchor="ctr"/>
                <a:lstStyle/>
                <a:p>
                  <a:pPr fontAlgn="base">
                    <a:spcBef>
                      <a:spcPct val="0"/>
                    </a:spcBef>
                    <a:spcAft>
                      <a:spcPct val="0"/>
                    </a:spcAft>
                    <a:defRPr/>
                  </a:pPr>
                  <a:endParaRPr lang="zh-CN" altLang="en-US" dirty="0">
                    <a:solidFill>
                      <a:prstClr val="black"/>
                    </a:solidFill>
                    <a:effectLst>
                      <a:outerShdw blurRad="38100" dist="38100" dir="2700000" algn="tl">
                        <a:srgbClr val="000000">
                          <a:alpha val="43137"/>
                        </a:srgbClr>
                      </a:outerShdw>
                    </a:effectLst>
                    <a:latin typeface="黑体" pitchFamily="49" charset="-122"/>
                  </a:endParaRPr>
                </a:p>
              </p:txBody>
            </p:sp>
          </p:grpSp>
          <p:grpSp>
            <p:nvGrpSpPr>
              <p:cNvPr id="21" name="Group 53"/>
              <p:cNvGrpSpPr>
                <a:grpSpLocks/>
              </p:cNvGrpSpPr>
              <p:nvPr/>
            </p:nvGrpSpPr>
            <p:grpSpPr bwMode="auto">
              <a:xfrm>
                <a:off x="235" y="1844"/>
                <a:ext cx="5241" cy="728"/>
                <a:chOff x="235" y="1844"/>
                <a:chExt cx="5241" cy="728"/>
              </a:xfrm>
            </p:grpSpPr>
            <p:sp>
              <p:nvSpPr>
                <p:cNvPr id="119846" name="Line 54"/>
                <p:cNvSpPr>
                  <a:spLocks noChangeShapeType="1"/>
                </p:cNvSpPr>
                <p:nvPr/>
              </p:nvSpPr>
              <p:spPr bwMode="auto">
                <a:xfrm>
                  <a:off x="235" y="2573"/>
                  <a:ext cx="5241" cy="0"/>
                </a:xfrm>
                <a:prstGeom prst="line">
                  <a:avLst/>
                </a:prstGeom>
                <a:noFill/>
                <a:ln w="3175">
                  <a:solidFill>
                    <a:srgbClr val="EAEAEA"/>
                  </a:solidFill>
                  <a:round/>
                  <a:headEnd type="none" w="sm" len="sm"/>
                  <a:tailEnd type="none" w="sm" len="sm"/>
                </a:ln>
              </p:spPr>
              <p:txBody>
                <a:bodyPr wrap="none" anchor="ctr"/>
                <a:lstStyle/>
                <a:p>
                  <a:pPr fontAlgn="base">
                    <a:spcBef>
                      <a:spcPct val="0"/>
                    </a:spcBef>
                    <a:spcAft>
                      <a:spcPct val="0"/>
                    </a:spcAft>
                    <a:defRPr/>
                  </a:pPr>
                  <a:endParaRPr lang="zh-CN" altLang="en-US" dirty="0">
                    <a:solidFill>
                      <a:prstClr val="black"/>
                    </a:solidFill>
                    <a:effectLst>
                      <a:outerShdw blurRad="38100" dist="38100" dir="2700000" algn="tl">
                        <a:srgbClr val="000000">
                          <a:alpha val="43137"/>
                        </a:srgbClr>
                      </a:outerShdw>
                    </a:effectLst>
                    <a:latin typeface="黑体" pitchFamily="49" charset="-122"/>
                  </a:endParaRPr>
                </a:p>
              </p:txBody>
            </p:sp>
            <p:sp>
              <p:nvSpPr>
                <p:cNvPr id="119847" name="Line 55"/>
                <p:cNvSpPr>
                  <a:spLocks noChangeShapeType="1"/>
                </p:cNvSpPr>
                <p:nvPr/>
              </p:nvSpPr>
              <p:spPr bwMode="auto">
                <a:xfrm flipV="1">
                  <a:off x="235" y="2403"/>
                  <a:ext cx="5241" cy="0"/>
                </a:xfrm>
                <a:prstGeom prst="line">
                  <a:avLst/>
                </a:prstGeom>
                <a:noFill/>
                <a:ln w="3175">
                  <a:solidFill>
                    <a:srgbClr val="EAEAEA"/>
                  </a:solidFill>
                  <a:round/>
                  <a:headEnd type="none" w="sm" len="sm"/>
                  <a:tailEnd type="none" w="sm" len="sm"/>
                </a:ln>
              </p:spPr>
              <p:txBody>
                <a:bodyPr wrap="none" anchor="ctr"/>
                <a:lstStyle/>
                <a:p>
                  <a:pPr fontAlgn="base">
                    <a:spcBef>
                      <a:spcPct val="0"/>
                    </a:spcBef>
                    <a:spcAft>
                      <a:spcPct val="0"/>
                    </a:spcAft>
                    <a:defRPr/>
                  </a:pPr>
                  <a:endParaRPr lang="zh-CN" altLang="en-US" dirty="0">
                    <a:solidFill>
                      <a:prstClr val="black"/>
                    </a:solidFill>
                    <a:effectLst>
                      <a:outerShdw blurRad="38100" dist="38100" dir="2700000" algn="tl">
                        <a:srgbClr val="000000">
                          <a:alpha val="43137"/>
                        </a:srgbClr>
                      </a:outerShdw>
                    </a:effectLst>
                    <a:latin typeface="黑体" pitchFamily="49" charset="-122"/>
                  </a:endParaRPr>
                </a:p>
              </p:txBody>
            </p:sp>
            <p:sp>
              <p:nvSpPr>
                <p:cNvPr id="119848" name="Line 56"/>
                <p:cNvSpPr>
                  <a:spLocks noChangeShapeType="1"/>
                </p:cNvSpPr>
                <p:nvPr/>
              </p:nvSpPr>
              <p:spPr bwMode="auto">
                <a:xfrm>
                  <a:off x="235" y="2245"/>
                  <a:ext cx="5241" cy="7"/>
                </a:xfrm>
                <a:prstGeom prst="line">
                  <a:avLst/>
                </a:prstGeom>
                <a:noFill/>
                <a:ln w="3175">
                  <a:solidFill>
                    <a:srgbClr val="EAEAEA"/>
                  </a:solidFill>
                  <a:round/>
                  <a:headEnd type="none" w="sm" len="sm"/>
                  <a:tailEnd type="none" w="sm" len="sm"/>
                </a:ln>
              </p:spPr>
              <p:txBody>
                <a:bodyPr wrap="none" anchor="ctr"/>
                <a:lstStyle/>
                <a:p>
                  <a:pPr fontAlgn="base">
                    <a:spcBef>
                      <a:spcPct val="0"/>
                    </a:spcBef>
                    <a:spcAft>
                      <a:spcPct val="0"/>
                    </a:spcAft>
                    <a:defRPr/>
                  </a:pPr>
                  <a:endParaRPr lang="zh-CN" altLang="en-US" dirty="0">
                    <a:solidFill>
                      <a:prstClr val="black"/>
                    </a:solidFill>
                    <a:effectLst>
                      <a:outerShdw blurRad="38100" dist="38100" dir="2700000" algn="tl">
                        <a:srgbClr val="000000">
                          <a:alpha val="43137"/>
                        </a:srgbClr>
                      </a:outerShdw>
                    </a:effectLst>
                    <a:latin typeface="黑体" pitchFamily="49" charset="-122"/>
                  </a:endParaRPr>
                </a:p>
              </p:txBody>
            </p:sp>
            <p:sp>
              <p:nvSpPr>
                <p:cNvPr id="119849" name="Line 57"/>
                <p:cNvSpPr>
                  <a:spLocks noChangeShapeType="1"/>
                </p:cNvSpPr>
                <p:nvPr/>
              </p:nvSpPr>
              <p:spPr bwMode="auto">
                <a:xfrm>
                  <a:off x="235" y="2120"/>
                  <a:ext cx="5217" cy="0"/>
                </a:xfrm>
                <a:prstGeom prst="line">
                  <a:avLst/>
                </a:prstGeom>
                <a:noFill/>
                <a:ln w="3175">
                  <a:solidFill>
                    <a:srgbClr val="EAEAEA"/>
                  </a:solidFill>
                  <a:round/>
                  <a:headEnd type="none" w="sm" len="sm"/>
                  <a:tailEnd type="none" w="sm" len="sm"/>
                </a:ln>
              </p:spPr>
              <p:txBody>
                <a:bodyPr wrap="none" anchor="ctr"/>
                <a:lstStyle/>
                <a:p>
                  <a:pPr fontAlgn="base">
                    <a:spcBef>
                      <a:spcPct val="0"/>
                    </a:spcBef>
                    <a:spcAft>
                      <a:spcPct val="0"/>
                    </a:spcAft>
                    <a:defRPr/>
                  </a:pPr>
                  <a:endParaRPr lang="zh-CN" altLang="en-US" dirty="0">
                    <a:solidFill>
                      <a:prstClr val="black"/>
                    </a:solidFill>
                    <a:effectLst>
                      <a:outerShdw blurRad="38100" dist="38100" dir="2700000" algn="tl">
                        <a:srgbClr val="000000">
                          <a:alpha val="43137"/>
                        </a:srgbClr>
                      </a:outerShdw>
                    </a:effectLst>
                    <a:latin typeface="黑体" pitchFamily="49" charset="-122"/>
                  </a:endParaRPr>
                </a:p>
              </p:txBody>
            </p:sp>
            <p:sp>
              <p:nvSpPr>
                <p:cNvPr id="119850" name="Line 58"/>
                <p:cNvSpPr>
                  <a:spLocks noChangeShapeType="1"/>
                </p:cNvSpPr>
                <p:nvPr/>
              </p:nvSpPr>
              <p:spPr bwMode="auto">
                <a:xfrm flipV="1">
                  <a:off x="235" y="2015"/>
                  <a:ext cx="5241" cy="7"/>
                </a:xfrm>
                <a:prstGeom prst="line">
                  <a:avLst/>
                </a:prstGeom>
                <a:noFill/>
                <a:ln w="3175">
                  <a:solidFill>
                    <a:srgbClr val="EAEAEA"/>
                  </a:solidFill>
                  <a:round/>
                  <a:headEnd type="none" w="sm" len="sm"/>
                  <a:tailEnd type="none" w="sm" len="sm"/>
                </a:ln>
              </p:spPr>
              <p:txBody>
                <a:bodyPr wrap="none" anchor="ctr"/>
                <a:lstStyle/>
                <a:p>
                  <a:pPr fontAlgn="base">
                    <a:spcBef>
                      <a:spcPct val="0"/>
                    </a:spcBef>
                    <a:spcAft>
                      <a:spcPct val="0"/>
                    </a:spcAft>
                    <a:defRPr/>
                  </a:pPr>
                  <a:endParaRPr lang="zh-CN" altLang="en-US" dirty="0">
                    <a:solidFill>
                      <a:prstClr val="black"/>
                    </a:solidFill>
                    <a:effectLst>
                      <a:outerShdw blurRad="38100" dist="38100" dir="2700000" algn="tl">
                        <a:srgbClr val="000000">
                          <a:alpha val="43137"/>
                        </a:srgbClr>
                      </a:outerShdw>
                    </a:effectLst>
                    <a:latin typeface="黑体" pitchFamily="49" charset="-122"/>
                  </a:endParaRPr>
                </a:p>
              </p:txBody>
            </p:sp>
            <p:sp>
              <p:nvSpPr>
                <p:cNvPr id="119851" name="Line 59"/>
                <p:cNvSpPr>
                  <a:spLocks noChangeShapeType="1"/>
                </p:cNvSpPr>
                <p:nvPr/>
              </p:nvSpPr>
              <p:spPr bwMode="auto">
                <a:xfrm>
                  <a:off x="235" y="1946"/>
                  <a:ext cx="5241" cy="3"/>
                </a:xfrm>
                <a:prstGeom prst="line">
                  <a:avLst/>
                </a:prstGeom>
                <a:noFill/>
                <a:ln w="3175">
                  <a:solidFill>
                    <a:srgbClr val="EAEAEA"/>
                  </a:solidFill>
                  <a:round/>
                  <a:headEnd type="none" w="sm" len="sm"/>
                  <a:tailEnd type="none" w="sm" len="sm"/>
                </a:ln>
              </p:spPr>
              <p:txBody>
                <a:bodyPr wrap="none" anchor="ctr"/>
                <a:lstStyle/>
                <a:p>
                  <a:pPr fontAlgn="base">
                    <a:spcBef>
                      <a:spcPct val="0"/>
                    </a:spcBef>
                    <a:spcAft>
                      <a:spcPct val="0"/>
                    </a:spcAft>
                    <a:defRPr/>
                  </a:pPr>
                  <a:endParaRPr lang="zh-CN" altLang="en-US" dirty="0">
                    <a:solidFill>
                      <a:prstClr val="black"/>
                    </a:solidFill>
                    <a:effectLst>
                      <a:outerShdw blurRad="38100" dist="38100" dir="2700000" algn="tl">
                        <a:srgbClr val="000000">
                          <a:alpha val="43137"/>
                        </a:srgbClr>
                      </a:outerShdw>
                    </a:effectLst>
                    <a:latin typeface="黑体" pitchFamily="49" charset="-122"/>
                  </a:endParaRPr>
                </a:p>
              </p:txBody>
            </p:sp>
            <p:sp>
              <p:nvSpPr>
                <p:cNvPr id="119852" name="Line 60"/>
                <p:cNvSpPr>
                  <a:spLocks noChangeShapeType="1"/>
                </p:cNvSpPr>
                <p:nvPr/>
              </p:nvSpPr>
              <p:spPr bwMode="auto">
                <a:xfrm flipV="1">
                  <a:off x="235" y="1910"/>
                  <a:ext cx="5241" cy="10"/>
                </a:xfrm>
                <a:prstGeom prst="line">
                  <a:avLst/>
                </a:prstGeom>
                <a:noFill/>
                <a:ln w="3175">
                  <a:solidFill>
                    <a:srgbClr val="EAEAEA"/>
                  </a:solidFill>
                  <a:round/>
                  <a:headEnd type="none" w="sm" len="sm"/>
                  <a:tailEnd type="none" w="sm" len="sm"/>
                </a:ln>
              </p:spPr>
              <p:txBody>
                <a:bodyPr wrap="none" anchor="ctr"/>
                <a:lstStyle/>
                <a:p>
                  <a:pPr fontAlgn="base">
                    <a:spcBef>
                      <a:spcPct val="0"/>
                    </a:spcBef>
                    <a:spcAft>
                      <a:spcPct val="0"/>
                    </a:spcAft>
                    <a:defRPr/>
                  </a:pPr>
                  <a:endParaRPr lang="zh-CN" altLang="en-US" dirty="0">
                    <a:solidFill>
                      <a:prstClr val="black"/>
                    </a:solidFill>
                    <a:effectLst>
                      <a:outerShdw blurRad="38100" dist="38100" dir="2700000" algn="tl">
                        <a:srgbClr val="000000">
                          <a:alpha val="43137"/>
                        </a:srgbClr>
                      </a:outerShdw>
                    </a:effectLst>
                    <a:latin typeface="黑体" pitchFamily="49" charset="-122"/>
                  </a:endParaRPr>
                </a:p>
              </p:txBody>
            </p:sp>
            <p:sp>
              <p:nvSpPr>
                <p:cNvPr id="119853" name="Line 61"/>
                <p:cNvSpPr>
                  <a:spLocks noChangeShapeType="1"/>
                </p:cNvSpPr>
                <p:nvPr/>
              </p:nvSpPr>
              <p:spPr bwMode="auto">
                <a:xfrm>
                  <a:off x="258" y="1867"/>
                  <a:ext cx="5218" cy="0"/>
                </a:xfrm>
                <a:prstGeom prst="line">
                  <a:avLst/>
                </a:prstGeom>
                <a:noFill/>
                <a:ln w="3175">
                  <a:solidFill>
                    <a:srgbClr val="EAEAEA"/>
                  </a:solidFill>
                  <a:round/>
                  <a:headEnd type="none" w="sm" len="sm"/>
                  <a:tailEnd type="none" w="sm" len="sm"/>
                </a:ln>
              </p:spPr>
              <p:txBody>
                <a:bodyPr wrap="none" anchor="ctr"/>
                <a:lstStyle/>
                <a:p>
                  <a:pPr fontAlgn="base">
                    <a:spcBef>
                      <a:spcPct val="0"/>
                    </a:spcBef>
                    <a:spcAft>
                      <a:spcPct val="0"/>
                    </a:spcAft>
                    <a:defRPr/>
                  </a:pPr>
                  <a:endParaRPr lang="zh-CN" altLang="en-US" dirty="0">
                    <a:solidFill>
                      <a:prstClr val="black"/>
                    </a:solidFill>
                    <a:effectLst>
                      <a:outerShdw blurRad="38100" dist="38100" dir="2700000" algn="tl">
                        <a:srgbClr val="000000">
                          <a:alpha val="43137"/>
                        </a:srgbClr>
                      </a:outerShdw>
                    </a:effectLst>
                    <a:latin typeface="黑体" pitchFamily="49" charset="-122"/>
                  </a:endParaRPr>
                </a:p>
              </p:txBody>
            </p:sp>
            <p:sp>
              <p:nvSpPr>
                <p:cNvPr id="119854" name="Line 62"/>
                <p:cNvSpPr>
                  <a:spLocks noChangeShapeType="1"/>
                </p:cNvSpPr>
                <p:nvPr/>
              </p:nvSpPr>
              <p:spPr bwMode="auto">
                <a:xfrm>
                  <a:off x="235" y="1844"/>
                  <a:ext cx="5241" cy="0"/>
                </a:xfrm>
                <a:prstGeom prst="line">
                  <a:avLst/>
                </a:prstGeom>
                <a:noFill/>
                <a:ln w="3175">
                  <a:solidFill>
                    <a:srgbClr val="EAEAEA"/>
                  </a:solidFill>
                  <a:round/>
                  <a:headEnd type="none" w="sm" len="sm"/>
                  <a:tailEnd type="none" w="sm" len="sm"/>
                </a:ln>
              </p:spPr>
              <p:txBody>
                <a:bodyPr wrap="none" anchor="ctr"/>
                <a:lstStyle/>
                <a:p>
                  <a:pPr fontAlgn="base">
                    <a:spcBef>
                      <a:spcPct val="0"/>
                    </a:spcBef>
                    <a:spcAft>
                      <a:spcPct val="0"/>
                    </a:spcAft>
                    <a:defRPr/>
                  </a:pPr>
                  <a:endParaRPr lang="zh-CN" altLang="en-US" dirty="0">
                    <a:solidFill>
                      <a:prstClr val="black"/>
                    </a:solidFill>
                    <a:effectLst>
                      <a:outerShdw blurRad="38100" dist="38100" dir="2700000" algn="tl">
                        <a:srgbClr val="000000">
                          <a:alpha val="43137"/>
                        </a:srgbClr>
                      </a:outerShdw>
                    </a:effectLst>
                    <a:latin typeface="黑体" pitchFamily="49" charset="-122"/>
                  </a:endParaRPr>
                </a:p>
              </p:txBody>
            </p:sp>
          </p:grpSp>
        </p:grpSp>
      </p:grpSp>
      <p:grpSp>
        <p:nvGrpSpPr>
          <p:cNvPr id="22" name="组合 44"/>
          <p:cNvGrpSpPr>
            <a:grpSpLocks noChangeAspect="1"/>
          </p:cNvGrpSpPr>
          <p:nvPr/>
        </p:nvGrpSpPr>
        <p:grpSpPr bwMode="auto">
          <a:xfrm>
            <a:off x="6172200" y="5486400"/>
            <a:ext cx="952500" cy="952500"/>
            <a:chOff x="6306102" y="3041741"/>
            <a:chExt cx="1120804" cy="1120803"/>
          </a:xfrm>
        </p:grpSpPr>
        <p:grpSp>
          <p:nvGrpSpPr>
            <p:cNvPr id="24" name="组合 37"/>
            <p:cNvGrpSpPr>
              <a:grpSpLocks noChangeAspect="1"/>
            </p:cNvGrpSpPr>
            <p:nvPr/>
          </p:nvGrpSpPr>
          <p:grpSpPr bwMode="auto">
            <a:xfrm>
              <a:off x="6306102" y="3041741"/>
              <a:ext cx="1120804" cy="1120803"/>
              <a:chOff x="5339760" y="2299500"/>
              <a:chExt cx="3048000" cy="3048000"/>
            </a:xfrm>
          </p:grpSpPr>
          <p:sp>
            <p:nvSpPr>
              <p:cNvPr id="124" name="椭圆 123"/>
              <p:cNvSpPr/>
              <p:nvPr/>
            </p:nvSpPr>
            <p:spPr>
              <a:xfrm>
                <a:off x="5339760" y="2299500"/>
                <a:ext cx="3048000" cy="3048000"/>
              </a:xfrm>
              <a:prstGeom prst="ellipse">
                <a:avLst/>
              </a:prstGeom>
              <a:noFill/>
              <a:ln w="19050">
                <a:solidFill>
                  <a:srgbClr val="C00000"/>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25" name="椭圆 124"/>
              <p:cNvSpPr>
                <a:spLocks noChangeAspect="1"/>
              </p:cNvSpPr>
              <p:nvPr/>
            </p:nvSpPr>
            <p:spPr>
              <a:xfrm>
                <a:off x="5710602" y="2670342"/>
                <a:ext cx="2352038" cy="2346960"/>
              </a:xfrm>
              <a:prstGeom prst="ellipse">
                <a:avLst/>
              </a:prstGeom>
              <a:solidFill>
                <a:srgbClr val="C00000"/>
              </a:solidFill>
              <a:ln w="76200">
                <a:solidFill>
                  <a:srgbClr val="C00000"/>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pPr fontAlgn="base">
                  <a:spcBef>
                    <a:spcPct val="0"/>
                  </a:spcBef>
                  <a:spcAft>
                    <a:spcPct val="0"/>
                  </a:spcAft>
                  <a:defRPr/>
                </a:pPr>
                <a:endParaRPr lang="zh-CN" altLang="en-US" sz="1600" dirty="0">
                  <a:solidFill>
                    <a:prstClr val="white"/>
                  </a:solidFill>
                  <a:effectLst>
                    <a:outerShdw blurRad="38100" dist="38100" dir="2700000" algn="tl">
                      <a:srgbClr val="000000">
                        <a:alpha val="43137"/>
                      </a:srgbClr>
                    </a:outerShdw>
                  </a:effectLst>
                </a:endParaRPr>
              </a:p>
            </p:txBody>
          </p:sp>
        </p:grpSp>
        <p:sp>
          <p:nvSpPr>
            <p:cNvPr id="119838" name="矩形 179"/>
            <p:cNvSpPr>
              <a:spLocks noChangeArrowheads="1"/>
            </p:cNvSpPr>
            <p:nvPr/>
          </p:nvSpPr>
          <p:spPr bwMode="auto">
            <a:xfrm>
              <a:off x="6519055" y="3178106"/>
              <a:ext cx="764015" cy="760277"/>
            </a:xfrm>
            <a:prstGeom prst="rect">
              <a:avLst/>
            </a:prstGeom>
            <a:noFill/>
            <a:ln w="9525">
              <a:noFill/>
              <a:miter lim="800000"/>
              <a:headEnd/>
              <a:tailEnd/>
            </a:ln>
          </p:spPr>
          <p:txBody>
            <a:bodyPr wrap="none">
              <a:spAutoFit/>
            </a:bodyPr>
            <a:lstStyle/>
            <a:p>
              <a:pPr fontAlgn="base">
                <a:spcBef>
                  <a:spcPct val="0"/>
                </a:spcBef>
                <a:spcAft>
                  <a:spcPct val="0"/>
                </a:spcAft>
                <a:defRPr/>
              </a:pPr>
              <a:r>
                <a:rPr lang="zh-CN" altLang="en-US" b="1" dirty="0">
                  <a:solidFill>
                    <a:prstClr val="white"/>
                  </a:solidFill>
                  <a:effectLst>
                    <a:outerShdw blurRad="38100" dist="38100" dir="2700000" algn="tl">
                      <a:srgbClr val="000000">
                        <a:alpha val="43137"/>
                      </a:srgbClr>
                    </a:outerShdw>
                  </a:effectLst>
                  <a:latin typeface="黑体" pitchFamily="49" charset="-122"/>
                </a:rPr>
                <a:t>受恩</a:t>
              </a:r>
              <a:endParaRPr lang="en-US" altLang="zh-CN" b="1" dirty="0">
                <a:solidFill>
                  <a:prstClr val="white"/>
                </a:solidFill>
                <a:effectLst>
                  <a:outerShdw blurRad="38100" dist="38100" dir="2700000" algn="tl">
                    <a:srgbClr val="000000">
                      <a:alpha val="43137"/>
                    </a:srgbClr>
                  </a:outerShdw>
                </a:effectLst>
                <a:latin typeface="黑体" pitchFamily="49" charset="-122"/>
              </a:endParaRPr>
            </a:p>
            <a:p>
              <a:pPr fontAlgn="base">
                <a:spcBef>
                  <a:spcPct val="0"/>
                </a:spcBef>
                <a:spcAft>
                  <a:spcPct val="0"/>
                </a:spcAft>
                <a:defRPr/>
              </a:pPr>
              <a:r>
                <a:rPr lang="zh-CN" altLang="en-US" b="1" dirty="0">
                  <a:solidFill>
                    <a:prstClr val="white"/>
                  </a:solidFill>
                  <a:effectLst>
                    <a:outerShdw blurRad="38100" dist="38100" dir="2700000" algn="tl">
                      <a:srgbClr val="000000">
                        <a:alpha val="43137"/>
                      </a:srgbClr>
                    </a:outerShdw>
                  </a:effectLst>
                  <a:latin typeface="黑体" pitchFamily="49" charset="-122"/>
                </a:rPr>
                <a:t>必报</a:t>
              </a:r>
            </a:p>
          </p:txBody>
        </p:sp>
      </p:grpSp>
      <p:grpSp>
        <p:nvGrpSpPr>
          <p:cNvPr id="25" name="组合 44"/>
          <p:cNvGrpSpPr>
            <a:grpSpLocks noChangeAspect="1"/>
          </p:cNvGrpSpPr>
          <p:nvPr/>
        </p:nvGrpSpPr>
        <p:grpSpPr bwMode="auto">
          <a:xfrm>
            <a:off x="7696200" y="5486400"/>
            <a:ext cx="952500" cy="952500"/>
            <a:chOff x="6306102" y="3041741"/>
            <a:chExt cx="1120804" cy="1120803"/>
          </a:xfrm>
        </p:grpSpPr>
        <p:grpSp>
          <p:nvGrpSpPr>
            <p:cNvPr id="26" name="组合 37"/>
            <p:cNvGrpSpPr>
              <a:grpSpLocks noChangeAspect="1"/>
            </p:cNvGrpSpPr>
            <p:nvPr/>
          </p:nvGrpSpPr>
          <p:grpSpPr bwMode="auto">
            <a:xfrm>
              <a:off x="6306102" y="3041741"/>
              <a:ext cx="1120804" cy="1120803"/>
              <a:chOff x="5339760" y="2299500"/>
              <a:chExt cx="3048000" cy="3048000"/>
            </a:xfrm>
          </p:grpSpPr>
          <p:sp>
            <p:nvSpPr>
              <p:cNvPr id="129" name="椭圆 128"/>
              <p:cNvSpPr/>
              <p:nvPr/>
            </p:nvSpPr>
            <p:spPr>
              <a:xfrm>
                <a:off x="5339760" y="2299500"/>
                <a:ext cx="3048000" cy="3048000"/>
              </a:xfrm>
              <a:prstGeom prst="ellipse">
                <a:avLst/>
              </a:prstGeom>
              <a:noFill/>
              <a:ln w="19050">
                <a:solidFill>
                  <a:srgbClr val="C00000"/>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30" name="椭圆 129"/>
              <p:cNvSpPr>
                <a:spLocks noChangeAspect="1"/>
              </p:cNvSpPr>
              <p:nvPr/>
            </p:nvSpPr>
            <p:spPr>
              <a:xfrm>
                <a:off x="5710602" y="2670342"/>
                <a:ext cx="2352038" cy="2346960"/>
              </a:xfrm>
              <a:prstGeom prst="ellipse">
                <a:avLst/>
              </a:prstGeom>
              <a:solidFill>
                <a:srgbClr val="C00000"/>
              </a:solidFill>
              <a:ln w="76200">
                <a:solidFill>
                  <a:srgbClr val="C00000"/>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pPr fontAlgn="base">
                  <a:spcBef>
                    <a:spcPct val="0"/>
                  </a:spcBef>
                  <a:spcAft>
                    <a:spcPct val="0"/>
                  </a:spcAft>
                  <a:defRPr/>
                </a:pPr>
                <a:endParaRPr lang="zh-CN" altLang="en-US" sz="1600" dirty="0">
                  <a:solidFill>
                    <a:prstClr val="white"/>
                  </a:solidFill>
                  <a:effectLst>
                    <a:outerShdw blurRad="38100" dist="38100" dir="2700000" algn="tl">
                      <a:srgbClr val="000000">
                        <a:alpha val="43137"/>
                      </a:srgbClr>
                    </a:outerShdw>
                  </a:effectLst>
                </a:endParaRPr>
              </a:p>
            </p:txBody>
          </p:sp>
        </p:grpSp>
        <p:sp>
          <p:nvSpPr>
            <p:cNvPr id="119834" name="矩形 179"/>
            <p:cNvSpPr>
              <a:spLocks noChangeArrowheads="1"/>
            </p:cNvSpPr>
            <p:nvPr/>
          </p:nvSpPr>
          <p:spPr bwMode="auto">
            <a:xfrm>
              <a:off x="6386427" y="3258430"/>
              <a:ext cx="764014" cy="760279"/>
            </a:xfrm>
            <a:prstGeom prst="rect">
              <a:avLst/>
            </a:prstGeom>
            <a:noFill/>
            <a:ln w="9525">
              <a:noFill/>
              <a:miter lim="800000"/>
              <a:headEnd/>
              <a:tailEnd/>
            </a:ln>
          </p:spPr>
          <p:txBody>
            <a:bodyPr wrap="none">
              <a:spAutoFit/>
            </a:bodyPr>
            <a:lstStyle/>
            <a:p>
              <a:pPr fontAlgn="base">
                <a:spcBef>
                  <a:spcPct val="0"/>
                </a:spcBef>
                <a:spcAft>
                  <a:spcPct val="0"/>
                </a:spcAft>
                <a:defRPr/>
              </a:pPr>
              <a:r>
                <a:rPr lang="zh-CN" altLang="en-US" b="1" dirty="0">
                  <a:solidFill>
                    <a:prstClr val="white"/>
                  </a:solidFill>
                  <a:effectLst>
                    <a:outerShdw blurRad="38100" dist="38100" dir="2700000" algn="tl">
                      <a:srgbClr val="000000">
                        <a:alpha val="43137"/>
                      </a:srgbClr>
                    </a:outerShdw>
                  </a:effectLst>
                  <a:latin typeface="黑体" pitchFamily="49" charset="-122"/>
                </a:rPr>
                <a:t>施人</a:t>
              </a:r>
              <a:endParaRPr lang="en-US" altLang="zh-CN" b="1" dirty="0">
                <a:solidFill>
                  <a:prstClr val="white"/>
                </a:solidFill>
                <a:effectLst>
                  <a:outerShdw blurRad="38100" dist="38100" dir="2700000" algn="tl">
                    <a:srgbClr val="000000">
                      <a:alpha val="43137"/>
                    </a:srgbClr>
                  </a:outerShdw>
                </a:effectLst>
                <a:latin typeface="黑体" pitchFamily="49" charset="-122"/>
              </a:endParaRPr>
            </a:p>
            <a:p>
              <a:pPr fontAlgn="base">
                <a:spcBef>
                  <a:spcPct val="0"/>
                </a:spcBef>
                <a:spcAft>
                  <a:spcPct val="0"/>
                </a:spcAft>
                <a:defRPr/>
              </a:pPr>
              <a:r>
                <a:rPr lang="zh-CN" altLang="en-US" b="1" dirty="0">
                  <a:solidFill>
                    <a:prstClr val="white"/>
                  </a:solidFill>
                  <a:effectLst>
                    <a:outerShdw blurRad="38100" dist="38100" dir="2700000" algn="tl">
                      <a:srgbClr val="000000">
                        <a:alpha val="43137"/>
                      </a:srgbClr>
                    </a:outerShdw>
                  </a:effectLst>
                  <a:latin typeface="黑体" pitchFamily="49" charset="-122"/>
                </a:rPr>
                <a:t>勿念</a:t>
              </a:r>
            </a:p>
          </p:txBody>
        </p:sp>
      </p:grpSp>
      <p:graphicFrame>
        <p:nvGraphicFramePr>
          <p:cNvPr id="114" name="图示 113"/>
          <p:cNvGraphicFramePr/>
          <p:nvPr/>
        </p:nvGraphicFramePr>
        <p:xfrm>
          <a:off x="533412" y="762033"/>
          <a:ext cx="6553199" cy="60959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365570" name="Picture 2" descr="http://pic41.nipic.com/20140515/9550225_145210544304_2.jpg"/>
          <p:cNvPicPr>
            <a:picLocks noChangeAspect="1" noChangeArrowheads="1"/>
          </p:cNvPicPr>
          <p:nvPr/>
        </p:nvPicPr>
        <p:blipFill>
          <a:blip r:embed="rId8" cstate="print"/>
          <a:srcRect/>
          <a:stretch>
            <a:fillRect/>
          </a:stretch>
        </p:blipFill>
        <p:spPr bwMode="auto">
          <a:xfrm>
            <a:off x="304800" y="4114806"/>
            <a:ext cx="2198751" cy="1524001"/>
          </a:xfrm>
          <a:prstGeom prst="rect">
            <a:avLst/>
          </a:prstGeom>
          <a:solidFill>
            <a:srgbClr val="FFFFFF">
              <a:shade val="85000"/>
            </a:srgbClr>
          </a:solidFill>
          <a:ln w="1905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365572" name="Picture 4" descr="http://pic60.nipic.com/file/20150210/12967751_140934647000_2.jpg"/>
          <p:cNvPicPr>
            <a:picLocks noChangeAspect="1" noChangeArrowheads="1"/>
          </p:cNvPicPr>
          <p:nvPr/>
        </p:nvPicPr>
        <p:blipFill>
          <a:blip r:embed="rId9" cstate="print"/>
          <a:srcRect/>
          <a:stretch>
            <a:fillRect/>
          </a:stretch>
        </p:blipFill>
        <p:spPr bwMode="auto">
          <a:xfrm>
            <a:off x="3429000" y="2819402"/>
            <a:ext cx="2209800" cy="2428876"/>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sp>
        <p:nvSpPr>
          <p:cNvPr id="119828" name="AutoShape 6" descr="http://img5.imgtn.bdimg.com/it/u=1802616577,3411586058&amp;fm=21&amp;gp=0.jpg"/>
          <p:cNvSpPr>
            <a:spLocks noChangeAspect="1" noChangeArrowheads="1"/>
          </p:cNvSpPr>
          <p:nvPr/>
        </p:nvSpPr>
        <p:spPr bwMode="auto">
          <a:xfrm>
            <a:off x="63500" y="-2755900"/>
            <a:ext cx="5715000" cy="5715000"/>
          </a:xfrm>
          <a:prstGeom prst="rect">
            <a:avLst/>
          </a:prstGeom>
          <a:noFill/>
          <a:ln w="9525">
            <a:noFill/>
            <a:miter lim="800000"/>
            <a:headEnd/>
            <a:tailEnd/>
          </a:ln>
        </p:spPr>
        <p:txBody>
          <a:bodyPr lIns="91389" tIns="45694" rIns="91389" bIns="45694"/>
          <a:lstStyle/>
          <a:p>
            <a:pPr fontAlgn="base">
              <a:spcBef>
                <a:spcPct val="0"/>
              </a:spcBef>
              <a:spcAft>
                <a:spcPct val="0"/>
              </a:spcAft>
              <a:defRPr/>
            </a:pPr>
            <a:endParaRPr lang="zh-CN" altLang="en-US" dirty="0">
              <a:solidFill>
                <a:prstClr val="black"/>
              </a:solidFill>
              <a:effectLst>
                <a:outerShdw blurRad="38100" dist="38100" dir="2700000" algn="tl">
                  <a:srgbClr val="000000">
                    <a:alpha val="43137"/>
                  </a:srgbClr>
                </a:outerShdw>
              </a:effectLst>
              <a:latin typeface="黑体" pitchFamily="49" charset="-122"/>
            </a:endParaRPr>
          </a:p>
        </p:txBody>
      </p:sp>
      <p:pic>
        <p:nvPicPr>
          <p:cNvPr id="365576" name="Picture 8" descr="http://www.36588.com.cn:8080/ImageResourceMongo/UploadedFile/dimension/big/2bb13460-39d3-4fbb-833b-6abd63303ed3.png"/>
          <p:cNvPicPr>
            <a:picLocks noChangeAspect="1" noChangeArrowheads="1"/>
          </p:cNvPicPr>
          <p:nvPr/>
        </p:nvPicPr>
        <p:blipFill>
          <a:blip r:embed="rId10" cstate="print"/>
          <a:srcRect/>
          <a:stretch>
            <a:fillRect/>
          </a:stretch>
        </p:blipFill>
        <p:spPr bwMode="auto">
          <a:xfrm>
            <a:off x="5867400" y="3124200"/>
            <a:ext cx="3048000" cy="2286000"/>
          </a:xfrm>
          <a:prstGeom prst="ellipse">
            <a:avLst/>
          </a:prstGeom>
          <a:ln w="190500" cap="rnd">
            <a:solidFill>
              <a:srgbClr val="C8C6BD"/>
            </a:solidFill>
            <a:prstDash val="solid"/>
          </a:ln>
          <a:effectLst>
            <a:outerShdw blurRad="127000" algn="bl" rotWithShape="0">
              <a:srgbClr val="000000"/>
            </a:outerShdw>
          </a:effectLst>
          <a:scene3d>
            <a:camera prst="perspectiveFront" fov="5400000"/>
            <a:lightRig rig="threePt" dir="t">
              <a:rot lat="0" lon="0" rev="19200000"/>
            </a:lightRig>
          </a:scene3d>
          <a:sp3d extrusionH="25400">
            <a:bevelT w="304800" h="152400" prst="hardEdge"/>
            <a:extrusionClr>
              <a:srgbClr val="000000"/>
            </a:extrusionClr>
          </a:sp3d>
        </p:spPr>
      </p:pic>
      <p:pic>
        <p:nvPicPr>
          <p:cNvPr id="116" name="Picture 6" descr="coop_pic"/>
          <p:cNvPicPr>
            <a:picLocks noChangeAspect="1" noChangeArrowheads="1"/>
          </p:cNvPicPr>
          <p:nvPr/>
        </p:nvPicPr>
        <p:blipFill>
          <a:blip r:embed="rId11" cstate="print"/>
          <a:srcRect/>
          <a:stretch>
            <a:fillRect/>
          </a:stretch>
        </p:blipFill>
        <p:spPr bwMode="auto">
          <a:xfrm>
            <a:off x="228608" y="5257800"/>
            <a:ext cx="2286001" cy="1600200"/>
          </a:xfrm>
          <a:prstGeom prst="rect">
            <a:avLst/>
          </a:prstGeom>
          <a:ln w="190500" cap="sq">
            <a:solidFill>
              <a:srgbClr val="C8C6BD"/>
            </a:solidFill>
            <a:prstDash val="solid"/>
            <a:miter lim="800000"/>
          </a:ln>
          <a:effectLst>
            <a:outerShdw blurRad="254000" algn="bl" rotWithShape="0">
              <a:srgbClr val="000000">
                <a:alpha val="43000"/>
              </a:srgbClr>
            </a:outerShdw>
          </a:effectLst>
          <a:scene3d>
            <a:camera prst="perspectiveFront" fov="5400000"/>
            <a:lightRig rig="threePt" dir="t">
              <a:rot lat="0" lon="0" rev="2100000"/>
            </a:lightRig>
          </a:scene3d>
          <a:sp3d extrusionH="25400">
            <a:bevelT w="304800" h="152400" prst="hardEdge"/>
            <a:extrusionClr>
              <a:srgbClr val="000000"/>
            </a:extrusionClr>
          </a:sp3d>
        </p:spPr>
      </p:pic>
      <p:pic>
        <p:nvPicPr>
          <p:cNvPr id="365591" name="Picture 29" descr="运动边框"/>
          <p:cNvPicPr>
            <a:picLocks noChangeAspect="1" noChangeArrowheads="1" noCrop="1"/>
          </p:cNvPicPr>
          <p:nvPr/>
        </p:nvPicPr>
        <p:blipFill>
          <a:blip r:embed="rId12" cstate="print"/>
          <a:srcRect/>
          <a:stretch>
            <a:fillRect/>
          </a:stretch>
        </p:blipFill>
        <p:spPr bwMode="auto">
          <a:xfrm>
            <a:off x="5715000" y="6486525"/>
            <a:ext cx="3429000" cy="371475"/>
          </a:xfrm>
          <a:prstGeom prst="rect">
            <a:avLst/>
          </a:prstGeom>
          <a:noFill/>
          <a:ln w="9525">
            <a:noFill/>
            <a:miter lim="800000"/>
            <a:headEnd/>
            <a:tailEnd/>
          </a:ln>
        </p:spPr>
      </p:pic>
      <p:sp>
        <p:nvSpPr>
          <p:cNvPr id="119832" name="TextBox 6"/>
          <p:cNvSpPr txBox="1">
            <a:spLocks noChangeArrowheads="1"/>
          </p:cNvSpPr>
          <p:nvPr/>
        </p:nvSpPr>
        <p:spPr bwMode="auto">
          <a:xfrm>
            <a:off x="5791200" y="6488113"/>
            <a:ext cx="3200400" cy="646278"/>
          </a:xfrm>
          <a:prstGeom prst="rect">
            <a:avLst/>
          </a:prstGeom>
          <a:noFill/>
          <a:ln w="9525">
            <a:noFill/>
            <a:miter lim="800000"/>
            <a:headEnd/>
            <a:tailEnd/>
          </a:ln>
        </p:spPr>
        <p:txBody>
          <a:bodyPr lIns="91389" tIns="45694" rIns="91389" bIns="45694">
            <a:spAutoFit/>
          </a:bodyPr>
          <a:lstStyle/>
          <a:p>
            <a:pPr fontAlgn="base">
              <a:spcBef>
                <a:spcPct val="0"/>
              </a:spcBef>
              <a:spcAft>
                <a:spcPct val="0"/>
              </a:spcAft>
              <a:defRPr/>
            </a:pPr>
            <a:r>
              <a:rPr lang="zh-CN" altLang="en-US" b="1" dirty="0">
                <a:solidFill>
                  <a:prstClr val="white"/>
                </a:solidFill>
                <a:effectLst>
                  <a:outerShdw blurRad="38100" dist="38100" dir="2700000" algn="tl">
                    <a:srgbClr val="000000">
                      <a:alpha val="43137"/>
                    </a:srgbClr>
                  </a:outerShdw>
                </a:effectLst>
                <a:latin typeface="黑体" pitchFamily="49" charset="-122"/>
              </a:rPr>
              <a:t>第三节       科学对待人生环境</a:t>
            </a:r>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1000"/>
                                        <p:tgtEl>
                                          <p:spTgt spid="2"/>
                                        </p:tgtEl>
                                      </p:cBhvr>
                                    </p:animEffect>
                                  </p:childTnLst>
                                </p:cTn>
                              </p:par>
                            </p:childTnLst>
                          </p:cTn>
                        </p:par>
                        <p:par>
                          <p:cTn id="8" fill="hold">
                            <p:stCondLst>
                              <p:cond delay="1000"/>
                            </p:stCondLst>
                            <p:childTnLst>
                              <p:par>
                                <p:cTn id="9" presetID="12" presetClass="entr" presetSubtype="1" fill="hold" grpId="0" nodeType="afterEffect">
                                  <p:stCondLst>
                                    <p:cond delay="0"/>
                                  </p:stCondLst>
                                  <p:childTnLst>
                                    <p:set>
                                      <p:cBhvr>
                                        <p:cTn id="10" dur="1" fill="hold">
                                          <p:stCondLst>
                                            <p:cond delay="0"/>
                                          </p:stCondLst>
                                        </p:cTn>
                                        <p:tgtEl>
                                          <p:spTgt spid="114"/>
                                        </p:tgtEl>
                                        <p:attrNameLst>
                                          <p:attrName>style.visibility</p:attrName>
                                        </p:attrNameLst>
                                      </p:cBhvr>
                                      <p:to>
                                        <p:strVal val="visible"/>
                                      </p:to>
                                    </p:set>
                                    <p:animEffect transition="in" filter="slide(fromTop)">
                                      <p:cBhvr>
                                        <p:cTn id="11" dur="500"/>
                                        <p:tgtEl>
                                          <p:spTgt spid="114"/>
                                        </p:tgtEl>
                                      </p:cBhvr>
                                    </p:animEffect>
                                  </p:childTnLst>
                                </p:cTn>
                              </p:par>
                            </p:childTnLst>
                          </p:cTn>
                        </p:par>
                        <p:par>
                          <p:cTn id="12" fill="hold">
                            <p:stCondLst>
                              <p:cond delay="1500"/>
                            </p:stCondLst>
                            <p:childTnLst>
                              <p:par>
                                <p:cTn id="13" presetID="22" presetClass="entr" presetSubtype="2" fill="hold" nodeType="after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wipe(right)">
                                      <p:cBhvr>
                                        <p:cTn id="15" dur="1000"/>
                                        <p:tgtEl>
                                          <p:spTgt spid="5"/>
                                        </p:tgtEl>
                                      </p:cBhvr>
                                    </p:animEffect>
                                  </p:childTnLst>
                                </p:cTn>
                              </p:par>
                            </p:childTnLst>
                          </p:cTn>
                        </p:par>
                        <p:par>
                          <p:cTn id="16" fill="hold">
                            <p:stCondLst>
                              <p:cond delay="2500"/>
                            </p:stCondLst>
                            <p:childTnLst>
                              <p:par>
                                <p:cTn id="17" presetID="22" presetClass="entr" presetSubtype="2" fill="hold" nodeType="afterEffect">
                                  <p:stCondLst>
                                    <p:cond delay="0"/>
                                  </p:stCondLst>
                                  <p:childTnLst>
                                    <p:set>
                                      <p:cBhvr>
                                        <p:cTn id="18" dur="1" fill="hold">
                                          <p:stCondLst>
                                            <p:cond delay="0"/>
                                          </p:stCondLst>
                                        </p:cTn>
                                        <p:tgtEl>
                                          <p:spTgt spid="14"/>
                                        </p:tgtEl>
                                        <p:attrNameLst>
                                          <p:attrName>style.visibility</p:attrName>
                                        </p:attrNameLst>
                                      </p:cBhvr>
                                      <p:to>
                                        <p:strVal val="visible"/>
                                      </p:to>
                                    </p:set>
                                    <p:animEffect transition="in" filter="wipe(right)">
                                      <p:cBhvr>
                                        <p:cTn id="19" dur="1000"/>
                                        <p:tgtEl>
                                          <p:spTgt spid="14"/>
                                        </p:tgtEl>
                                      </p:cBhvr>
                                    </p:animEffect>
                                  </p:childTnLst>
                                </p:cTn>
                              </p:par>
                            </p:childTnLst>
                          </p:cTn>
                        </p:par>
                        <p:par>
                          <p:cTn id="20" fill="hold">
                            <p:stCondLst>
                              <p:cond delay="3500"/>
                            </p:stCondLst>
                            <p:childTnLst>
                              <p:par>
                                <p:cTn id="21" presetID="16" presetClass="entr" presetSubtype="37" fill="hold" grpId="0" nodeType="afterEffect">
                                  <p:stCondLst>
                                    <p:cond delay="0"/>
                                  </p:stCondLst>
                                  <p:childTnLst>
                                    <p:set>
                                      <p:cBhvr>
                                        <p:cTn id="22" dur="1" fill="hold">
                                          <p:stCondLst>
                                            <p:cond delay="0"/>
                                          </p:stCondLst>
                                        </p:cTn>
                                        <p:tgtEl>
                                          <p:spTgt spid="11"/>
                                        </p:tgtEl>
                                        <p:attrNameLst>
                                          <p:attrName>style.visibility</p:attrName>
                                        </p:attrNameLst>
                                      </p:cBhvr>
                                      <p:to>
                                        <p:strVal val="visible"/>
                                      </p:to>
                                    </p:set>
                                    <p:animEffect transition="in" filter="barn(outVertical)">
                                      <p:cBhvr>
                                        <p:cTn id="23" dur="1000"/>
                                        <p:tgtEl>
                                          <p:spTgt spid="11"/>
                                        </p:tgtEl>
                                      </p:cBhvr>
                                    </p:animEffect>
                                  </p:childTnLst>
                                </p:cTn>
                              </p:par>
                              <p:par>
                                <p:cTn id="24" presetID="16" presetClass="entr" presetSubtype="37" fill="hold" nodeType="withEffect">
                                  <p:stCondLst>
                                    <p:cond delay="0"/>
                                  </p:stCondLst>
                                  <p:childTnLst>
                                    <p:set>
                                      <p:cBhvr>
                                        <p:cTn id="25" dur="1" fill="hold">
                                          <p:stCondLst>
                                            <p:cond delay="0"/>
                                          </p:stCondLst>
                                        </p:cTn>
                                        <p:tgtEl>
                                          <p:spTgt spid="12"/>
                                        </p:tgtEl>
                                        <p:attrNameLst>
                                          <p:attrName>style.visibility</p:attrName>
                                        </p:attrNameLst>
                                      </p:cBhvr>
                                      <p:to>
                                        <p:strVal val="visible"/>
                                      </p:to>
                                    </p:set>
                                    <p:animEffect transition="in" filter="barn(outVertical)">
                                      <p:cBhvr>
                                        <p:cTn id="26" dur="1000"/>
                                        <p:tgtEl>
                                          <p:spTgt spid="12"/>
                                        </p:tgtEl>
                                      </p:cBhvr>
                                    </p:animEffect>
                                  </p:childTnLst>
                                </p:cTn>
                              </p:par>
                            </p:childTnLst>
                          </p:cTn>
                        </p:par>
                        <p:par>
                          <p:cTn id="27" fill="hold">
                            <p:stCondLst>
                              <p:cond delay="4500"/>
                            </p:stCondLst>
                            <p:childTnLst>
                              <p:par>
                                <p:cTn id="28" presetID="22" presetClass="entr" presetSubtype="8" fill="hold" nodeType="afterEffect">
                                  <p:stCondLst>
                                    <p:cond delay="0"/>
                                  </p:stCondLst>
                                  <p:childTnLst>
                                    <p:set>
                                      <p:cBhvr>
                                        <p:cTn id="29" dur="1" fill="hold">
                                          <p:stCondLst>
                                            <p:cond delay="0"/>
                                          </p:stCondLst>
                                        </p:cTn>
                                        <p:tgtEl>
                                          <p:spTgt spid="18"/>
                                        </p:tgtEl>
                                        <p:attrNameLst>
                                          <p:attrName>style.visibility</p:attrName>
                                        </p:attrNameLst>
                                      </p:cBhvr>
                                      <p:to>
                                        <p:strVal val="visible"/>
                                      </p:to>
                                    </p:set>
                                    <p:animEffect transition="in" filter="wipe(left)">
                                      <p:cBhvr>
                                        <p:cTn id="30" dur="1000"/>
                                        <p:tgtEl>
                                          <p:spTgt spid="18"/>
                                        </p:tgtEl>
                                      </p:cBhvr>
                                    </p:animEffect>
                                  </p:childTnLst>
                                </p:cTn>
                              </p:par>
                            </p:childTnLst>
                          </p:cTn>
                        </p:par>
                        <p:par>
                          <p:cTn id="31" fill="hold">
                            <p:stCondLst>
                              <p:cond delay="5500"/>
                            </p:stCondLst>
                            <p:childTnLst>
                              <p:par>
                                <p:cTn id="32" presetID="22" presetClass="entr" presetSubtype="8" fill="hold" nodeType="afterEffect">
                                  <p:stCondLst>
                                    <p:cond delay="0"/>
                                  </p:stCondLst>
                                  <p:childTnLst>
                                    <p:set>
                                      <p:cBhvr>
                                        <p:cTn id="33" dur="1" fill="hold">
                                          <p:stCondLst>
                                            <p:cond delay="0"/>
                                          </p:stCondLst>
                                        </p:cTn>
                                        <p:tgtEl>
                                          <p:spTgt spid="6"/>
                                        </p:tgtEl>
                                        <p:attrNameLst>
                                          <p:attrName>style.visibility</p:attrName>
                                        </p:attrNameLst>
                                      </p:cBhvr>
                                      <p:to>
                                        <p:strVal val="visible"/>
                                      </p:to>
                                    </p:set>
                                    <p:animEffect transition="in" filter="wipe(left)">
                                      <p:cBhvr>
                                        <p:cTn id="34" dur="1000"/>
                                        <p:tgtEl>
                                          <p:spTgt spid="6"/>
                                        </p:tgtEl>
                                      </p:cBhvr>
                                    </p:animEffect>
                                  </p:childTnLst>
                                </p:cTn>
                              </p:par>
                            </p:childTnLst>
                          </p:cTn>
                        </p:par>
                        <p:par>
                          <p:cTn id="35" fill="hold">
                            <p:stCondLst>
                              <p:cond delay="6500"/>
                            </p:stCondLst>
                            <p:childTnLst>
                              <p:par>
                                <p:cTn id="36" presetID="22" presetClass="entr" presetSubtype="1" fill="hold" nodeType="afterEffect">
                                  <p:stCondLst>
                                    <p:cond delay="0"/>
                                  </p:stCondLst>
                                  <p:childTnLst>
                                    <p:set>
                                      <p:cBhvr>
                                        <p:cTn id="37" dur="1" fill="hold">
                                          <p:stCondLst>
                                            <p:cond delay="0"/>
                                          </p:stCondLst>
                                        </p:cTn>
                                        <p:tgtEl>
                                          <p:spTgt spid="15"/>
                                        </p:tgtEl>
                                        <p:attrNameLst>
                                          <p:attrName>style.visibility</p:attrName>
                                        </p:attrNameLst>
                                      </p:cBhvr>
                                      <p:to>
                                        <p:strVal val="visible"/>
                                      </p:to>
                                    </p:set>
                                    <p:animEffect transition="in" filter="wipe(up)">
                                      <p:cBhvr>
                                        <p:cTn id="38" dur="500"/>
                                        <p:tgtEl>
                                          <p:spTgt spid="15"/>
                                        </p:tgtEl>
                                      </p:cBhvr>
                                    </p:animEffect>
                                  </p:childTnLst>
                                </p:cTn>
                              </p:par>
                            </p:childTnLst>
                          </p:cTn>
                        </p:par>
                      </p:childTnLst>
                    </p:cTn>
                  </p:par>
                  <p:par>
                    <p:cTn id="39" fill="hold">
                      <p:stCondLst>
                        <p:cond delay="indefinite"/>
                      </p:stCondLst>
                      <p:childTnLst>
                        <p:par>
                          <p:cTn id="40" fill="hold">
                            <p:stCondLst>
                              <p:cond delay="0"/>
                            </p:stCondLst>
                            <p:childTnLst>
                              <p:par>
                                <p:cTn id="41" presetID="5" presetClass="entr" presetSubtype="10" fill="hold" nodeType="clickEffect">
                                  <p:stCondLst>
                                    <p:cond delay="0"/>
                                  </p:stCondLst>
                                  <p:childTnLst>
                                    <p:set>
                                      <p:cBhvr>
                                        <p:cTn id="42" dur="1" fill="hold">
                                          <p:stCondLst>
                                            <p:cond delay="0"/>
                                          </p:stCondLst>
                                        </p:cTn>
                                        <p:tgtEl>
                                          <p:spTgt spid="365572"/>
                                        </p:tgtEl>
                                        <p:attrNameLst>
                                          <p:attrName>style.visibility</p:attrName>
                                        </p:attrNameLst>
                                      </p:cBhvr>
                                      <p:to>
                                        <p:strVal val="visible"/>
                                      </p:to>
                                    </p:set>
                                    <p:animEffect transition="in" filter="checkerboard(across)">
                                      <p:cBhvr>
                                        <p:cTn id="43" dur="500"/>
                                        <p:tgtEl>
                                          <p:spTgt spid="365572"/>
                                        </p:tgtEl>
                                      </p:cBhvr>
                                    </p:animEffect>
                                  </p:childTnLst>
                                </p:cTn>
                              </p:par>
                            </p:childTnLst>
                          </p:cTn>
                        </p:par>
                        <p:par>
                          <p:cTn id="44" fill="hold">
                            <p:stCondLst>
                              <p:cond delay="500"/>
                            </p:stCondLst>
                            <p:childTnLst>
                              <p:par>
                                <p:cTn id="45" presetID="12" presetClass="entr" presetSubtype="4" fill="hold" grpId="0" nodeType="afterEffect">
                                  <p:stCondLst>
                                    <p:cond delay="0"/>
                                  </p:stCondLst>
                                  <p:childTnLst>
                                    <p:set>
                                      <p:cBhvr>
                                        <p:cTn id="46" dur="1" fill="hold">
                                          <p:stCondLst>
                                            <p:cond delay="0"/>
                                          </p:stCondLst>
                                        </p:cTn>
                                        <p:tgtEl>
                                          <p:spTgt spid="13"/>
                                        </p:tgtEl>
                                        <p:attrNameLst>
                                          <p:attrName>style.visibility</p:attrName>
                                        </p:attrNameLst>
                                      </p:cBhvr>
                                      <p:to>
                                        <p:strVal val="visible"/>
                                      </p:to>
                                    </p:set>
                                    <p:animEffect transition="in" filter="slide(fromBottom)">
                                      <p:cBhvr>
                                        <p:cTn id="47" dur="1000"/>
                                        <p:tgtEl>
                                          <p:spTgt spid="13"/>
                                        </p:tgtEl>
                                      </p:cBhvr>
                                    </p:animEffect>
                                  </p:childTnLst>
                                </p:cTn>
                              </p:par>
                            </p:childTnLst>
                          </p:cTn>
                        </p:par>
                        <p:par>
                          <p:cTn id="48" fill="hold">
                            <p:stCondLst>
                              <p:cond delay="1500"/>
                            </p:stCondLst>
                            <p:childTnLst>
                              <p:par>
                                <p:cTn id="49" presetID="3" presetClass="entr" presetSubtype="10" fill="hold" nodeType="afterEffect">
                                  <p:stCondLst>
                                    <p:cond delay="0"/>
                                  </p:stCondLst>
                                  <p:childTnLst>
                                    <p:set>
                                      <p:cBhvr>
                                        <p:cTn id="50" dur="1" fill="hold">
                                          <p:stCondLst>
                                            <p:cond delay="0"/>
                                          </p:stCondLst>
                                        </p:cTn>
                                        <p:tgtEl>
                                          <p:spTgt spid="10"/>
                                        </p:tgtEl>
                                        <p:attrNameLst>
                                          <p:attrName>style.visibility</p:attrName>
                                        </p:attrNameLst>
                                      </p:cBhvr>
                                      <p:to>
                                        <p:strVal val="visible"/>
                                      </p:to>
                                    </p:set>
                                    <p:animEffect transition="in" filter="blinds(horizontal)">
                                      <p:cBhvr>
                                        <p:cTn id="51" dur="500"/>
                                        <p:tgtEl>
                                          <p:spTgt spid="10"/>
                                        </p:tgtEl>
                                      </p:cBhvr>
                                    </p:animEffect>
                                  </p:childTnLst>
                                </p:cTn>
                              </p:par>
                            </p:childTnLst>
                          </p:cTn>
                        </p:par>
                        <p:par>
                          <p:cTn id="52" fill="hold">
                            <p:stCondLst>
                              <p:cond delay="2000"/>
                            </p:stCondLst>
                            <p:childTnLst>
                              <p:par>
                                <p:cTn id="53" presetID="3" presetClass="entr" presetSubtype="10" fill="hold" nodeType="afterEffect">
                                  <p:stCondLst>
                                    <p:cond delay="0"/>
                                  </p:stCondLst>
                                  <p:childTnLst>
                                    <p:set>
                                      <p:cBhvr>
                                        <p:cTn id="54" dur="1" fill="hold">
                                          <p:stCondLst>
                                            <p:cond delay="0"/>
                                          </p:stCondLst>
                                        </p:cTn>
                                        <p:tgtEl>
                                          <p:spTgt spid="9"/>
                                        </p:tgtEl>
                                        <p:attrNameLst>
                                          <p:attrName>style.visibility</p:attrName>
                                        </p:attrNameLst>
                                      </p:cBhvr>
                                      <p:to>
                                        <p:strVal val="visible"/>
                                      </p:to>
                                    </p:set>
                                    <p:animEffect transition="in" filter="blinds(horizontal)">
                                      <p:cBhvr>
                                        <p:cTn id="55" dur="500"/>
                                        <p:tgtEl>
                                          <p:spTgt spid="9"/>
                                        </p:tgtEl>
                                      </p:cBhvr>
                                    </p:animEffect>
                                  </p:childTnLst>
                                </p:cTn>
                              </p:par>
                            </p:childTnLst>
                          </p:cTn>
                        </p:par>
                        <p:par>
                          <p:cTn id="56" fill="hold">
                            <p:stCondLst>
                              <p:cond delay="2500"/>
                            </p:stCondLst>
                            <p:childTnLst>
                              <p:par>
                                <p:cTn id="57" presetID="9" presetClass="entr" presetSubtype="0" fill="hold" nodeType="afterEffect">
                                  <p:stCondLst>
                                    <p:cond delay="0"/>
                                  </p:stCondLst>
                                  <p:childTnLst>
                                    <p:set>
                                      <p:cBhvr>
                                        <p:cTn id="58" dur="1" fill="hold">
                                          <p:stCondLst>
                                            <p:cond delay="0"/>
                                          </p:stCondLst>
                                        </p:cTn>
                                        <p:tgtEl>
                                          <p:spTgt spid="22"/>
                                        </p:tgtEl>
                                        <p:attrNameLst>
                                          <p:attrName>style.visibility</p:attrName>
                                        </p:attrNameLst>
                                      </p:cBhvr>
                                      <p:to>
                                        <p:strVal val="visible"/>
                                      </p:to>
                                    </p:set>
                                    <p:animEffect transition="in" filter="dissolve">
                                      <p:cBhvr>
                                        <p:cTn id="59" dur="1000"/>
                                        <p:tgtEl>
                                          <p:spTgt spid="22"/>
                                        </p:tgtEl>
                                      </p:cBhvr>
                                    </p:animEffect>
                                  </p:childTnLst>
                                </p:cTn>
                              </p:par>
                            </p:childTnLst>
                          </p:cTn>
                        </p:par>
                        <p:par>
                          <p:cTn id="60" fill="hold">
                            <p:stCondLst>
                              <p:cond delay="3500"/>
                            </p:stCondLst>
                            <p:childTnLst>
                              <p:par>
                                <p:cTn id="61" presetID="9" presetClass="entr" presetSubtype="0" fill="hold" nodeType="afterEffect">
                                  <p:stCondLst>
                                    <p:cond delay="0"/>
                                  </p:stCondLst>
                                  <p:childTnLst>
                                    <p:set>
                                      <p:cBhvr>
                                        <p:cTn id="62" dur="1" fill="hold">
                                          <p:stCondLst>
                                            <p:cond delay="0"/>
                                          </p:stCondLst>
                                        </p:cTn>
                                        <p:tgtEl>
                                          <p:spTgt spid="25"/>
                                        </p:tgtEl>
                                        <p:attrNameLst>
                                          <p:attrName>style.visibility</p:attrName>
                                        </p:attrNameLst>
                                      </p:cBhvr>
                                      <p:to>
                                        <p:strVal val="visible"/>
                                      </p:to>
                                    </p:set>
                                    <p:animEffect transition="in" filter="dissolve">
                                      <p:cBhvr>
                                        <p:cTn id="63" dur="10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3" grpId="0"/>
      <p:bldGraphic spid="114" grpId="0">
        <p:bldAsOne/>
      </p:bldGraphic>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6594" name="标题 1"/>
          <p:cNvSpPr>
            <a:spLocks noGrp="1"/>
          </p:cNvSpPr>
          <p:nvPr>
            <p:ph type="title"/>
          </p:nvPr>
        </p:nvSpPr>
        <p:spPr>
          <a:xfrm>
            <a:off x="457200" y="277813"/>
            <a:ext cx="6172200" cy="1143000"/>
          </a:xfrm>
        </p:spPr>
        <p:txBody>
          <a:bodyPr/>
          <a:lstStyle/>
          <a:p>
            <a:r>
              <a:rPr lang="zh-CN" altLang="en-US" smtClean="0">
                <a:solidFill>
                  <a:srgbClr val="002060"/>
                </a:solidFill>
                <a:effectLst/>
              </a:rPr>
              <a:t>俞敏洪</a:t>
            </a:r>
          </a:p>
        </p:txBody>
      </p:sp>
      <p:sp>
        <p:nvSpPr>
          <p:cNvPr id="3" name="文本占位符 2"/>
          <p:cNvSpPr>
            <a:spLocks noGrp="1"/>
          </p:cNvSpPr>
          <p:nvPr>
            <p:ph type="body" sz="half" idx="1"/>
          </p:nvPr>
        </p:nvSpPr>
        <p:spPr>
          <a:xfrm>
            <a:off x="457200" y="1600200"/>
            <a:ext cx="4343400" cy="4530725"/>
          </a:xfrm>
        </p:spPr>
        <p:txBody>
          <a:bodyPr/>
          <a:lstStyle/>
          <a:p>
            <a:pPr marL="342708" indent="-342708">
              <a:defRPr/>
            </a:pPr>
            <a:r>
              <a:rPr lang="en-US" altLang="zh-CN" sz="2000" b="1" dirty="0" smtClean="0">
                <a:ea typeface="黑体" pitchFamily="49" charset="-122"/>
              </a:rPr>
              <a:t>1993</a:t>
            </a:r>
            <a:r>
              <a:rPr lang="zh-CN" altLang="en-US" sz="2000" b="1" dirty="0" smtClean="0">
                <a:ea typeface="黑体" pitchFamily="49" charset="-122"/>
              </a:rPr>
              <a:t>年创办北京新东方学校</a:t>
            </a:r>
            <a:endParaRPr lang="en-US" altLang="zh-CN" sz="2000" b="1" dirty="0" smtClean="0">
              <a:ea typeface="黑体" pitchFamily="49" charset="-122"/>
            </a:endParaRPr>
          </a:p>
          <a:p>
            <a:pPr marL="342708" indent="-342708">
              <a:defRPr/>
            </a:pPr>
            <a:r>
              <a:rPr lang="en-US" altLang="zh-CN" sz="2000" b="1" dirty="0" smtClean="0">
                <a:ea typeface="黑体" pitchFamily="49" charset="-122"/>
              </a:rPr>
              <a:t>2006</a:t>
            </a:r>
            <a:r>
              <a:rPr lang="zh-CN" altLang="en-US" sz="2000" b="1" dirty="0" smtClean="0">
                <a:ea typeface="黑体" pitchFamily="49" charset="-122"/>
              </a:rPr>
              <a:t>年带领新东方在美国纽约证交所上市</a:t>
            </a:r>
            <a:endParaRPr lang="en-US" altLang="zh-CN" sz="2000" b="1" dirty="0" smtClean="0">
              <a:ea typeface="黑体" pitchFamily="49" charset="-122"/>
            </a:endParaRPr>
          </a:p>
          <a:p>
            <a:pPr marL="342708" indent="-342708">
              <a:defRPr/>
            </a:pPr>
            <a:r>
              <a:rPr lang="en-US" altLang="zh-CN" sz="2000" b="1" dirty="0" smtClean="0">
                <a:ea typeface="黑体" pitchFamily="49" charset="-122"/>
              </a:rPr>
              <a:t>2009</a:t>
            </a:r>
            <a:r>
              <a:rPr lang="zh-CN" altLang="en-US" sz="2000" b="1" dirty="0" smtClean="0">
                <a:ea typeface="黑体" pitchFamily="49" charset="-122"/>
              </a:rPr>
              <a:t>年获得</a:t>
            </a:r>
            <a:r>
              <a:rPr lang="en-US" altLang="zh-CN" sz="2000" b="1" dirty="0" smtClean="0">
                <a:ea typeface="黑体" pitchFamily="49" charset="-122"/>
              </a:rPr>
              <a:t>CCTV</a:t>
            </a:r>
            <a:r>
              <a:rPr lang="zh-CN" altLang="en-US" sz="2000" b="1" dirty="0" smtClean="0">
                <a:ea typeface="黑体" pitchFamily="49" charset="-122"/>
              </a:rPr>
              <a:t>年度经济人物</a:t>
            </a:r>
            <a:endParaRPr lang="en-US" altLang="zh-CN" sz="2000" b="1" baseline="30000" dirty="0" smtClean="0">
              <a:ea typeface="黑体" pitchFamily="49" charset="-122"/>
            </a:endParaRPr>
          </a:p>
          <a:p>
            <a:pPr marL="342708" indent="-342708">
              <a:defRPr/>
            </a:pPr>
            <a:r>
              <a:rPr lang="en-US" altLang="zh-CN" sz="2000" b="1" dirty="0" smtClean="0">
                <a:ea typeface="黑体" pitchFamily="49" charset="-122"/>
              </a:rPr>
              <a:t>2012</a:t>
            </a:r>
            <a:r>
              <a:rPr lang="zh-CN" altLang="en-US" sz="2000" b="1" dirty="0" smtClean="0">
                <a:ea typeface="黑体" pitchFamily="49" charset="-122"/>
              </a:rPr>
              <a:t>年获得中国最具影响力的</a:t>
            </a:r>
            <a:r>
              <a:rPr lang="en-US" altLang="zh-CN" sz="2000" b="1" dirty="0" smtClean="0">
                <a:ea typeface="黑体" pitchFamily="49" charset="-122"/>
              </a:rPr>
              <a:t>50</a:t>
            </a:r>
            <a:r>
              <a:rPr lang="zh-CN" altLang="en-US" sz="2000" b="1" dirty="0" smtClean="0">
                <a:ea typeface="黑体" pitchFamily="49" charset="-122"/>
              </a:rPr>
              <a:t>位商界领袖</a:t>
            </a:r>
            <a:endParaRPr lang="en-US" altLang="zh-CN" sz="2000" b="1" dirty="0" smtClean="0">
              <a:ea typeface="黑体" pitchFamily="49" charset="-122"/>
            </a:endParaRPr>
          </a:p>
          <a:p>
            <a:pPr marL="342708" indent="-342708">
              <a:defRPr/>
            </a:pPr>
            <a:r>
              <a:rPr lang="en-US" altLang="zh-CN" sz="2000" b="1" dirty="0" smtClean="0">
                <a:ea typeface="黑体" pitchFamily="49" charset="-122"/>
              </a:rPr>
              <a:t>2014</a:t>
            </a:r>
            <a:r>
              <a:rPr lang="zh-CN" altLang="en-US" sz="2000" b="1" dirty="0" smtClean="0">
                <a:ea typeface="黑体" pitchFamily="49" charset="-122"/>
              </a:rPr>
              <a:t>年</a:t>
            </a:r>
            <a:r>
              <a:rPr lang="en-US" altLang="zh-CN" sz="2000" b="1" dirty="0" smtClean="0">
                <a:ea typeface="黑体" pitchFamily="49" charset="-122"/>
              </a:rPr>
              <a:t>11</a:t>
            </a:r>
            <a:r>
              <a:rPr lang="zh-CN" altLang="en-US" sz="2000" b="1" dirty="0" smtClean="0">
                <a:ea typeface="黑体" pitchFamily="49" charset="-122"/>
              </a:rPr>
              <a:t>月</a:t>
            </a:r>
            <a:r>
              <a:rPr lang="en-US" altLang="zh-CN" sz="2000" b="1" dirty="0" smtClean="0">
                <a:ea typeface="黑体" pitchFamily="49" charset="-122"/>
              </a:rPr>
              <a:t>26</a:t>
            </a:r>
            <a:r>
              <a:rPr lang="zh-CN" altLang="en-US" sz="2000" b="1" dirty="0" smtClean="0">
                <a:ea typeface="黑体" pitchFamily="49" charset="-122"/>
              </a:rPr>
              <a:t>日，携手华泰联合证券前董事长盛希泰共同创立洪泰基金。</a:t>
            </a:r>
            <a:endParaRPr lang="en-US" altLang="zh-CN" sz="2000" b="1" baseline="30000" dirty="0" smtClean="0">
              <a:ea typeface="黑体" pitchFamily="49" charset="-122"/>
            </a:endParaRPr>
          </a:p>
          <a:p>
            <a:pPr marL="342708" indent="-342708">
              <a:defRPr/>
            </a:pPr>
            <a:r>
              <a:rPr lang="en-US" altLang="zh-CN" sz="2000" b="1" dirty="0" smtClean="0">
                <a:ea typeface="黑体" pitchFamily="49" charset="-122"/>
              </a:rPr>
              <a:t>2015</a:t>
            </a:r>
            <a:r>
              <a:rPr lang="zh-CN" altLang="en-US" sz="2000" b="1" dirty="0" smtClean="0">
                <a:ea typeface="黑体" pitchFamily="49" charset="-122"/>
              </a:rPr>
              <a:t>年</a:t>
            </a:r>
            <a:r>
              <a:rPr lang="en-US" altLang="zh-CN" sz="2000" b="1" dirty="0" smtClean="0">
                <a:ea typeface="黑体" pitchFamily="49" charset="-122"/>
              </a:rPr>
              <a:t>5</a:t>
            </a:r>
            <a:r>
              <a:rPr lang="zh-CN" altLang="en-US" sz="2000" b="1" dirty="0" smtClean="0">
                <a:ea typeface="黑体" pitchFamily="49" charset="-122"/>
              </a:rPr>
              <a:t>月，客串出演大型历史揭秘电影</a:t>
            </a:r>
            <a:r>
              <a:rPr lang="en-US" altLang="zh-CN" sz="2000" b="1" dirty="0" smtClean="0">
                <a:ea typeface="黑体" pitchFamily="49" charset="-122"/>
              </a:rPr>
              <a:t>《</a:t>
            </a:r>
            <a:r>
              <a:rPr lang="zh-CN" altLang="en-US" sz="2000" b="1" dirty="0" smtClean="0">
                <a:ea typeface="黑体" pitchFamily="49" charset="-122"/>
              </a:rPr>
              <a:t>旋风九日</a:t>
            </a:r>
            <a:r>
              <a:rPr lang="en-US" altLang="zh-CN" sz="2000" b="1" dirty="0" smtClean="0">
                <a:ea typeface="黑体" pitchFamily="49" charset="-122"/>
              </a:rPr>
              <a:t>》</a:t>
            </a:r>
            <a:r>
              <a:rPr lang="zh-CN" altLang="en-US" sz="2800" dirty="0" smtClean="0"/>
              <a:t>。</a:t>
            </a:r>
            <a:endParaRPr lang="zh-CN" altLang="en-US" sz="2800" dirty="0"/>
          </a:p>
        </p:txBody>
      </p:sp>
      <p:pic>
        <p:nvPicPr>
          <p:cNvPr id="366596" name="Picture 2" descr="http://g.hiphotos.baidu.com/baike/w%3D268%3Bg%3D0/sign=945e0cac7bf40ad115e4c0e56f1776e2/cdbf6c81800a19d8221bbf9133fa828ba61e460d.jpg"/>
          <p:cNvPicPr>
            <a:picLocks noGrp="1" noChangeAspect="1" noChangeArrowheads="1"/>
          </p:cNvPicPr>
          <p:nvPr>
            <p:ph type="clipArt" sz="half" idx="2"/>
          </p:nvPr>
        </p:nvPicPr>
        <p:blipFill>
          <a:blip r:embed="rId2" cstate="print"/>
          <a:srcRect/>
          <a:stretch>
            <a:fillRect/>
          </a:stretch>
        </p:blipFill>
        <p:spPr>
          <a:xfrm>
            <a:off x="5334000" y="1066800"/>
            <a:ext cx="2590800" cy="2514600"/>
          </a:xfrm>
          <a:noFill/>
        </p:spPr>
      </p:pic>
      <p:pic>
        <p:nvPicPr>
          <p:cNvPr id="366597" name="Picture 4" descr="俞敏洪、徐小平和王强在一起"/>
          <p:cNvPicPr>
            <a:picLocks noChangeAspect="1" noChangeArrowheads="1"/>
          </p:cNvPicPr>
          <p:nvPr/>
        </p:nvPicPr>
        <p:blipFill>
          <a:blip r:embed="rId3" cstate="print"/>
          <a:srcRect/>
          <a:stretch>
            <a:fillRect/>
          </a:stretch>
        </p:blipFill>
        <p:spPr bwMode="auto">
          <a:xfrm>
            <a:off x="5257800" y="3657600"/>
            <a:ext cx="3048000" cy="2438400"/>
          </a:xfrm>
          <a:prstGeom prst="rect">
            <a:avLst/>
          </a:prstGeom>
          <a:noFill/>
          <a:ln w="9525">
            <a:noFill/>
            <a:miter lim="800000"/>
            <a:headEnd/>
            <a:tailEnd/>
          </a:ln>
        </p:spPr>
      </p:pic>
      <p:sp>
        <p:nvSpPr>
          <p:cNvPr id="120838" name="TextBox 7"/>
          <p:cNvSpPr txBox="1">
            <a:spLocks noChangeArrowheads="1"/>
          </p:cNvSpPr>
          <p:nvPr/>
        </p:nvSpPr>
        <p:spPr bwMode="auto">
          <a:xfrm>
            <a:off x="5410200" y="6019800"/>
            <a:ext cx="3352800" cy="646113"/>
          </a:xfrm>
          <a:prstGeom prst="rect">
            <a:avLst/>
          </a:prstGeom>
          <a:noFill/>
          <a:ln w="9525">
            <a:noFill/>
            <a:miter lim="800000"/>
            <a:headEnd/>
            <a:tailEnd/>
          </a:ln>
        </p:spPr>
        <p:txBody>
          <a:bodyPr lIns="91389" tIns="45694" rIns="91389" bIns="45694">
            <a:spAutoFit/>
          </a:bodyPr>
          <a:lstStyle/>
          <a:p>
            <a:pPr fontAlgn="base">
              <a:spcBef>
                <a:spcPct val="0"/>
              </a:spcBef>
              <a:spcAft>
                <a:spcPct val="0"/>
              </a:spcAft>
              <a:defRPr/>
            </a:pPr>
            <a:r>
              <a:rPr lang="zh-CN" altLang="en-US" b="1" dirty="0">
                <a:solidFill>
                  <a:srgbClr val="002060"/>
                </a:solidFill>
                <a:effectLst>
                  <a:outerShdw blurRad="38100" dist="38100" dir="2700000" algn="tl">
                    <a:srgbClr val="000000">
                      <a:alpha val="43137"/>
                    </a:srgbClr>
                  </a:outerShdw>
                </a:effectLst>
                <a:latin typeface="黑体" pitchFamily="49" charset="-122"/>
              </a:rPr>
              <a:t>俞敏洪、徐小平和王强在一起 </a:t>
            </a:r>
          </a:p>
          <a:p>
            <a:pPr fontAlgn="base">
              <a:spcBef>
                <a:spcPct val="0"/>
              </a:spcBef>
              <a:spcAft>
                <a:spcPct val="0"/>
              </a:spcAft>
              <a:defRPr/>
            </a:pPr>
            <a:endParaRPr lang="zh-CN" altLang="en-US" dirty="0">
              <a:solidFill>
                <a:srgbClr val="FFFFFF"/>
              </a:solidFill>
              <a:effectLst>
                <a:outerShdw blurRad="38100" dist="38100" dir="2700000" algn="tl">
                  <a:srgbClr val="000000">
                    <a:alpha val="43137"/>
                  </a:srgbClr>
                </a:outerShdw>
              </a:effectLst>
              <a:latin typeface="黑体" pitchFamily="49" charset="-122"/>
            </a:endParaRPr>
          </a:p>
        </p:txBody>
      </p:sp>
      <p:pic>
        <p:nvPicPr>
          <p:cNvPr id="366599" name="Picture 29" descr="运动边框"/>
          <p:cNvPicPr>
            <a:picLocks noChangeAspect="1" noChangeArrowheads="1" noCrop="1"/>
          </p:cNvPicPr>
          <p:nvPr/>
        </p:nvPicPr>
        <p:blipFill>
          <a:blip r:embed="rId4" cstate="print"/>
          <a:srcRect/>
          <a:stretch>
            <a:fillRect/>
          </a:stretch>
        </p:blipFill>
        <p:spPr bwMode="auto">
          <a:xfrm>
            <a:off x="5791200" y="6486525"/>
            <a:ext cx="3352800" cy="371475"/>
          </a:xfrm>
          <a:prstGeom prst="rect">
            <a:avLst/>
          </a:prstGeom>
          <a:noFill/>
          <a:ln w="9525">
            <a:noFill/>
            <a:miter lim="800000"/>
            <a:headEnd/>
            <a:tailEnd/>
          </a:ln>
        </p:spPr>
      </p:pic>
      <p:sp>
        <p:nvSpPr>
          <p:cNvPr id="120840" name="TextBox 6"/>
          <p:cNvSpPr txBox="1">
            <a:spLocks noChangeArrowheads="1"/>
          </p:cNvSpPr>
          <p:nvPr/>
        </p:nvSpPr>
        <p:spPr bwMode="auto">
          <a:xfrm>
            <a:off x="5867400" y="6488113"/>
            <a:ext cx="3232150" cy="646278"/>
          </a:xfrm>
          <a:prstGeom prst="rect">
            <a:avLst/>
          </a:prstGeom>
          <a:noFill/>
          <a:ln w="9525">
            <a:noFill/>
            <a:miter lim="800000"/>
            <a:headEnd/>
            <a:tailEnd/>
          </a:ln>
        </p:spPr>
        <p:txBody>
          <a:bodyPr lIns="91389" tIns="45694" rIns="91389" bIns="45694">
            <a:spAutoFit/>
          </a:bodyPr>
          <a:lstStyle/>
          <a:p>
            <a:pPr fontAlgn="base">
              <a:spcBef>
                <a:spcPct val="0"/>
              </a:spcBef>
              <a:spcAft>
                <a:spcPct val="0"/>
              </a:spcAft>
              <a:defRPr/>
            </a:pPr>
            <a:r>
              <a:rPr lang="zh-CN" altLang="en-US" b="1" dirty="0">
                <a:solidFill>
                  <a:srgbClr val="B3D1DF"/>
                </a:solidFill>
                <a:effectLst>
                  <a:outerShdw blurRad="38100" dist="38100" dir="2700000" algn="tl">
                    <a:srgbClr val="000000">
                      <a:alpha val="43137"/>
                    </a:srgbClr>
                  </a:outerShdw>
                </a:effectLst>
                <a:latin typeface="黑体" pitchFamily="49" charset="-122"/>
              </a:rPr>
              <a:t>第三节       科学对待人生环境</a:t>
            </a:r>
          </a:p>
        </p:txBody>
      </p:sp>
    </p:spTree>
  </p:cSld>
  <p:clrMapOvr>
    <a:masterClrMapping/>
  </p:clrMapOvr>
  <p:transition spd="slow">
    <p:plus/>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2" name="直接箭头连接符 11"/>
          <p:cNvCxnSpPr>
            <a:cxnSpLocks noChangeShapeType="1"/>
            <a:endCxn id="18" idx="1"/>
          </p:cNvCxnSpPr>
          <p:nvPr/>
        </p:nvCxnSpPr>
        <p:spPr bwMode="auto">
          <a:xfrm flipV="1">
            <a:off x="2687638" y="2441575"/>
            <a:ext cx="1076325" cy="534988"/>
          </a:xfrm>
          <a:prstGeom prst="straightConnector1">
            <a:avLst/>
          </a:prstGeom>
          <a:noFill/>
          <a:ln w="63500" cmpd="dbl" algn="ctr">
            <a:solidFill>
              <a:srgbClr val="8B0000"/>
            </a:solidFill>
            <a:round/>
            <a:headEnd type="oval" w="med" len="med"/>
            <a:tailEnd/>
          </a:ln>
        </p:spPr>
      </p:cxnSp>
      <p:grpSp>
        <p:nvGrpSpPr>
          <p:cNvPr id="2" name="组合 15"/>
          <p:cNvGrpSpPr>
            <a:grpSpLocks/>
          </p:cNvGrpSpPr>
          <p:nvPr/>
        </p:nvGrpSpPr>
        <p:grpSpPr bwMode="auto">
          <a:xfrm>
            <a:off x="3763963" y="2017713"/>
            <a:ext cx="5032375" cy="844550"/>
            <a:chOff x="4200983" y="1819112"/>
            <a:chExt cx="4235526" cy="966699"/>
          </a:xfrm>
        </p:grpSpPr>
        <p:sp>
          <p:nvSpPr>
            <p:cNvPr id="17" name="圆角矩形 16"/>
            <p:cNvSpPr/>
            <p:nvPr/>
          </p:nvSpPr>
          <p:spPr>
            <a:xfrm>
              <a:off x="4218352" y="1819112"/>
              <a:ext cx="4218157" cy="966699"/>
            </a:xfrm>
            <a:prstGeom prst="roundRect">
              <a:avLst/>
            </a:prstGeom>
            <a:gradFill flip="none" rotWithShape="1">
              <a:gsLst>
                <a:gs pos="0">
                  <a:srgbClr val="FBEAC7"/>
                </a:gs>
                <a:gs pos="17999">
                  <a:srgbClr val="FEE7F2"/>
                </a:gs>
                <a:gs pos="36000">
                  <a:srgbClr val="FAC77D"/>
                </a:gs>
                <a:gs pos="61000">
                  <a:srgbClr val="FBA97D"/>
                </a:gs>
                <a:gs pos="82001">
                  <a:srgbClr val="FBD49C"/>
                </a:gs>
                <a:gs pos="100000">
                  <a:srgbClr val="FEE7F2"/>
                </a:gs>
              </a:gsLst>
              <a:lin ang="162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base">
                <a:spcBef>
                  <a:spcPct val="0"/>
                </a:spcBef>
                <a:spcAft>
                  <a:spcPct val="0"/>
                </a:spcAft>
                <a:defRPr/>
              </a:pPr>
              <a:r>
                <a:rPr lang="en-US" altLang="zh-CN" sz="3000" b="1" kern="0" dirty="0">
                  <a:solidFill>
                    <a:srgbClr val="6600CC"/>
                  </a:solidFill>
                  <a:latin typeface="黑体" pitchFamily="49" charset="-122"/>
                  <a:ea typeface="黑体" pitchFamily="49" charset="-122"/>
                </a:rPr>
                <a:t>1</a:t>
              </a:r>
              <a:r>
                <a:rPr lang="zh-CN" altLang="en-US" sz="3000" b="1" kern="0" dirty="0">
                  <a:solidFill>
                    <a:srgbClr val="6600CC"/>
                  </a:solidFill>
                  <a:latin typeface="黑体" pitchFamily="49" charset="-122"/>
                  <a:ea typeface="黑体" pitchFamily="49" charset="-122"/>
                </a:rPr>
                <a:t>、正确认识竞争</a:t>
              </a:r>
              <a:endParaRPr lang="zh-CN" altLang="en-US" sz="3000" b="1" dirty="0">
                <a:solidFill>
                  <a:srgbClr val="FFFFFF">
                    <a:lumMod val="85000"/>
                    <a:lumOff val="15000"/>
                  </a:srgbClr>
                </a:solidFill>
                <a:latin typeface="黑体" pitchFamily="49" charset="-122"/>
                <a:ea typeface="黑体" pitchFamily="49" charset="-122"/>
              </a:endParaRPr>
            </a:p>
          </p:txBody>
        </p:sp>
        <p:sp>
          <p:nvSpPr>
            <p:cNvPr id="18" name="矩形 17"/>
            <p:cNvSpPr/>
            <p:nvPr/>
          </p:nvSpPr>
          <p:spPr>
            <a:xfrm>
              <a:off x="4200983" y="2015359"/>
              <a:ext cx="76159" cy="577839"/>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zh-CN" altLang="en-US">
                <a:solidFill>
                  <a:srgbClr val="FFFFFF"/>
                </a:solidFill>
                <a:effectLst>
                  <a:outerShdw blurRad="38100" dist="38100" dir="2700000" algn="tl">
                    <a:srgbClr val="000000">
                      <a:alpha val="43137"/>
                    </a:srgbClr>
                  </a:outerShdw>
                </a:effectLst>
              </a:endParaRPr>
            </a:p>
          </p:txBody>
        </p:sp>
      </p:grpSp>
      <p:cxnSp>
        <p:nvCxnSpPr>
          <p:cNvPr id="19" name="直接箭头连接符 18"/>
          <p:cNvCxnSpPr>
            <a:cxnSpLocks noChangeShapeType="1"/>
          </p:cNvCxnSpPr>
          <p:nvPr/>
        </p:nvCxnSpPr>
        <p:spPr bwMode="auto">
          <a:xfrm flipV="1">
            <a:off x="2786050" y="3786190"/>
            <a:ext cx="976325" cy="44452"/>
          </a:xfrm>
          <a:prstGeom prst="straightConnector1">
            <a:avLst/>
          </a:prstGeom>
          <a:noFill/>
          <a:ln w="63500" cmpd="dbl" algn="ctr">
            <a:solidFill>
              <a:srgbClr val="8B0000"/>
            </a:solidFill>
            <a:round/>
            <a:headEnd type="oval" w="med" len="med"/>
            <a:tailEnd/>
          </a:ln>
        </p:spPr>
      </p:cxnSp>
      <p:grpSp>
        <p:nvGrpSpPr>
          <p:cNvPr id="3" name="组合 21"/>
          <p:cNvGrpSpPr>
            <a:grpSpLocks/>
          </p:cNvGrpSpPr>
          <p:nvPr/>
        </p:nvGrpSpPr>
        <p:grpSpPr bwMode="auto">
          <a:xfrm>
            <a:off x="3743325" y="3389313"/>
            <a:ext cx="5081588" cy="844550"/>
            <a:chOff x="4200983" y="1819112"/>
            <a:chExt cx="4235526" cy="966699"/>
          </a:xfrm>
        </p:grpSpPr>
        <p:sp>
          <p:nvSpPr>
            <p:cNvPr id="23" name="圆角矩形 22"/>
            <p:cNvSpPr/>
            <p:nvPr/>
          </p:nvSpPr>
          <p:spPr>
            <a:xfrm>
              <a:off x="4218185" y="1819112"/>
              <a:ext cx="4218324" cy="966699"/>
            </a:xfrm>
            <a:prstGeom prst="roundRect">
              <a:avLst/>
            </a:prstGeom>
            <a:gradFill flip="none" rotWithShape="1">
              <a:gsLst>
                <a:gs pos="0">
                  <a:srgbClr val="FBEAC7"/>
                </a:gs>
                <a:gs pos="17999">
                  <a:srgbClr val="FEE7F2"/>
                </a:gs>
                <a:gs pos="36000">
                  <a:srgbClr val="FAC77D"/>
                </a:gs>
                <a:gs pos="61000">
                  <a:srgbClr val="FBA97D"/>
                </a:gs>
                <a:gs pos="82001">
                  <a:srgbClr val="FBD49C"/>
                </a:gs>
                <a:gs pos="100000">
                  <a:srgbClr val="FEE7F2"/>
                </a:gs>
              </a:gsLst>
              <a:lin ang="162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base">
                <a:spcBef>
                  <a:spcPct val="0"/>
                </a:spcBef>
                <a:spcAft>
                  <a:spcPct val="0"/>
                </a:spcAft>
                <a:defRPr/>
              </a:pPr>
              <a:r>
                <a:rPr lang="en-US" altLang="zh-CN" sz="3000" b="1" kern="0" dirty="0">
                  <a:solidFill>
                    <a:srgbClr val="6600CC"/>
                  </a:solidFill>
                  <a:latin typeface="黑体" pitchFamily="49" charset="-122"/>
                  <a:ea typeface="黑体" pitchFamily="49" charset="-122"/>
                </a:rPr>
                <a:t>2</a:t>
              </a:r>
              <a:r>
                <a:rPr lang="zh-CN" altLang="en-US" sz="3000" b="1" kern="0" dirty="0">
                  <a:solidFill>
                    <a:srgbClr val="6600CC"/>
                  </a:solidFill>
                  <a:latin typeface="黑体" pitchFamily="49" charset="-122"/>
                  <a:ea typeface="黑体" pitchFamily="49" charset="-122"/>
                </a:rPr>
                <a:t>、正确认识合作</a:t>
              </a:r>
            </a:p>
          </p:txBody>
        </p:sp>
        <p:sp>
          <p:nvSpPr>
            <p:cNvPr id="24" name="矩形 23"/>
            <p:cNvSpPr/>
            <p:nvPr/>
          </p:nvSpPr>
          <p:spPr>
            <a:xfrm>
              <a:off x="4200983" y="2015359"/>
              <a:ext cx="75422" cy="577839"/>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zh-CN" altLang="en-US">
                <a:solidFill>
                  <a:srgbClr val="FFFFFF"/>
                </a:solidFill>
                <a:effectLst>
                  <a:outerShdw blurRad="38100" dist="38100" dir="2700000" algn="tl">
                    <a:srgbClr val="000000">
                      <a:alpha val="43137"/>
                    </a:srgbClr>
                  </a:outerShdw>
                </a:effectLst>
              </a:endParaRPr>
            </a:p>
          </p:txBody>
        </p:sp>
      </p:grpSp>
      <p:cxnSp>
        <p:nvCxnSpPr>
          <p:cNvPr id="25" name="直接箭头连接符 24"/>
          <p:cNvCxnSpPr>
            <a:cxnSpLocks noChangeShapeType="1"/>
            <a:endCxn id="30" idx="3"/>
          </p:cNvCxnSpPr>
          <p:nvPr/>
        </p:nvCxnSpPr>
        <p:spPr bwMode="auto">
          <a:xfrm>
            <a:off x="2687638" y="4667250"/>
            <a:ext cx="1174750" cy="466725"/>
          </a:xfrm>
          <a:prstGeom prst="straightConnector1">
            <a:avLst/>
          </a:prstGeom>
          <a:noFill/>
          <a:ln w="63500" cmpd="dbl" algn="ctr">
            <a:solidFill>
              <a:srgbClr val="8B0000"/>
            </a:solidFill>
            <a:round/>
            <a:headEnd type="oval" w="med" len="med"/>
            <a:tailEnd/>
          </a:ln>
        </p:spPr>
      </p:cxnSp>
      <p:grpSp>
        <p:nvGrpSpPr>
          <p:cNvPr id="4" name="组合 27"/>
          <p:cNvGrpSpPr>
            <a:grpSpLocks/>
          </p:cNvGrpSpPr>
          <p:nvPr/>
        </p:nvGrpSpPr>
        <p:grpSpPr bwMode="auto">
          <a:xfrm>
            <a:off x="3771900" y="4710113"/>
            <a:ext cx="5053013" cy="1081087"/>
            <a:chOff x="4200983" y="1819112"/>
            <a:chExt cx="4235526" cy="1237204"/>
          </a:xfrm>
        </p:grpSpPr>
        <p:sp>
          <p:nvSpPr>
            <p:cNvPr id="29" name="圆角矩形 28"/>
            <p:cNvSpPr/>
            <p:nvPr/>
          </p:nvSpPr>
          <p:spPr>
            <a:xfrm>
              <a:off x="4218282" y="1819112"/>
              <a:ext cx="4218227" cy="1237204"/>
            </a:xfrm>
            <a:prstGeom prst="roundRect">
              <a:avLst/>
            </a:prstGeom>
            <a:gradFill flip="none" rotWithShape="1">
              <a:gsLst>
                <a:gs pos="0">
                  <a:srgbClr val="FBEAC7"/>
                </a:gs>
                <a:gs pos="17999">
                  <a:srgbClr val="FEE7F2"/>
                </a:gs>
                <a:gs pos="36000">
                  <a:srgbClr val="FAC77D"/>
                </a:gs>
                <a:gs pos="61000">
                  <a:srgbClr val="FBA97D"/>
                </a:gs>
                <a:gs pos="82001">
                  <a:srgbClr val="FBD49C"/>
                </a:gs>
                <a:gs pos="100000">
                  <a:srgbClr val="FEE7F2"/>
                </a:gs>
              </a:gsLst>
              <a:lin ang="162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indent="-342708" algn="ctr" fontAlgn="base">
                <a:spcBef>
                  <a:spcPct val="0"/>
                </a:spcBef>
                <a:spcAft>
                  <a:spcPct val="0"/>
                </a:spcAft>
                <a:buClr>
                  <a:srgbClr val="0000FF"/>
                </a:buClr>
                <a:buSzPct val="60000"/>
                <a:defRPr/>
              </a:pPr>
              <a:r>
                <a:rPr lang="en-US" altLang="zh-CN" sz="3000" b="1" kern="0" dirty="0">
                  <a:solidFill>
                    <a:srgbClr val="6600CC"/>
                  </a:solidFill>
                  <a:latin typeface="黑体" pitchFamily="49" charset="-122"/>
                  <a:ea typeface="黑体" pitchFamily="49" charset="-122"/>
                </a:rPr>
                <a:t>3</a:t>
              </a:r>
              <a:r>
                <a:rPr lang="zh-CN" altLang="en-US" sz="3000" b="1" kern="0" dirty="0">
                  <a:solidFill>
                    <a:srgbClr val="6600CC"/>
                  </a:solidFill>
                  <a:latin typeface="黑体" pitchFamily="49" charset="-122"/>
                  <a:ea typeface="黑体" pitchFamily="49" charset="-122"/>
                </a:rPr>
                <a:t>、正确处理竞争与合作的关系</a:t>
              </a:r>
            </a:p>
          </p:txBody>
        </p:sp>
        <p:sp>
          <p:nvSpPr>
            <p:cNvPr id="30" name="矩形 29"/>
            <p:cNvSpPr/>
            <p:nvPr/>
          </p:nvSpPr>
          <p:spPr>
            <a:xfrm>
              <a:off x="4200983" y="2015321"/>
              <a:ext cx="75849" cy="577725"/>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zh-CN" altLang="en-US">
                <a:solidFill>
                  <a:srgbClr val="FFFFFF"/>
                </a:solidFill>
                <a:effectLst>
                  <a:outerShdw blurRad="38100" dist="38100" dir="2700000" algn="tl">
                    <a:srgbClr val="000000">
                      <a:alpha val="43137"/>
                    </a:srgbClr>
                  </a:outerShdw>
                </a:effectLst>
              </a:endParaRPr>
            </a:p>
          </p:txBody>
        </p:sp>
      </p:grpSp>
      <p:pic>
        <p:nvPicPr>
          <p:cNvPr id="121865" name="Picture 2" descr="http://p2.so.qhmsg.com/bdr/_240_/t01a96fc46a6763595c.gif"/>
          <p:cNvPicPr>
            <a:picLocks noChangeAspect="1" noChangeArrowheads="1"/>
          </p:cNvPicPr>
          <p:nvPr/>
        </p:nvPicPr>
        <p:blipFill>
          <a:blip r:embed="rId2" cstate="print"/>
          <a:srcRect/>
          <a:stretch>
            <a:fillRect/>
          </a:stretch>
        </p:blipFill>
        <p:spPr bwMode="auto">
          <a:xfrm>
            <a:off x="0" y="2667000"/>
            <a:ext cx="2590800" cy="2286000"/>
          </a:xfrm>
          <a:prstGeom prst="ellipse">
            <a:avLst/>
          </a:prstGeom>
          <a:ln w="63500"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pic>
        <p:nvPicPr>
          <p:cNvPr id="27" name="Picture 3" descr="C:\Users\Administrator\Desktop\工业4.0ppt制作\apic2925.jpg"/>
          <p:cNvPicPr>
            <a:picLocks noChangeAspect="1" noChangeArrowheads="1"/>
          </p:cNvPicPr>
          <p:nvPr/>
        </p:nvPicPr>
        <p:blipFill>
          <a:blip r:embed="rId3" cstate="print">
            <a:duotone>
              <a:srgbClr val="C0504D">
                <a:shade val="45000"/>
                <a:satMod val="135000"/>
              </a:srgbClr>
              <a:prstClr val="white"/>
            </a:duotone>
          </a:blip>
          <a:srcRect b="86755"/>
          <a:stretch>
            <a:fillRect/>
          </a:stretch>
        </p:blipFill>
        <p:spPr bwMode="auto">
          <a:xfrm>
            <a:off x="0" y="-6230"/>
            <a:ext cx="9144000" cy="891609"/>
          </a:xfrm>
          <a:prstGeom prst="rect">
            <a:avLst/>
          </a:prstGeom>
          <a:noFill/>
        </p:spPr>
      </p:pic>
      <p:grpSp>
        <p:nvGrpSpPr>
          <p:cNvPr id="5" name="组合 5"/>
          <p:cNvGrpSpPr>
            <a:grpSpLocks/>
          </p:cNvGrpSpPr>
          <p:nvPr/>
        </p:nvGrpSpPr>
        <p:grpSpPr bwMode="auto">
          <a:xfrm>
            <a:off x="904875" y="28575"/>
            <a:ext cx="7310463" cy="844550"/>
            <a:chOff x="4200983" y="1819112"/>
            <a:chExt cx="4327897" cy="966699"/>
          </a:xfrm>
        </p:grpSpPr>
        <p:sp>
          <p:nvSpPr>
            <p:cNvPr id="32" name="圆角矩形 31"/>
            <p:cNvSpPr/>
            <p:nvPr/>
          </p:nvSpPr>
          <p:spPr>
            <a:xfrm>
              <a:off x="4218300" y="1819112"/>
              <a:ext cx="4310580" cy="966699"/>
            </a:xfrm>
            <a:prstGeom prst="roundRect">
              <a:avLst/>
            </a:prstGeom>
            <a:gradFill flip="none" rotWithShape="1">
              <a:gsLst>
                <a:gs pos="94000">
                  <a:srgbClr val="F79646">
                    <a:lumMod val="75000"/>
                    <a:alpha val="22000"/>
                  </a:srgbClr>
                </a:gs>
                <a:gs pos="98000">
                  <a:srgbClr val="F79646">
                    <a:lumMod val="63000"/>
                    <a:lumOff val="37000"/>
                    <a:alpha val="86000"/>
                  </a:srgbClr>
                </a:gs>
              </a:gsLst>
              <a:lin ang="16200000" scaled="1"/>
              <a:tileRect/>
            </a:gradFill>
            <a:ln w="25400" cap="flat" cmpd="sng" algn="ctr">
              <a:noFill/>
              <a:prstDash val="solid"/>
            </a:ln>
            <a:effectLst/>
          </p:spPr>
          <p:txBody>
            <a:bodyPr anchor="ctr"/>
            <a:lstStyle/>
            <a:p>
              <a:pPr algn="ctr">
                <a:defRPr/>
              </a:pPr>
              <a:r>
                <a:rPr lang="zh-CN" altLang="en-US" sz="3000" b="1" kern="100" dirty="0" smtClean="0">
                  <a:solidFill>
                    <a:srgbClr val="1F497D">
                      <a:lumMod val="75000"/>
                    </a:srgbClr>
                  </a:solidFill>
                  <a:latin typeface="黑体" pitchFamily="49" charset="-122"/>
                  <a:ea typeface="黑体" pitchFamily="49" charset="-122"/>
                </a:rPr>
                <a:t>（</a:t>
              </a:r>
              <a:r>
                <a:rPr lang="zh-CN" altLang="en-US" sz="3000" b="1" kern="100" dirty="0">
                  <a:solidFill>
                    <a:srgbClr val="1F497D">
                      <a:lumMod val="75000"/>
                    </a:srgbClr>
                  </a:solidFill>
                  <a:latin typeface="黑体" pitchFamily="49" charset="-122"/>
                  <a:ea typeface="黑体" pitchFamily="49" charset="-122"/>
                </a:rPr>
                <a:t>二）正确认识和处理</a:t>
              </a:r>
              <a:r>
                <a:rPr lang="zh-CN" altLang="en-US" sz="3000" b="1" kern="100" dirty="0">
                  <a:solidFill>
                    <a:srgbClr val="FF0000"/>
                  </a:solidFill>
                  <a:latin typeface="黑体" pitchFamily="49" charset="-122"/>
                  <a:ea typeface="黑体" pitchFamily="49" charset="-122"/>
                </a:rPr>
                <a:t>竞争</a:t>
              </a:r>
              <a:r>
                <a:rPr lang="zh-CN" altLang="en-US" sz="3000" b="1" kern="100" dirty="0">
                  <a:solidFill>
                    <a:srgbClr val="FFFF00"/>
                  </a:solidFill>
                  <a:latin typeface="黑体" pitchFamily="49" charset="-122"/>
                  <a:ea typeface="黑体" pitchFamily="49" charset="-122"/>
                </a:rPr>
                <a:t>与</a:t>
              </a:r>
              <a:r>
                <a:rPr lang="zh-CN" altLang="en-US" sz="3000" b="1" kern="100" dirty="0">
                  <a:solidFill>
                    <a:srgbClr val="FF0000"/>
                  </a:solidFill>
                  <a:latin typeface="黑体" pitchFamily="49" charset="-122"/>
                  <a:ea typeface="黑体" pitchFamily="49" charset="-122"/>
                </a:rPr>
                <a:t>合作</a:t>
              </a:r>
              <a:r>
                <a:rPr lang="zh-CN" altLang="en-US" sz="3000" b="1" kern="100" dirty="0">
                  <a:solidFill>
                    <a:srgbClr val="1F497D">
                      <a:lumMod val="75000"/>
                    </a:srgbClr>
                  </a:solidFill>
                  <a:latin typeface="黑体" pitchFamily="49" charset="-122"/>
                  <a:ea typeface="黑体" pitchFamily="49" charset="-122"/>
                </a:rPr>
                <a:t>的关系</a:t>
              </a:r>
            </a:p>
          </p:txBody>
        </p:sp>
        <p:sp>
          <p:nvSpPr>
            <p:cNvPr id="33" name="矩形 32"/>
            <p:cNvSpPr/>
            <p:nvPr/>
          </p:nvSpPr>
          <p:spPr>
            <a:xfrm>
              <a:off x="4200983" y="2015359"/>
              <a:ext cx="75310" cy="577839"/>
            </a:xfrm>
            <a:prstGeom prst="rect">
              <a:avLst/>
            </a:prstGeom>
            <a:solidFill>
              <a:srgbClr val="F79646">
                <a:lumMod val="75000"/>
              </a:srgbClr>
            </a:solidFill>
            <a:ln w="25400" cap="flat" cmpd="sng" algn="ctr">
              <a:noFill/>
              <a:prstDash val="solid"/>
            </a:ln>
            <a:effectLst/>
          </p:spPr>
          <p:txBody>
            <a:bodyPr anchor="ctr"/>
            <a:lstStyle/>
            <a:p>
              <a:pPr algn="ctr">
                <a:defRPr/>
              </a:pPr>
              <a:endParaRPr lang="zh-CN" altLang="en-US" kern="0" dirty="0">
                <a:solidFill>
                  <a:sysClr val="window" lastClr="FFFFFF"/>
                </a:solidFill>
                <a:effectLst>
                  <a:outerShdw blurRad="38100" dist="38100" dir="2700000" algn="tl">
                    <a:srgbClr val="000000">
                      <a:alpha val="43137"/>
                    </a:srgbClr>
                  </a:outerShdw>
                </a:effectLst>
              </a:endParaRPr>
            </a:p>
          </p:txBody>
        </p:sp>
      </p:grpSp>
    </p:spTree>
  </p:cSld>
  <p:clrMapOvr>
    <a:masterClrMapping/>
  </p:clrMapOvr>
  <p:transition advTm="11576"/>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left)">
                                      <p:cBhvr>
                                        <p:cTn id="7" dur="500"/>
                                        <p:tgtEl>
                                          <p:spTgt spid="5"/>
                                        </p:tgtEl>
                                      </p:cBhvr>
                                    </p:animEffect>
                                  </p:childTnLst>
                                </p:cTn>
                              </p:par>
                            </p:childTnLst>
                          </p:cTn>
                        </p:par>
                        <p:par>
                          <p:cTn id="8" fill="hold">
                            <p:stCondLst>
                              <p:cond delay="500"/>
                            </p:stCondLst>
                            <p:childTnLst>
                              <p:par>
                                <p:cTn id="9" presetID="22" presetClass="entr" presetSubtype="4" fill="hold" nodeType="afterEffect">
                                  <p:stCondLst>
                                    <p:cond delay="0"/>
                                  </p:stCondLst>
                                  <p:childTnLst>
                                    <p:set>
                                      <p:cBhvr>
                                        <p:cTn id="10" dur="1" fill="hold">
                                          <p:stCondLst>
                                            <p:cond delay="0"/>
                                          </p:stCondLst>
                                        </p:cTn>
                                        <p:tgtEl>
                                          <p:spTgt spid="12"/>
                                        </p:tgtEl>
                                        <p:attrNameLst>
                                          <p:attrName>style.visibility</p:attrName>
                                        </p:attrNameLst>
                                      </p:cBhvr>
                                      <p:to>
                                        <p:strVal val="visible"/>
                                      </p:to>
                                    </p:set>
                                    <p:animEffect transition="in" filter="wipe(down)">
                                      <p:cBhvr>
                                        <p:cTn id="11" dur="500"/>
                                        <p:tgtEl>
                                          <p:spTgt spid="12"/>
                                        </p:tgtEl>
                                      </p:cBhvr>
                                    </p:animEffect>
                                  </p:childTnLst>
                                </p:cTn>
                              </p:par>
                            </p:childTnLst>
                          </p:cTn>
                        </p:par>
                        <p:par>
                          <p:cTn id="12" fill="hold">
                            <p:stCondLst>
                              <p:cond delay="1000"/>
                            </p:stCondLst>
                            <p:childTnLst>
                              <p:par>
                                <p:cTn id="13" presetID="22" presetClass="entr" presetSubtype="8" fill="hold" nodeType="afterEffect">
                                  <p:stCondLst>
                                    <p:cond delay="0"/>
                                  </p:stCondLst>
                                  <p:childTnLst>
                                    <p:set>
                                      <p:cBhvr>
                                        <p:cTn id="14" dur="1" fill="hold">
                                          <p:stCondLst>
                                            <p:cond delay="0"/>
                                          </p:stCondLst>
                                        </p:cTn>
                                        <p:tgtEl>
                                          <p:spTgt spid="2"/>
                                        </p:tgtEl>
                                        <p:attrNameLst>
                                          <p:attrName>style.visibility</p:attrName>
                                        </p:attrNameLst>
                                      </p:cBhvr>
                                      <p:to>
                                        <p:strVal val="visible"/>
                                      </p:to>
                                    </p:set>
                                    <p:animEffect transition="in" filter="wipe(left)">
                                      <p:cBhvr>
                                        <p:cTn id="15" dur="500"/>
                                        <p:tgtEl>
                                          <p:spTgt spid="2"/>
                                        </p:tgtEl>
                                      </p:cBhvr>
                                    </p:animEffect>
                                  </p:childTnLst>
                                </p:cTn>
                              </p:par>
                            </p:childTnLst>
                          </p:cTn>
                        </p:par>
                        <p:par>
                          <p:cTn id="16" fill="hold">
                            <p:stCondLst>
                              <p:cond delay="1500"/>
                            </p:stCondLst>
                            <p:childTnLst>
                              <p:par>
                                <p:cTn id="17" presetID="22" presetClass="entr" presetSubtype="1" fill="hold" nodeType="afterEffect">
                                  <p:stCondLst>
                                    <p:cond delay="0"/>
                                  </p:stCondLst>
                                  <p:childTnLst>
                                    <p:set>
                                      <p:cBhvr>
                                        <p:cTn id="18" dur="1" fill="hold">
                                          <p:stCondLst>
                                            <p:cond delay="0"/>
                                          </p:stCondLst>
                                        </p:cTn>
                                        <p:tgtEl>
                                          <p:spTgt spid="19"/>
                                        </p:tgtEl>
                                        <p:attrNameLst>
                                          <p:attrName>style.visibility</p:attrName>
                                        </p:attrNameLst>
                                      </p:cBhvr>
                                      <p:to>
                                        <p:strVal val="visible"/>
                                      </p:to>
                                    </p:set>
                                    <p:animEffect transition="in" filter="wipe(up)">
                                      <p:cBhvr>
                                        <p:cTn id="19" dur="500"/>
                                        <p:tgtEl>
                                          <p:spTgt spid="19"/>
                                        </p:tgtEl>
                                      </p:cBhvr>
                                    </p:animEffect>
                                  </p:childTnLst>
                                </p:cTn>
                              </p:par>
                            </p:childTnLst>
                          </p:cTn>
                        </p:par>
                        <p:par>
                          <p:cTn id="20" fill="hold">
                            <p:stCondLst>
                              <p:cond delay="2000"/>
                            </p:stCondLst>
                            <p:childTnLst>
                              <p:par>
                                <p:cTn id="21" presetID="22" presetClass="entr" presetSubtype="8" fill="hold" nodeType="afterEffect">
                                  <p:stCondLst>
                                    <p:cond delay="0"/>
                                  </p:stCondLst>
                                  <p:childTnLst>
                                    <p:set>
                                      <p:cBhvr>
                                        <p:cTn id="22" dur="1" fill="hold">
                                          <p:stCondLst>
                                            <p:cond delay="0"/>
                                          </p:stCondLst>
                                        </p:cTn>
                                        <p:tgtEl>
                                          <p:spTgt spid="3"/>
                                        </p:tgtEl>
                                        <p:attrNameLst>
                                          <p:attrName>style.visibility</p:attrName>
                                        </p:attrNameLst>
                                      </p:cBhvr>
                                      <p:to>
                                        <p:strVal val="visible"/>
                                      </p:to>
                                    </p:set>
                                    <p:animEffect transition="in" filter="wipe(left)">
                                      <p:cBhvr>
                                        <p:cTn id="23" dur="500"/>
                                        <p:tgtEl>
                                          <p:spTgt spid="3"/>
                                        </p:tgtEl>
                                      </p:cBhvr>
                                    </p:animEffect>
                                  </p:childTnLst>
                                </p:cTn>
                              </p:par>
                            </p:childTnLst>
                          </p:cTn>
                        </p:par>
                        <p:par>
                          <p:cTn id="24" fill="hold">
                            <p:stCondLst>
                              <p:cond delay="2500"/>
                            </p:stCondLst>
                            <p:childTnLst>
                              <p:par>
                                <p:cTn id="25" presetID="22" presetClass="entr" presetSubtype="1" fill="hold" nodeType="afterEffect">
                                  <p:stCondLst>
                                    <p:cond delay="0"/>
                                  </p:stCondLst>
                                  <p:childTnLst>
                                    <p:set>
                                      <p:cBhvr>
                                        <p:cTn id="26" dur="1" fill="hold">
                                          <p:stCondLst>
                                            <p:cond delay="0"/>
                                          </p:stCondLst>
                                        </p:cTn>
                                        <p:tgtEl>
                                          <p:spTgt spid="25"/>
                                        </p:tgtEl>
                                        <p:attrNameLst>
                                          <p:attrName>style.visibility</p:attrName>
                                        </p:attrNameLst>
                                      </p:cBhvr>
                                      <p:to>
                                        <p:strVal val="visible"/>
                                      </p:to>
                                    </p:set>
                                    <p:animEffect transition="in" filter="wipe(up)">
                                      <p:cBhvr>
                                        <p:cTn id="27" dur="500"/>
                                        <p:tgtEl>
                                          <p:spTgt spid="25"/>
                                        </p:tgtEl>
                                      </p:cBhvr>
                                    </p:animEffect>
                                  </p:childTnLst>
                                </p:cTn>
                              </p:par>
                            </p:childTnLst>
                          </p:cTn>
                        </p:par>
                        <p:par>
                          <p:cTn id="28" fill="hold">
                            <p:stCondLst>
                              <p:cond delay="3000"/>
                            </p:stCondLst>
                            <p:childTnLst>
                              <p:par>
                                <p:cTn id="29" presetID="22" presetClass="entr" presetSubtype="8" fill="hold" nodeType="afterEffect">
                                  <p:stCondLst>
                                    <p:cond delay="0"/>
                                  </p:stCondLst>
                                  <p:childTnLst>
                                    <p:set>
                                      <p:cBhvr>
                                        <p:cTn id="30" dur="1" fill="hold">
                                          <p:stCondLst>
                                            <p:cond delay="0"/>
                                          </p:stCondLst>
                                        </p:cTn>
                                        <p:tgtEl>
                                          <p:spTgt spid="4"/>
                                        </p:tgtEl>
                                        <p:attrNameLst>
                                          <p:attrName>style.visibility</p:attrName>
                                        </p:attrNameLst>
                                      </p:cBhvr>
                                      <p:to>
                                        <p:strVal val="visible"/>
                                      </p:to>
                                    </p:set>
                                    <p:animEffect transition="in" filter="wipe(left)">
                                      <p:cBhvr>
                                        <p:cTn id="31"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bg1">
            <a:alpha val="58038"/>
          </a:schemeClr>
        </a:solidFill>
        <a:effectLst/>
      </p:bgPr>
    </p:bg>
    <p:spTree>
      <p:nvGrpSpPr>
        <p:cNvPr id="1" name=""/>
        <p:cNvGrpSpPr/>
        <p:nvPr/>
      </p:nvGrpSpPr>
      <p:grpSpPr>
        <a:xfrm>
          <a:off x="0" y="0"/>
          <a:ext cx="0" cy="0"/>
          <a:chOff x="0" y="0"/>
          <a:chExt cx="0" cy="0"/>
        </a:xfrm>
      </p:grpSpPr>
      <p:sp>
        <p:nvSpPr>
          <p:cNvPr id="19" name="内容占位符 18"/>
          <p:cNvSpPr>
            <a:spLocks noGrp="1"/>
          </p:cNvSpPr>
          <p:nvPr>
            <p:ph sz="quarter" idx="10"/>
          </p:nvPr>
        </p:nvSpPr>
        <p:spPr/>
        <p:txBody>
          <a:bodyPr>
            <a:normAutofit fontScale="85000" lnSpcReduction="20000"/>
          </a:bodyPr>
          <a:lstStyle/>
          <a:p>
            <a:pPr>
              <a:defRPr/>
            </a:pPr>
            <a:endParaRPr lang="en-US" altLang="zh-CN" dirty="0" smtClean="0"/>
          </a:p>
          <a:p>
            <a:pPr>
              <a:defRPr/>
            </a:pPr>
            <a:endParaRPr lang="zh-CN" altLang="en-US" dirty="0"/>
          </a:p>
        </p:txBody>
      </p:sp>
      <p:sp>
        <p:nvSpPr>
          <p:cNvPr id="20" name="标题 2"/>
          <p:cNvSpPr txBox="1">
            <a:spLocks/>
          </p:cNvSpPr>
          <p:nvPr/>
        </p:nvSpPr>
        <p:spPr bwMode="auto">
          <a:xfrm>
            <a:off x="1219200" y="1066800"/>
            <a:ext cx="7262813" cy="525463"/>
          </a:xfrm>
          <a:prstGeom prst="rect">
            <a:avLst/>
          </a:prstGeom>
          <a:noFill/>
          <a:ln w="9525">
            <a:noFill/>
            <a:miter lim="800000"/>
            <a:headEnd/>
            <a:tailEnd/>
          </a:ln>
        </p:spPr>
        <p:txBody>
          <a:bodyPr lIns="91389" tIns="45694" rIns="91389" bIns="45694" anchor="ctr"/>
          <a:lstStyle/>
          <a:p>
            <a:pPr eaLnBrk="0" fontAlgn="base" hangingPunct="0">
              <a:spcBef>
                <a:spcPct val="0"/>
              </a:spcBef>
              <a:spcAft>
                <a:spcPct val="0"/>
              </a:spcAft>
              <a:defRPr/>
            </a:pPr>
            <a:endParaRPr lang="zh-CN" altLang="en-US" sz="3600" b="1" dirty="0">
              <a:solidFill>
                <a:prstClr val="black"/>
              </a:solidFill>
              <a:effectLst>
                <a:outerShdw blurRad="38100" dist="38100" dir="2700000" algn="tl">
                  <a:srgbClr val="000000">
                    <a:alpha val="43137"/>
                  </a:srgbClr>
                </a:outerShdw>
              </a:effectLst>
              <a:latin typeface="黑体" panose="02010609060101010101" pitchFamily="49" charset="-122"/>
              <a:ea typeface="黑体" panose="02010609060101010101" pitchFamily="49" charset="-122"/>
            </a:endParaRPr>
          </a:p>
        </p:txBody>
      </p:sp>
      <p:sp>
        <p:nvSpPr>
          <p:cNvPr id="21" name="内容占位符 3"/>
          <p:cNvSpPr txBox="1">
            <a:spLocks/>
          </p:cNvSpPr>
          <p:nvPr/>
        </p:nvSpPr>
        <p:spPr bwMode="auto">
          <a:xfrm>
            <a:off x="361950" y="114300"/>
            <a:ext cx="544513" cy="525463"/>
          </a:xfrm>
          <a:prstGeom prst="rect">
            <a:avLst/>
          </a:prstGeom>
          <a:noFill/>
          <a:ln w="9525">
            <a:noFill/>
            <a:miter lim="800000"/>
            <a:headEnd/>
            <a:tailEnd/>
          </a:ln>
        </p:spPr>
        <p:txBody>
          <a:bodyPr lIns="91389" tIns="45694" rIns="91389" bIns="45694"/>
          <a:lstStyle/>
          <a:p>
            <a:pPr algn="ctr" eaLnBrk="0" fontAlgn="base" hangingPunct="0">
              <a:spcBef>
                <a:spcPct val="20000"/>
              </a:spcBef>
              <a:spcAft>
                <a:spcPct val="0"/>
              </a:spcAft>
              <a:defRPr/>
            </a:pPr>
            <a:endParaRPr lang="zh-CN" altLang="en-US" sz="3600" b="1" dirty="0">
              <a:solidFill>
                <a:prstClr val="white"/>
              </a:solidFill>
              <a:effectLst>
                <a:outerShdw blurRad="38100" dist="38100" dir="2700000" algn="tl">
                  <a:srgbClr val="000000">
                    <a:alpha val="43137"/>
                  </a:srgbClr>
                </a:outerShdw>
              </a:effectLst>
              <a:latin typeface="黑体" panose="02010609060101010101" pitchFamily="49" charset="-122"/>
              <a:ea typeface="黑体" panose="02010609060101010101" pitchFamily="49" charset="-122"/>
            </a:endParaRPr>
          </a:p>
        </p:txBody>
      </p:sp>
      <p:sp>
        <p:nvSpPr>
          <p:cNvPr id="122910" name="AutoShape 16" descr="http://img2.imgtn.bdimg.com/it/u=2560174535,624115299&amp;fm=21&amp;gp=0.jpg"/>
          <p:cNvSpPr>
            <a:spLocks noChangeAspect="1" noChangeArrowheads="1"/>
          </p:cNvSpPr>
          <p:nvPr/>
        </p:nvSpPr>
        <p:spPr bwMode="auto">
          <a:xfrm>
            <a:off x="63500" y="-144463"/>
            <a:ext cx="304800" cy="304801"/>
          </a:xfrm>
          <a:prstGeom prst="rect">
            <a:avLst/>
          </a:prstGeom>
          <a:noFill/>
          <a:ln w="9525">
            <a:noFill/>
            <a:miter lim="800000"/>
            <a:headEnd/>
            <a:tailEnd/>
          </a:ln>
        </p:spPr>
        <p:txBody>
          <a:bodyPr lIns="91389" tIns="45694" rIns="91389" bIns="45694"/>
          <a:lstStyle/>
          <a:p>
            <a:pPr fontAlgn="base">
              <a:spcBef>
                <a:spcPct val="0"/>
              </a:spcBef>
              <a:spcAft>
                <a:spcPct val="0"/>
              </a:spcAft>
              <a:defRPr/>
            </a:pPr>
            <a:endParaRPr lang="zh-CN" altLang="en-US">
              <a:solidFill>
                <a:prstClr val="black"/>
              </a:solidFill>
              <a:effectLst>
                <a:outerShdw blurRad="38100" dist="38100" dir="2700000" algn="tl">
                  <a:srgbClr val="000000">
                    <a:alpha val="43137"/>
                  </a:srgbClr>
                </a:outerShdw>
              </a:effectLst>
              <a:latin typeface="Times New Roman" pitchFamily="18" charset="0"/>
            </a:endParaRPr>
          </a:p>
        </p:txBody>
      </p:sp>
      <p:sp>
        <p:nvSpPr>
          <p:cNvPr id="40" name="矩形 39"/>
          <p:cNvSpPr/>
          <p:nvPr/>
        </p:nvSpPr>
        <p:spPr>
          <a:xfrm>
            <a:off x="827584" y="1484784"/>
            <a:ext cx="4536503" cy="1806391"/>
          </a:xfrm>
          <a:prstGeom prst="rect">
            <a:avLst/>
          </a:prstGeom>
          <a:solidFill>
            <a:srgbClr val="546E7A"/>
          </a:solidFill>
          <a:ln w="12700" cap="flat" cmpd="sng" algn="ctr">
            <a:noFill/>
            <a:prstDash val="solid"/>
            <a:miter lim="800000"/>
          </a:ln>
          <a:effectLst/>
        </p:spPr>
        <p:txBody>
          <a:bodyPr rtlCol="0" anchor="ctr"/>
          <a:lstStyle/>
          <a:p>
            <a:pPr algn="ctr">
              <a:defRPr/>
            </a:pPr>
            <a:endParaRPr lang="zh-CN" altLang="en-US" kern="0">
              <a:solidFill>
                <a:sysClr val="window" lastClr="FFFFFF"/>
              </a:solidFill>
              <a:ea typeface="微软雅黑"/>
            </a:endParaRPr>
          </a:p>
        </p:txBody>
      </p:sp>
      <p:sp>
        <p:nvSpPr>
          <p:cNvPr id="41" name="Shape 1056"/>
          <p:cNvSpPr/>
          <p:nvPr/>
        </p:nvSpPr>
        <p:spPr>
          <a:xfrm>
            <a:off x="828400" y="2699172"/>
            <a:ext cx="4533086" cy="3610148"/>
          </a:xfrm>
          <a:prstGeom prst="rect">
            <a:avLst/>
          </a:prstGeom>
          <a:solidFill>
            <a:srgbClr val="5EC6D3"/>
          </a:solidFill>
          <a:ln w="12700">
            <a:miter lim="400000"/>
          </a:ln>
        </p:spPr>
        <p:txBody>
          <a:bodyPr lIns="0" tIns="0" rIns="0" bIns="0" anchor="ctr"/>
          <a:lstStyle/>
          <a:p>
            <a:pPr>
              <a:defRPr sz="3200"/>
            </a:pPr>
            <a:endParaRPr sz="1600" kern="0">
              <a:solidFill>
                <a:sysClr val="windowText" lastClr="000000"/>
              </a:solidFill>
            </a:endParaRPr>
          </a:p>
        </p:txBody>
      </p:sp>
      <p:sp>
        <p:nvSpPr>
          <p:cNvPr id="42" name="Shape 1058"/>
          <p:cNvSpPr/>
          <p:nvPr/>
        </p:nvSpPr>
        <p:spPr>
          <a:xfrm>
            <a:off x="2188339" y="2556642"/>
            <a:ext cx="1579789" cy="946128"/>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5EC6D3"/>
          </a:solidFill>
          <a:ln w="63500">
            <a:solidFill>
              <a:srgbClr val="F8FBFC"/>
            </a:solidFill>
            <a:miter lim="400000"/>
          </a:ln>
        </p:spPr>
        <p:txBody>
          <a:bodyPr lIns="0" tIns="0" rIns="0" bIns="0" anchor="ctr"/>
          <a:lstStyle/>
          <a:p>
            <a:pPr>
              <a:defRPr sz="3200"/>
            </a:pPr>
            <a:endParaRPr sz="1600" kern="0">
              <a:solidFill>
                <a:sysClr val="windowText" lastClr="000000"/>
              </a:solidFill>
            </a:endParaRPr>
          </a:p>
        </p:txBody>
      </p:sp>
      <p:grpSp>
        <p:nvGrpSpPr>
          <p:cNvPr id="2" name="Group 1069"/>
          <p:cNvGrpSpPr/>
          <p:nvPr/>
        </p:nvGrpSpPr>
        <p:grpSpPr>
          <a:xfrm>
            <a:off x="2671157" y="2798430"/>
            <a:ext cx="601309" cy="417850"/>
            <a:chOff x="0" y="0"/>
            <a:chExt cx="568987" cy="587851"/>
          </a:xfrm>
        </p:grpSpPr>
        <p:sp>
          <p:nvSpPr>
            <p:cNvPr id="44" name="Shape 1067"/>
            <p:cNvSpPr/>
            <p:nvPr/>
          </p:nvSpPr>
          <p:spPr>
            <a:xfrm>
              <a:off x="324891" y="0"/>
              <a:ext cx="244097" cy="244096"/>
            </a:xfrm>
            <a:custGeom>
              <a:avLst/>
              <a:gdLst/>
              <a:ahLst/>
              <a:cxnLst>
                <a:cxn ang="0">
                  <a:pos x="wd2" y="hd2"/>
                </a:cxn>
                <a:cxn ang="5400000">
                  <a:pos x="wd2" y="hd2"/>
                </a:cxn>
                <a:cxn ang="10800000">
                  <a:pos x="wd2" y="hd2"/>
                </a:cxn>
                <a:cxn ang="16200000">
                  <a:pos x="wd2" y="hd2"/>
                </a:cxn>
              </a:cxnLst>
              <a:rect l="0" t="0" r="r" b="b"/>
              <a:pathLst>
                <a:path w="21600" h="21600" extrusionOk="0">
                  <a:moveTo>
                    <a:pt x="3811" y="0"/>
                  </a:moveTo>
                  <a:lnTo>
                    <a:pt x="0" y="3811"/>
                  </a:lnTo>
                  <a:lnTo>
                    <a:pt x="1269" y="5083"/>
                  </a:lnTo>
                  <a:lnTo>
                    <a:pt x="16515" y="20328"/>
                  </a:lnTo>
                  <a:lnTo>
                    <a:pt x="17695" y="21512"/>
                  </a:lnTo>
                  <a:lnTo>
                    <a:pt x="17787" y="21600"/>
                  </a:lnTo>
                  <a:lnTo>
                    <a:pt x="21600" y="17787"/>
                  </a:lnTo>
                  <a:close/>
                </a:path>
              </a:pathLst>
            </a:custGeom>
            <a:solidFill>
              <a:srgbClr val="FFFFFF"/>
            </a:solidFill>
            <a:ln w="12700" cap="flat">
              <a:noFill/>
              <a:miter lim="400000"/>
            </a:ln>
            <a:effectLst/>
          </p:spPr>
          <p:txBody>
            <a:bodyPr wrap="square" lIns="19050" tIns="19050" rIns="19050" bIns="19050" numCol="1" anchor="ctr">
              <a:noAutofit/>
            </a:bodyPr>
            <a:lstStyle/>
            <a:p>
              <a:pPr defTabSz="228600">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45" name="Shape 1068"/>
            <p:cNvSpPr/>
            <p:nvPr/>
          </p:nvSpPr>
          <p:spPr>
            <a:xfrm>
              <a:off x="0" y="81222"/>
              <a:ext cx="506636" cy="506630"/>
            </a:xfrm>
            <a:custGeom>
              <a:avLst/>
              <a:gdLst/>
              <a:ahLst/>
              <a:cxnLst>
                <a:cxn ang="0">
                  <a:pos x="wd2" y="hd2"/>
                </a:cxn>
                <a:cxn ang="5400000">
                  <a:pos x="wd2" y="hd2"/>
                </a:cxn>
                <a:cxn ang="10800000">
                  <a:pos x="wd2" y="hd2"/>
                </a:cxn>
                <a:cxn ang="16200000">
                  <a:pos x="wd2" y="hd2"/>
                </a:cxn>
              </a:cxnLst>
              <a:rect l="0" t="0" r="r" b="b"/>
              <a:pathLst>
                <a:path w="21105" h="21600" extrusionOk="0">
                  <a:moveTo>
                    <a:pt x="21105" y="7346"/>
                  </a:moveTo>
                  <a:lnTo>
                    <a:pt x="19909" y="6122"/>
                  </a:lnTo>
                  <a:lnTo>
                    <a:pt x="18713" y="7346"/>
                  </a:lnTo>
                  <a:lnTo>
                    <a:pt x="17039" y="9059"/>
                  </a:lnTo>
                  <a:lnTo>
                    <a:pt x="7471" y="9060"/>
                  </a:lnTo>
                  <a:lnTo>
                    <a:pt x="13930" y="2447"/>
                  </a:lnTo>
                  <a:lnTo>
                    <a:pt x="15124" y="1224"/>
                  </a:lnTo>
                  <a:lnTo>
                    <a:pt x="13928" y="0"/>
                  </a:lnTo>
                  <a:lnTo>
                    <a:pt x="1486" y="12735"/>
                  </a:lnTo>
                  <a:cubicBezTo>
                    <a:pt x="-495" y="14762"/>
                    <a:pt x="-495" y="18052"/>
                    <a:pt x="1487" y="20078"/>
                  </a:cubicBezTo>
                  <a:cubicBezTo>
                    <a:pt x="2477" y="21092"/>
                    <a:pt x="3778" y="21600"/>
                    <a:pt x="5076" y="21600"/>
                  </a:cubicBezTo>
                  <a:cubicBezTo>
                    <a:pt x="6374" y="21600"/>
                    <a:pt x="7673" y="21093"/>
                    <a:pt x="8664" y="20079"/>
                  </a:cubicBezTo>
                  <a:lnTo>
                    <a:pt x="21105" y="7346"/>
                  </a:lnTo>
                  <a:close/>
                  <a:moveTo>
                    <a:pt x="7180" y="12521"/>
                  </a:moveTo>
                  <a:cubicBezTo>
                    <a:pt x="7647" y="12521"/>
                    <a:pt x="8025" y="12909"/>
                    <a:pt x="8025" y="13386"/>
                  </a:cubicBezTo>
                  <a:cubicBezTo>
                    <a:pt x="8025" y="13865"/>
                    <a:pt x="7646" y="14253"/>
                    <a:pt x="7180" y="14253"/>
                  </a:cubicBezTo>
                  <a:cubicBezTo>
                    <a:pt x="6713" y="14252"/>
                    <a:pt x="6334" y="13865"/>
                    <a:pt x="6334" y="13386"/>
                  </a:cubicBezTo>
                  <a:cubicBezTo>
                    <a:pt x="6334" y="12909"/>
                    <a:pt x="6713" y="12521"/>
                    <a:pt x="7180" y="12521"/>
                  </a:cubicBezTo>
                  <a:moveTo>
                    <a:pt x="5065" y="17715"/>
                  </a:moveTo>
                  <a:cubicBezTo>
                    <a:pt x="4363" y="17715"/>
                    <a:pt x="3794" y="17134"/>
                    <a:pt x="3794" y="16419"/>
                  </a:cubicBezTo>
                  <a:cubicBezTo>
                    <a:pt x="3794" y="15700"/>
                    <a:pt x="4363" y="15117"/>
                    <a:pt x="5065" y="15117"/>
                  </a:cubicBezTo>
                  <a:cubicBezTo>
                    <a:pt x="5765" y="15117"/>
                    <a:pt x="6334" y="15700"/>
                    <a:pt x="6334" y="16419"/>
                  </a:cubicBezTo>
                  <a:cubicBezTo>
                    <a:pt x="6334" y="17134"/>
                    <a:pt x="5765" y="17715"/>
                    <a:pt x="5065" y="17715"/>
                  </a:cubicBezTo>
                </a:path>
              </a:pathLst>
            </a:custGeom>
            <a:solidFill>
              <a:srgbClr val="FFFFFF"/>
            </a:solidFill>
            <a:ln w="12700" cap="flat">
              <a:noFill/>
              <a:miter lim="400000"/>
            </a:ln>
            <a:effectLst/>
          </p:spPr>
          <p:txBody>
            <a:bodyPr wrap="square" lIns="19050" tIns="19050" rIns="19050" bIns="19050" numCol="1" anchor="ctr">
              <a:noAutofit/>
            </a:bodyPr>
            <a:lstStyle/>
            <a:p>
              <a:pPr defTabSz="228600">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grpSp>
      <p:sp>
        <p:nvSpPr>
          <p:cNvPr id="46" name="TextBox 39"/>
          <p:cNvSpPr txBox="1"/>
          <p:nvPr/>
        </p:nvSpPr>
        <p:spPr>
          <a:xfrm>
            <a:off x="899592" y="3645024"/>
            <a:ext cx="4499360" cy="2554545"/>
          </a:xfrm>
          <a:prstGeom prst="rect">
            <a:avLst/>
          </a:prstGeom>
          <a:noFill/>
        </p:spPr>
        <p:txBody>
          <a:bodyPr wrap="square" rtlCol="0">
            <a:spAutoFit/>
          </a:bodyPr>
          <a:lstStyle/>
          <a:p>
            <a:r>
              <a:rPr lang="zh-CN" altLang="zh-CN" sz="1600" dirty="0" smtClean="0">
                <a:solidFill>
                  <a:srgbClr val="002060"/>
                </a:solidFill>
                <a:latin typeface="微软雅黑" pitchFamily="34" charset="-122"/>
                <a:ea typeface="微软雅黑" pitchFamily="34" charset="-122"/>
              </a:rPr>
              <a:t>某名牌大学大四学生马蕾蕾，申请了包括美国明尼苏达大学在内的数所国外大学。当她得知同班女生陈馨</a:t>
            </a:r>
            <a:r>
              <a:rPr lang="en-US" altLang="zh-CN" sz="1600" dirty="0" smtClean="0">
                <a:solidFill>
                  <a:srgbClr val="002060"/>
                </a:solidFill>
                <a:latin typeface="微软雅黑" pitchFamily="34" charset="-122"/>
                <a:ea typeface="微软雅黑" pitchFamily="34" charset="-122"/>
              </a:rPr>
              <a:t>(</a:t>
            </a:r>
            <a:r>
              <a:rPr lang="zh-CN" altLang="zh-CN" sz="1600" dirty="0" smtClean="0">
                <a:solidFill>
                  <a:srgbClr val="002060"/>
                </a:solidFill>
                <a:latin typeface="微软雅黑" pitchFamily="34" charset="-122"/>
                <a:ea typeface="微软雅黑" pitchFamily="34" charset="-122"/>
              </a:rPr>
              <a:t>化名</a:t>
            </a:r>
            <a:r>
              <a:rPr lang="en-US" altLang="zh-CN" sz="1600" dirty="0" smtClean="0">
                <a:solidFill>
                  <a:srgbClr val="002060"/>
                </a:solidFill>
                <a:latin typeface="微软雅黑" pitchFamily="34" charset="-122"/>
                <a:ea typeface="微软雅黑" pitchFamily="34" charset="-122"/>
              </a:rPr>
              <a:t>)</a:t>
            </a:r>
            <a:r>
              <a:rPr lang="zh-CN" altLang="zh-CN" sz="1600" dirty="0" smtClean="0">
                <a:solidFill>
                  <a:srgbClr val="002060"/>
                </a:solidFill>
                <a:latin typeface="微软雅黑" pitchFamily="34" charset="-122"/>
                <a:ea typeface="微软雅黑" pitchFamily="34" charset="-122"/>
              </a:rPr>
              <a:t>已被明尼苏达大学接收后，抢先从信箱里窃取了陈馨的大学邀请信。并冒名陈馨用</a:t>
            </a:r>
            <a:r>
              <a:rPr lang="en-US" altLang="zh-CN" sz="1600" dirty="0" smtClean="0">
                <a:solidFill>
                  <a:srgbClr val="002060"/>
                </a:solidFill>
                <a:latin typeface="微软雅黑" pitchFamily="34" charset="-122"/>
                <a:ea typeface="微软雅黑" pitchFamily="34" charset="-122"/>
              </a:rPr>
              <a:t>E-mail</a:t>
            </a:r>
            <a:r>
              <a:rPr lang="zh-CN" altLang="zh-CN" sz="1600" dirty="0" smtClean="0">
                <a:solidFill>
                  <a:srgbClr val="002060"/>
                </a:solidFill>
                <a:latin typeface="微软雅黑" pitchFamily="34" charset="-122"/>
                <a:ea typeface="微软雅黑" pitchFamily="34" charset="-122"/>
              </a:rPr>
              <a:t>与美国校方联系，拒绝了校方对陈馨的留学邀请，同时推荐了她自己。陈馨因为迟迟没有收到明尼苏达大学的正式邀请，于是发信询问美国校方，才发现已被人冒名拒绝了邀请。校方对事件的经过进行了详细的调查和取证，对马蕾蕾作出了开除学籍的处分决定</a:t>
            </a:r>
            <a:endParaRPr lang="zh-CN" altLang="zh-CN" sz="1600" dirty="0">
              <a:solidFill>
                <a:srgbClr val="002060"/>
              </a:solidFill>
              <a:latin typeface="微软雅黑" pitchFamily="34" charset="-122"/>
              <a:ea typeface="微软雅黑" pitchFamily="34" charset="-122"/>
            </a:endParaRPr>
          </a:p>
        </p:txBody>
      </p:sp>
      <p:sp>
        <p:nvSpPr>
          <p:cNvPr id="47" name="文本框 95"/>
          <p:cNvSpPr txBox="1"/>
          <p:nvPr/>
        </p:nvSpPr>
        <p:spPr>
          <a:xfrm>
            <a:off x="827584" y="1556792"/>
            <a:ext cx="4533086" cy="978729"/>
          </a:xfrm>
          <a:prstGeom prst="rect">
            <a:avLst/>
          </a:prstGeom>
          <a:noFill/>
        </p:spPr>
        <p:txBody>
          <a:bodyPr wrap="square" rtlCol="0">
            <a:spAutoFit/>
          </a:bodyPr>
          <a:lstStyle/>
          <a:p>
            <a:pPr algn="ctr">
              <a:lnSpc>
                <a:spcPct val="120000"/>
              </a:lnSpc>
            </a:pPr>
            <a:r>
              <a:rPr lang="zh-CN" altLang="en-US" sz="2400" b="1" kern="0" dirty="0" smtClean="0">
                <a:solidFill>
                  <a:sysClr val="window" lastClr="FFFFFF"/>
                </a:solidFill>
              </a:rPr>
              <a:t>窃取他人留学邀请信 </a:t>
            </a:r>
            <a:endParaRPr lang="en-US" altLang="zh-CN" sz="2400" b="1" kern="0" dirty="0" smtClean="0">
              <a:solidFill>
                <a:sysClr val="window" lastClr="FFFFFF"/>
              </a:solidFill>
            </a:endParaRPr>
          </a:p>
          <a:p>
            <a:pPr algn="ctr">
              <a:lnSpc>
                <a:spcPct val="120000"/>
              </a:lnSpc>
            </a:pPr>
            <a:r>
              <a:rPr lang="zh-CN" altLang="en-US" sz="2400" b="1" kern="0" dirty="0" smtClean="0">
                <a:solidFill>
                  <a:sysClr val="window" lastClr="FFFFFF"/>
                </a:solidFill>
              </a:rPr>
              <a:t>大四女生被开除</a:t>
            </a:r>
            <a:endParaRPr lang="zh-CN" altLang="en-US" sz="1600" kern="0" dirty="0">
              <a:solidFill>
                <a:sysClr val="window" lastClr="FFFFFF"/>
              </a:solidFill>
            </a:endParaRPr>
          </a:p>
        </p:txBody>
      </p:sp>
      <p:pic>
        <p:nvPicPr>
          <p:cNvPr id="26626" name="Picture 2" descr="http://p4.so.qhimgs1.com/bdr/_240_/t01c5ac24a0cf2643e4.jpg"/>
          <p:cNvPicPr>
            <a:picLocks noChangeAspect="1" noChangeArrowheads="1"/>
          </p:cNvPicPr>
          <p:nvPr/>
        </p:nvPicPr>
        <p:blipFill>
          <a:blip r:embed="rId2" cstate="print"/>
          <a:srcRect/>
          <a:stretch>
            <a:fillRect/>
          </a:stretch>
        </p:blipFill>
        <p:spPr bwMode="auto">
          <a:xfrm>
            <a:off x="5580112" y="1628800"/>
            <a:ext cx="3312368" cy="4248472"/>
          </a:xfrm>
          <a:prstGeom prst="rect">
            <a:avLst/>
          </a:prstGeom>
          <a:noFill/>
        </p:spPr>
      </p:pic>
      <p:sp>
        <p:nvSpPr>
          <p:cNvPr id="16" name="TextBox 15"/>
          <p:cNvSpPr txBox="1"/>
          <p:nvPr/>
        </p:nvSpPr>
        <p:spPr>
          <a:xfrm>
            <a:off x="1142976" y="1000108"/>
            <a:ext cx="3357586" cy="523220"/>
          </a:xfrm>
          <a:prstGeom prst="rect">
            <a:avLst/>
          </a:prstGeom>
          <a:noFill/>
        </p:spPr>
        <p:txBody>
          <a:bodyPr wrap="square" rtlCol="0">
            <a:spAutoFit/>
          </a:bodyPr>
          <a:lstStyle/>
          <a:p>
            <a:r>
              <a:rPr lang="en-US" altLang="zh-CN" sz="2800" b="1" dirty="0" smtClean="0">
                <a:solidFill>
                  <a:srgbClr val="5F5F5F"/>
                </a:solidFill>
              </a:rPr>
              <a:t>【</a:t>
            </a:r>
            <a:r>
              <a:rPr lang="zh-CN" altLang="en-US" sz="2800" b="1" dirty="0" smtClean="0">
                <a:solidFill>
                  <a:srgbClr val="5F5F5F"/>
                </a:solidFill>
              </a:rPr>
              <a:t>案例导入</a:t>
            </a:r>
            <a:r>
              <a:rPr lang="en-US" altLang="zh-CN" sz="2800" b="1" dirty="0" smtClean="0">
                <a:solidFill>
                  <a:srgbClr val="5F5F5F"/>
                </a:solidFill>
              </a:rPr>
              <a:t>】</a:t>
            </a:r>
            <a:endParaRPr lang="zh-CN" altLang="en-US" sz="2800" b="1" dirty="0">
              <a:solidFill>
                <a:srgbClr val="5F5F5F"/>
              </a:solidFill>
            </a:endParaRPr>
          </a:p>
        </p:txBody>
      </p:sp>
      <p:sp>
        <p:nvSpPr>
          <p:cNvPr id="17" name="标题 16"/>
          <p:cNvSpPr>
            <a:spLocks noGrp="1"/>
          </p:cNvSpPr>
          <p:nvPr>
            <p:ph type="title"/>
          </p:nvPr>
        </p:nvSpPr>
        <p:spPr/>
        <p:txBody>
          <a:bodyPr>
            <a:normAutofit fontScale="90000"/>
          </a:bodyPr>
          <a:lstStyle/>
          <a:p>
            <a:endParaRPr lang="zh-CN" altLang="en-US"/>
          </a:p>
        </p:txBody>
      </p:sp>
      <p:pic>
        <p:nvPicPr>
          <p:cNvPr id="22" name="Picture 3" descr="C:\Users\Administrator\Desktop\工业4.0ppt制作\apic2925.jpg"/>
          <p:cNvPicPr>
            <a:picLocks noChangeAspect="1" noChangeArrowheads="1"/>
          </p:cNvPicPr>
          <p:nvPr/>
        </p:nvPicPr>
        <p:blipFill>
          <a:blip r:embed="rId3" cstate="print">
            <a:duotone>
              <a:srgbClr val="C0504D">
                <a:shade val="45000"/>
                <a:satMod val="135000"/>
              </a:srgbClr>
              <a:prstClr val="white"/>
            </a:duotone>
          </a:blip>
          <a:srcRect b="86755"/>
          <a:stretch>
            <a:fillRect/>
          </a:stretch>
        </p:blipFill>
        <p:spPr bwMode="auto">
          <a:xfrm>
            <a:off x="0" y="-6230"/>
            <a:ext cx="9144000" cy="891609"/>
          </a:xfrm>
          <a:prstGeom prst="rect">
            <a:avLst/>
          </a:prstGeom>
          <a:noFill/>
        </p:spPr>
      </p:pic>
      <p:grpSp>
        <p:nvGrpSpPr>
          <p:cNvPr id="3" name="组合 5"/>
          <p:cNvGrpSpPr>
            <a:grpSpLocks/>
          </p:cNvGrpSpPr>
          <p:nvPr/>
        </p:nvGrpSpPr>
        <p:grpSpPr bwMode="auto">
          <a:xfrm>
            <a:off x="904875" y="28575"/>
            <a:ext cx="7310463" cy="844550"/>
            <a:chOff x="4200983" y="1819112"/>
            <a:chExt cx="4327897" cy="966699"/>
          </a:xfrm>
        </p:grpSpPr>
        <p:sp>
          <p:nvSpPr>
            <p:cNvPr id="24" name="圆角矩形 23"/>
            <p:cNvSpPr/>
            <p:nvPr/>
          </p:nvSpPr>
          <p:spPr>
            <a:xfrm>
              <a:off x="4218300" y="1819112"/>
              <a:ext cx="4310580" cy="966699"/>
            </a:xfrm>
            <a:prstGeom prst="roundRect">
              <a:avLst/>
            </a:prstGeom>
            <a:gradFill flip="none" rotWithShape="1">
              <a:gsLst>
                <a:gs pos="94000">
                  <a:srgbClr val="F79646">
                    <a:lumMod val="75000"/>
                    <a:alpha val="22000"/>
                  </a:srgbClr>
                </a:gs>
                <a:gs pos="98000">
                  <a:srgbClr val="F79646">
                    <a:lumMod val="63000"/>
                    <a:lumOff val="37000"/>
                    <a:alpha val="86000"/>
                  </a:srgbClr>
                </a:gs>
              </a:gsLst>
              <a:lin ang="16200000" scaled="1"/>
              <a:tileRect/>
            </a:gradFill>
            <a:ln w="25400" cap="flat" cmpd="sng" algn="ctr">
              <a:noFill/>
              <a:prstDash val="solid"/>
            </a:ln>
            <a:effectLst/>
          </p:spPr>
          <p:txBody>
            <a:bodyPr anchor="ctr"/>
            <a:lstStyle/>
            <a:p>
              <a:pPr algn="ctr">
                <a:defRPr/>
              </a:pPr>
              <a:r>
                <a:rPr lang="zh-CN" altLang="en-US" sz="3000" b="1" kern="100" dirty="0" smtClean="0">
                  <a:solidFill>
                    <a:srgbClr val="1F497D">
                      <a:lumMod val="75000"/>
                    </a:srgbClr>
                  </a:solidFill>
                  <a:latin typeface="黑体" pitchFamily="49" charset="-122"/>
                  <a:ea typeface="黑体" pitchFamily="49" charset="-122"/>
                </a:rPr>
                <a:t>（</a:t>
              </a:r>
              <a:r>
                <a:rPr lang="zh-CN" altLang="en-US" sz="3000" b="1" kern="100" dirty="0">
                  <a:solidFill>
                    <a:srgbClr val="1F497D">
                      <a:lumMod val="75000"/>
                    </a:srgbClr>
                  </a:solidFill>
                  <a:latin typeface="黑体" pitchFamily="49" charset="-122"/>
                  <a:ea typeface="黑体" pitchFamily="49" charset="-122"/>
                </a:rPr>
                <a:t>二）正确认识和处理</a:t>
              </a:r>
              <a:r>
                <a:rPr lang="zh-CN" altLang="en-US" sz="3000" b="1" kern="100" dirty="0">
                  <a:solidFill>
                    <a:srgbClr val="FF0000"/>
                  </a:solidFill>
                  <a:latin typeface="黑体" pitchFamily="49" charset="-122"/>
                  <a:ea typeface="黑体" pitchFamily="49" charset="-122"/>
                </a:rPr>
                <a:t>竞争</a:t>
              </a:r>
              <a:r>
                <a:rPr lang="zh-CN" altLang="en-US" sz="3000" b="1" kern="100" dirty="0">
                  <a:solidFill>
                    <a:srgbClr val="1F497D">
                      <a:lumMod val="75000"/>
                    </a:srgbClr>
                  </a:solidFill>
                  <a:latin typeface="黑体" pitchFamily="49" charset="-122"/>
                  <a:ea typeface="黑体" pitchFamily="49" charset="-122"/>
                </a:rPr>
                <a:t>与</a:t>
              </a:r>
              <a:r>
                <a:rPr lang="zh-CN" altLang="en-US" sz="3000" b="1" kern="100" dirty="0">
                  <a:solidFill>
                    <a:srgbClr val="FF0000"/>
                  </a:solidFill>
                  <a:latin typeface="黑体" pitchFamily="49" charset="-122"/>
                  <a:ea typeface="黑体" pitchFamily="49" charset="-122"/>
                </a:rPr>
                <a:t>合作</a:t>
              </a:r>
              <a:r>
                <a:rPr lang="zh-CN" altLang="en-US" sz="3000" b="1" kern="100" dirty="0">
                  <a:solidFill>
                    <a:srgbClr val="1F497D">
                      <a:lumMod val="75000"/>
                    </a:srgbClr>
                  </a:solidFill>
                  <a:latin typeface="黑体" pitchFamily="49" charset="-122"/>
                  <a:ea typeface="黑体" pitchFamily="49" charset="-122"/>
                </a:rPr>
                <a:t>的关系</a:t>
              </a:r>
            </a:p>
          </p:txBody>
        </p:sp>
        <p:sp>
          <p:nvSpPr>
            <p:cNvPr id="25" name="矩形 24"/>
            <p:cNvSpPr/>
            <p:nvPr/>
          </p:nvSpPr>
          <p:spPr>
            <a:xfrm>
              <a:off x="4200983" y="2015359"/>
              <a:ext cx="75310" cy="577839"/>
            </a:xfrm>
            <a:prstGeom prst="rect">
              <a:avLst/>
            </a:prstGeom>
            <a:solidFill>
              <a:srgbClr val="F79646">
                <a:lumMod val="75000"/>
              </a:srgbClr>
            </a:solidFill>
            <a:ln w="25400" cap="flat" cmpd="sng" algn="ctr">
              <a:noFill/>
              <a:prstDash val="solid"/>
            </a:ln>
            <a:effectLst/>
          </p:spPr>
          <p:txBody>
            <a:bodyPr anchor="ctr"/>
            <a:lstStyle/>
            <a:p>
              <a:pPr algn="ctr">
                <a:defRPr/>
              </a:pPr>
              <a:endParaRPr lang="zh-CN" altLang="en-US" kern="0" dirty="0">
                <a:solidFill>
                  <a:sysClr val="window" lastClr="FFFFFF"/>
                </a:solidFill>
                <a:effectLst>
                  <a:outerShdw blurRad="38100" dist="38100" dir="2700000" algn="tl">
                    <a:srgbClr val="000000">
                      <a:alpha val="43137"/>
                    </a:srgbClr>
                  </a:outerShdw>
                </a:effectLst>
              </a:endParaRPr>
            </a:p>
          </p:txBody>
        </p:sp>
      </p:grpSp>
    </p:spTree>
  </p:cSld>
  <p:clrMapOvr>
    <a:masterClrMapping/>
  </p:clrMapOvr>
  <p:transition advTm="93772"/>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left)">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bg1">
            <a:alpha val="58038"/>
          </a:schemeClr>
        </a:solidFill>
        <a:effectLst/>
      </p:bgPr>
    </p:bg>
    <p:spTree>
      <p:nvGrpSpPr>
        <p:cNvPr id="1" name=""/>
        <p:cNvGrpSpPr/>
        <p:nvPr/>
      </p:nvGrpSpPr>
      <p:grpSpPr>
        <a:xfrm>
          <a:off x="0" y="0"/>
          <a:ext cx="0" cy="0"/>
          <a:chOff x="0" y="0"/>
          <a:chExt cx="0" cy="0"/>
        </a:xfrm>
      </p:grpSpPr>
      <p:sp>
        <p:nvSpPr>
          <p:cNvPr id="18" name="标题 17"/>
          <p:cNvSpPr>
            <a:spLocks noGrp="1"/>
          </p:cNvSpPr>
          <p:nvPr>
            <p:ph type="title"/>
          </p:nvPr>
        </p:nvSpPr>
        <p:spPr/>
        <p:txBody>
          <a:bodyPr>
            <a:noAutofit/>
          </a:bodyPr>
          <a:lstStyle/>
          <a:p>
            <a:pPr>
              <a:defRPr/>
            </a:pPr>
            <a:r>
              <a:rPr lang="zh-CN" altLang="en-US" sz="4000" kern="100" dirty="0" smtClean="0">
                <a:solidFill>
                  <a:srgbClr val="FFFF00"/>
                </a:solidFill>
                <a:effectLst/>
                <a:cs typeface="+mn-cs"/>
              </a:rPr>
              <a:t>正确认识竞争</a:t>
            </a:r>
          </a:p>
        </p:txBody>
      </p:sp>
      <p:sp>
        <p:nvSpPr>
          <p:cNvPr id="19" name="内容占位符 18"/>
          <p:cNvSpPr>
            <a:spLocks noGrp="1"/>
          </p:cNvSpPr>
          <p:nvPr>
            <p:ph sz="quarter" idx="10"/>
          </p:nvPr>
        </p:nvSpPr>
        <p:spPr/>
        <p:txBody>
          <a:bodyPr>
            <a:normAutofit fontScale="85000" lnSpcReduction="20000"/>
          </a:bodyPr>
          <a:lstStyle/>
          <a:p>
            <a:pPr>
              <a:defRPr/>
            </a:pPr>
            <a:r>
              <a:rPr lang="en-US" altLang="zh-CN" dirty="0" smtClean="0"/>
              <a:t>1</a:t>
            </a:r>
          </a:p>
          <a:p>
            <a:pPr>
              <a:defRPr/>
            </a:pPr>
            <a:endParaRPr lang="zh-CN" altLang="en-US" dirty="0"/>
          </a:p>
        </p:txBody>
      </p:sp>
      <p:sp>
        <p:nvSpPr>
          <p:cNvPr id="20" name="标题 2"/>
          <p:cNvSpPr txBox="1">
            <a:spLocks/>
          </p:cNvSpPr>
          <p:nvPr/>
        </p:nvSpPr>
        <p:spPr bwMode="auto">
          <a:xfrm>
            <a:off x="1219200" y="1066800"/>
            <a:ext cx="7262813" cy="525463"/>
          </a:xfrm>
          <a:prstGeom prst="rect">
            <a:avLst/>
          </a:prstGeom>
          <a:noFill/>
          <a:ln w="9525">
            <a:noFill/>
            <a:miter lim="800000"/>
            <a:headEnd/>
            <a:tailEnd/>
          </a:ln>
        </p:spPr>
        <p:txBody>
          <a:bodyPr lIns="91389" tIns="45694" rIns="91389" bIns="45694" anchor="ctr"/>
          <a:lstStyle/>
          <a:p>
            <a:pPr eaLnBrk="0" fontAlgn="base" hangingPunct="0">
              <a:spcBef>
                <a:spcPct val="0"/>
              </a:spcBef>
              <a:spcAft>
                <a:spcPct val="0"/>
              </a:spcAft>
              <a:defRPr/>
            </a:pPr>
            <a:endParaRPr lang="zh-CN" altLang="en-US" sz="3600" b="1" dirty="0">
              <a:solidFill>
                <a:prstClr val="black"/>
              </a:solidFill>
              <a:effectLst>
                <a:outerShdw blurRad="38100" dist="38100" dir="2700000" algn="tl">
                  <a:srgbClr val="000000">
                    <a:alpha val="43137"/>
                  </a:srgbClr>
                </a:outerShdw>
              </a:effectLst>
              <a:latin typeface="黑体" panose="02010609060101010101" pitchFamily="49" charset="-122"/>
              <a:ea typeface="黑体" panose="02010609060101010101" pitchFamily="49" charset="-122"/>
            </a:endParaRPr>
          </a:p>
        </p:txBody>
      </p:sp>
      <p:sp>
        <p:nvSpPr>
          <p:cNvPr id="21" name="内容占位符 3"/>
          <p:cNvSpPr txBox="1">
            <a:spLocks/>
          </p:cNvSpPr>
          <p:nvPr/>
        </p:nvSpPr>
        <p:spPr bwMode="auto">
          <a:xfrm>
            <a:off x="361950" y="114300"/>
            <a:ext cx="544513" cy="525463"/>
          </a:xfrm>
          <a:prstGeom prst="rect">
            <a:avLst/>
          </a:prstGeom>
          <a:noFill/>
          <a:ln w="9525">
            <a:noFill/>
            <a:miter lim="800000"/>
            <a:headEnd/>
            <a:tailEnd/>
          </a:ln>
        </p:spPr>
        <p:txBody>
          <a:bodyPr lIns="91389" tIns="45694" rIns="91389" bIns="45694"/>
          <a:lstStyle/>
          <a:p>
            <a:pPr algn="ctr" eaLnBrk="0" fontAlgn="base" hangingPunct="0">
              <a:spcBef>
                <a:spcPct val="20000"/>
              </a:spcBef>
              <a:spcAft>
                <a:spcPct val="0"/>
              </a:spcAft>
              <a:defRPr/>
            </a:pPr>
            <a:endParaRPr lang="zh-CN" altLang="en-US" sz="3600" b="1" dirty="0">
              <a:solidFill>
                <a:prstClr val="white"/>
              </a:solidFill>
              <a:effectLst>
                <a:outerShdw blurRad="38100" dist="38100" dir="2700000" algn="tl">
                  <a:srgbClr val="000000">
                    <a:alpha val="43137"/>
                  </a:srgbClr>
                </a:outerShdw>
              </a:effectLst>
              <a:latin typeface="黑体" panose="02010609060101010101" pitchFamily="49" charset="-122"/>
              <a:ea typeface="黑体" panose="02010609060101010101" pitchFamily="49" charset="-122"/>
            </a:endParaRPr>
          </a:p>
        </p:txBody>
      </p:sp>
      <p:sp>
        <p:nvSpPr>
          <p:cNvPr id="22" name="五边形 21">
            <a:hlinkClick r:id="" action="ppaction://noaction"/>
          </p:cNvPr>
          <p:cNvSpPr/>
          <p:nvPr/>
        </p:nvSpPr>
        <p:spPr>
          <a:xfrm>
            <a:off x="0" y="1196752"/>
            <a:ext cx="4710022" cy="603504"/>
          </a:xfrm>
          <a:prstGeom prst="homePlate">
            <a:avLst/>
          </a:prstGeom>
        </p:spPr>
        <p:style>
          <a:lnRef idx="0">
            <a:schemeClr val="accent4"/>
          </a:lnRef>
          <a:fillRef idx="3">
            <a:schemeClr val="accent4"/>
          </a:fillRef>
          <a:effectRef idx="3">
            <a:schemeClr val="accent4"/>
          </a:effectRef>
          <a:fontRef idx="minor">
            <a:schemeClr val="lt1"/>
          </a:fontRef>
        </p:style>
        <p:txBody>
          <a:bodyPr lIns="91389" tIns="45694" rIns="91389" bIns="45694" anchor="ctr"/>
          <a:lstStyle/>
          <a:p>
            <a:pPr algn="ctr" fontAlgn="base">
              <a:spcBef>
                <a:spcPct val="0"/>
              </a:spcBef>
              <a:spcAft>
                <a:spcPct val="0"/>
              </a:spcAft>
              <a:defRPr/>
            </a:pPr>
            <a:r>
              <a:rPr lang="zh-CN" altLang="en-US" sz="2000" dirty="0">
                <a:solidFill>
                  <a:srgbClr val="FFFF00"/>
                </a:solidFill>
                <a:effectLst>
                  <a:outerShdw blurRad="38100" dist="38100" dir="2700000" algn="tl">
                    <a:srgbClr val="000000">
                      <a:alpha val="43137"/>
                    </a:srgbClr>
                  </a:outerShdw>
                </a:effectLst>
                <a:latin typeface="黑体" panose="02010609060101010101" pitchFamily="49" charset="-122"/>
                <a:ea typeface="黑体" panose="02010609060101010101" pitchFamily="49" charset="-122"/>
              </a:rPr>
              <a:t>竞争是普遍存在的，要敢于竞争</a:t>
            </a:r>
            <a:r>
              <a:rPr lang="zh-CN" altLang="en-US" sz="2000" dirty="0">
                <a:solidFill>
                  <a:srgbClr val="FFFF00"/>
                </a:solidFill>
                <a:latin typeface="黑体" panose="02010609060101010101" pitchFamily="49" charset="-122"/>
                <a:ea typeface="黑体" panose="02010609060101010101" pitchFamily="49" charset="-122"/>
              </a:rPr>
              <a:t>。</a:t>
            </a:r>
          </a:p>
        </p:txBody>
      </p:sp>
      <p:sp>
        <p:nvSpPr>
          <p:cNvPr id="26" name="椭圆形标注 25"/>
          <p:cNvSpPr/>
          <p:nvPr/>
        </p:nvSpPr>
        <p:spPr>
          <a:xfrm rot="3260280">
            <a:off x="5099024" y="-118126"/>
            <a:ext cx="1754262" cy="2197709"/>
          </a:xfrm>
          <a:prstGeom prst="wedgeEllipseCallout">
            <a:avLst>
              <a:gd name="adj1" fmla="val -39106"/>
              <a:gd name="adj2" fmla="val 62501"/>
            </a:avLst>
          </a:prstGeom>
          <a:ln/>
        </p:spPr>
        <p:style>
          <a:lnRef idx="1">
            <a:schemeClr val="accent4"/>
          </a:lnRef>
          <a:fillRef idx="2">
            <a:schemeClr val="accent4"/>
          </a:fillRef>
          <a:effectRef idx="1">
            <a:schemeClr val="accent4"/>
          </a:effectRef>
          <a:fontRef idx="minor">
            <a:schemeClr val="dk1"/>
          </a:fontRef>
        </p:style>
        <p:txBody>
          <a:bodyPr lIns="91389" tIns="45694" rIns="91389" bIns="45694" anchor="ctr"/>
          <a:lstStyle/>
          <a:p>
            <a:pPr algn="ctr" fontAlgn="base">
              <a:spcBef>
                <a:spcPct val="0"/>
              </a:spcBef>
              <a:spcAft>
                <a:spcPct val="0"/>
              </a:spcAft>
              <a:defRPr/>
            </a:pPr>
            <a:endParaRPr lang="zh-CN" altLang="en-US" sz="2500" dirty="0">
              <a:solidFill>
                <a:prstClr val="white"/>
              </a:solidFill>
              <a:effectLst>
                <a:outerShdw blurRad="38100" dist="38100" dir="2700000" algn="tl">
                  <a:srgbClr val="000000">
                    <a:alpha val="43137"/>
                  </a:srgbClr>
                </a:outerShdw>
              </a:effectLst>
              <a:latin typeface="黑体" panose="02010609060101010101" pitchFamily="49" charset="-122"/>
              <a:ea typeface="黑体" panose="02010609060101010101" pitchFamily="49" charset="-122"/>
            </a:endParaRPr>
          </a:p>
        </p:txBody>
      </p:sp>
      <p:sp>
        <p:nvSpPr>
          <p:cNvPr id="122910" name="AutoShape 16" descr="http://img2.imgtn.bdimg.com/it/u=2560174535,624115299&amp;fm=21&amp;gp=0.jpg"/>
          <p:cNvSpPr>
            <a:spLocks noChangeAspect="1" noChangeArrowheads="1"/>
          </p:cNvSpPr>
          <p:nvPr/>
        </p:nvSpPr>
        <p:spPr bwMode="auto">
          <a:xfrm>
            <a:off x="63500" y="-144463"/>
            <a:ext cx="304800" cy="304801"/>
          </a:xfrm>
          <a:prstGeom prst="rect">
            <a:avLst/>
          </a:prstGeom>
          <a:noFill/>
          <a:ln w="9525">
            <a:noFill/>
            <a:miter lim="800000"/>
            <a:headEnd/>
            <a:tailEnd/>
          </a:ln>
        </p:spPr>
        <p:txBody>
          <a:bodyPr lIns="91389" tIns="45694" rIns="91389" bIns="45694"/>
          <a:lstStyle/>
          <a:p>
            <a:pPr fontAlgn="base">
              <a:spcBef>
                <a:spcPct val="0"/>
              </a:spcBef>
              <a:spcAft>
                <a:spcPct val="0"/>
              </a:spcAft>
              <a:defRPr/>
            </a:pPr>
            <a:endParaRPr lang="zh-CN" altLang="en-US">
              <a:solidFill>
                <a:prstClr val="black"/>
              </a:solidFill>
              <a:effectLst>
                <a:outerShdw blurRad="38100" dist="38100" dir="2700000" algn="tl">
                  <a:srgbClr val="000000">
                    <a:alpha val="43137"/>
                  </a:srgbClr>
                </a:outerShdw>
              </a:effectLst>
              <a:latin typeface="Times New Roman" pitchFamily="18" charset="0"/>
            </a:endParaRPr>
          </a:p>
        </p:txBody>
      </p:sp>
      <p:sp>
        <p:nvSpPr>
          <p:cNvPr id="17" name="TextBox 16"/>
          <p:cNvSpPr txBox="1"/>
          <p:nvPr/>
        </p:nvSpPr>
        <p:spPr>
          <a:xfrm>
            <a:off x="5076056" y="332656"/>
            <a:ext cx="2000264" cy="1477328"/>
          </a:xfrm>
          <a:prstGeom prst="rect">
            <a:avLst/>
          </a:prstGeom>
          <a:noFill/>
        </p:spPr>
        <p:txBody>
          <a:bodyPr wrap="square" rtlCol="0">
            <a:spAutoFit/>
          </a:bodyPr>
          <a:lstStyle/>
          <a:p>
            <a:r>
              <a:rPr lang="zh-CN" altLang="en-US" b="1" dirty="0" smtClean="0">
                <a:solidFill>
                  <a:srgbClr val="FF0000"/>
                </a:solidFill>
                <a:latin typeface="黑体" pitchFamily="49" charset="-122"/>
                <a:ea typeface="黑体" pitchFamily="49" charset="-122"/>
              </a:rPr>
              <a:t>竞争是互动的双方为了达到某种目的，在社会同一领域里展开的竞赛争胜。</a:t>
            </a:r>
            <a:endParaRPr lang="zh-CN" altLang="en-US" b="1" dirty="0">
              <a:solidFill>
                <a:srgbClr val="FF0000"/>
              </a:solidFill>
              <a:latin typeface="黑体" pitchFamily="49" charset="-122"/>
              <a:ea typeface="黑体" pitchFamily="49" charset="-122"/>
            </a:endParaRPr>
          </a:p>
        </p:txBody>
      </p:sp>
      <p:pic>
        <p:nvPicPr>
          <p:cNvPr id="12290" name="PA_图片 2" descr="http://i5.hexunimg.cn/2016-02-06/182214887.jpg"/>
          <p:cNvPicPr>
            <a:picLocks noChangeAspect="1" noChangeArrowheads="1"/>
          </p:cNvPicPr>
          <p:nvPr>
            <p:custDataLst>
              <p:tags r:id="rId2"/>
            </p:custDataLst>
          </p:nvPr>
        </p:nvPicPr>
        <p:blipFill>
          <a:blip r:embed="rId10" cstate="print"/>
          <a:srcRect/>
          <a:stretch>
            <a:fillRect/>
          </a:stretch>
        </p:blipFill>
        <p:spPr bwMode="auto">
          <a:xfrm>
            <a:off x="0" y="1988840"/>
            <a:ext cx="2952328" cy="1993404"/>
          </a:xfrm>
          <a:prstGeom prst="rect">
            <a:avLst/>
          </a:prstGeom>
          <a:noFill/>
        </p:spPr>
      </p:pic>
      <p:pic>
        <p:nvPicPr>
          <p:cNvPr id="12291" name="PA_图片 3"/>
          <p:cNvPicPr>
            <a:picLocks noChangeAspect="1" noChangeArrowheads="1"/>
          </p:cNvPicPr>
          <p:nvPr>
            <p:custDataLst>
              <p:tags r:id="rId3"/>
            </p:custDataLst>
          </p:nvPr>
        </p:nvPicPr>
        <p:blipFill>
          <a:blip r:embed="rId11" cstate="print"/>
          <a:srcRect t="27695" b="29223"/>
          <a:stretch>
            <a:fillRect/>
          </a:stretch>
        </p:blipFill>
        <p:spPr bwMode="auto">
          <a:xfrm>
            <a:off x="2952328" y="1988840"/>
            <a:ext cx="2952328" cy="2016224"/>
          </a:xfrm>
          <a:prstGeom prst="rect">
            <a:avLst/>
          </a:prstGeom>
          <a:noFill/>
          <a:ln w="9525">
            <a:noFill/>
            <a:miter lim="800000"/>
            <a:headEnd/>
            <a:tailEnd/>
          </a:ln>
        </p:spPr>
      </p:pic>
      <p:pic>
        <p:nvPicPr>
          <p:cNvPr id="12294" name="PA_图片 6"/>
          <p:cNvPicPr>
            <a:picLocks noChangeAspect="1" noChangeArrowheads="1"/>
          </p:cNvPicPr>
          <p:nvPr>
            <p:custDataLst>
              <p:tags r:id="rId4"/>
            </p:custDataLst>
          </p:nvPr>
        </p:nvPicPr>
        <p:blipFill>
          <a:blip r:embed="rId12" cstate="print"/>
          <a:srcRect t="28850" b="31145"/>
          <a:stretch>
            <a:fillRect/>
          </a:stretch>
        </p:blipFill>
        <p:spPr bwMode="auto">
          <a:xfrm>
            <a:off x="5868144" y="1916832"/>
            <a:ext cx="3096344" cy="2160240"/>
          </a:xfrm>
          <a:prstGeom prst="rect">
            <a:avLst/>
          </a:prstGeom>
          <a:noFill/>
          <a:ln w="9525">
            <a:noFill/>
            <a:miter lim="800000"/>
            <a:headEnd/>
            <a:tailEnd/>
          </a:ln>
        </p:spPr>
      </p:pic>
      <p:pic>
        <p:nvPicPr>
          <p:cNvPr id="12295" name="PA_图片 7"/>
          <p:cNvPicPr>
            <a:picLocks noChangeAspect="1" noChangeArrowheads="1"/>
          </p:cNvPicPr>
          <p:nvPr>
            <p:custDataLst>
              <p:tags r:id="rId5"/>
            </p:custDataLst>
          </p:nvPr>
        </p:nvPicPr>
        <p:blipFill>
          <a:blip r:embed="rId13" cstate="print"/>
          <a:srcRect t="26669" b="29326"/>
          <a:stretch>
            <a:fillRect/>
          </a:stretch>
        </p:blipFill>
        <p:spPr bwMode="auto">
          <a:xfrm>
            <a:off x="0" y="4005064"/>
            <a:ext cx="3096344" cy="2376264"/>
          </a:xfrm>
          <a:prstGeom prst="rect">
            <a:avLst/>
          </a:prstGeom>
          <a:noFill/>
          <a:ln w="9525">
            <a:noFill/>
            <a:miter lim="800000"/>
            <a:headEnd/>
            <a:tailEnd/>
          </a:ln>
        </p:spPr>
      </p:pic>
      <p:pic>
        <p:nvPicPr>
          <p:cNvPr id="12296" name="PA_图片 8"/>
          <p:cNvPicPr>
            <a:picLocks noChangeAspect="1" noChangeArrowheads="1"/>
          </p:cNvPicPr>
          <p:nvPr>
            <p:custDataLst>
              <p:tags r:id="rId6"/>
            </p:custDataLst>
          </p:nvPr>
        </p:nvPicPr>
        <p:blipFill>
          <a:blip r:embed="rId14" cstate="print"/>
          <a:srcRect t="27516" b="29812"/>
          <a:stretch>
            <a:fillRect/>
          </a:stretch>
        </p:blipFill>
        <p:spPr bwMode="auto">
          <a:xfrm>
            <a:off x="3059832" y="4005064"/>
            <a:ext cx="3037192" cy="2304256"/>
          </a:xfrm>
          <a:prstGeom prst="rect">
            <a:avLst/>
          </a:prstGeom>
          <a:noFill/>
          <a:ln w="9525">
            <a:noFill/>
            <a:miter lim="800000"/>
            <a:headEnd/>
            <a:tailEnd/>
          </a:ln>
        </p:spPr>
      </p:pic>
      <p:pic>
        <p:nvPicPr>
          <p:cNvPr id="12297" name="PA_图片 9"/>
          <p:cNvPicPr>
            <a:picLocks noChangeAspect="1" noChangeArrowheads="1"/>
          </p:cNvPicPr>
          <p:nvPr>
            <p:custDataLst>
              <p:tags r:id="rId7"/>
            </p:custDataLst>
          </p:nvPr>
        </p:nvPicPr>
        <p:blipFill>
          <a:blip r:embed="rId15" cstate="print"/>
          <a:srcRect t="27516" b="29812"/>
          <a:stretch>
            <a:fillRect/>
          </a:stretch>
        </p:blipFill>
        <p:spPr bwMode="auto">
          <a:xfrm>
            <a:off x="6106808" y="4077072"/>
            <a:ext cx="3037192" cy="2304256"/>
          </a:xfrm>
          <a:prstGeom prst="rect">
            <a:avLst/>
          </a:prstGeom>
          <a:noFill/>
          <a:ln w="9525">
            <a:noFill/>
            <a:miter lim="800000"/>
            <a:headEnd/>
            <a:tailEnd/>
          </a:ln>
        </p:spPr>
      </p:pic>
      <p:sp>
        <p:nvSpPr>
          <p:cNvPr id="25" name="PA_文本框 24"/>
          <p:cNvSpPr txBox="1"/>
          <p:nvPr>
            <p:custDataLst>
              <p:tags r:id="rId8"/>
            </p:custDataLst>
          </p:nvPr>
        </p:nvSpPr>
        <p:spPr>
          <a:xfrm>
            <a:off x="216024" y="3212976"/>
            <a:ext cx="1368152" cy="369332"/>
          </a:xfrm>
          <a:prstGeom prst="rect">
            <a:avLst/>
          </a:prstGeom>
          <a:noFill/>
        </p:spPr>
        <p:txBody>
          <a:bodyPr wrap="square" rtlCol="0">
            <a:spAutoFit/>
          </a:bodyPr>
          <a:lstStyle/>
          <a:p>
            <a:r>
              <a:rPr lang="zh-CN" altLang="en-US" b="1" dirty="0" smtClean="0">
                <a:solidFill>
                  <a:srgbClr val="FFFFFF"/>
                </a:solidFill>
              </a:rPr>
              <a:t>政治竞争</a:t>
            </a:r>
            <a:endParaRPr lang="zh-CN" altLang="en-US" b="1" dirty="0">
              <a:solidFill>
                <a:srgbClr val="FFFFFF"/>
              </a:solidFill>
            </a:endParaRPr>
          </a:p>
        </p:txBody>
      </p:sp>
      <p:pic>
        <p:nvPicPr>
          <p:cNvPr id="12292" name="Picture 4" descr="http://www.cctourcollege.com/_upload/article/images/57/da/4ff18b784d469903dacfc0e50fba/38f129d1-0016-4a7d-b8d9-70fe1b4d3d77.jpg"/>
          <p:cNvPicPr>
            <a:picLocks noChangeAspect="1" noChangeArrowheads="1"/>
          </p:cNvPicPr>
          <p:nvPr/>
        </p:nvPicPr>
        <p:blipFill>
          <a:blip r:embed="rId16" cstate="print"/>
          <a:srcRect/>
          <a:stretch>
            <a:fillRect/>
          </a:stretch>
        </p:blipFill>
        <p:spPr bwMode="auto">
          <a:xfrm>
            <a:off x="1187624" y="2132856"/>
            <a:ext cx="2952328" cy="2232248"/>
          </a:xfrm>
          <a:prstGeom prst="rect">
            <a:avLst/>
          </a:prstGeom>
          <a:noFill/>
        </p:spPr>
      </p:pic>
      <p:pic>
        <p:nvPicPr>
          <p:cNvPr id="12293" name="Picture 5"/>
          <p:cNvPicPr>
            <a:picLocks noChangeAspect="1" noChangeArrowheads="1"/>
          </p:cNvPicPr>
          <p:nvPr/>
        </p:nvPicPr>
        <p:blipFill>
          <a:blip r:embed="rId17" cstate="print"/>
          <a:srcRect/>
          <a:stretch>
            <a:fillRect/>
          </a:stretch>
        </p:blipFill>
        <p:spPr bwMode="auto">
          <a:xfrm>
            <a:off x="4572000" y="2060848"/>
            <a:ext cx="3096344" cy="2304256"/>
          </a:xfrm>
          <a:prstGeom prst="rect">
            <a:avLst/>
          </a:prstGeom>
          <a:noFill/>
          <a:ln w="9525">
            <a:noFill/>
            <a:miter lim="800000"/>
            <a:headEnd/>
            <a:tailEnd/>
          </a:ln>
        </p:spPr>
      </p:pic>
      <p:sp>
        <p:nvSpPr>
          <p:cNvPr id="3" name="AutoShape 7" descr="http://img1.imgtn.bdimg.com/it/u=2092662481,1477821102&amp;fm=27&amp;gp=0.jpg"/>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zh-CN" altLang="en-US">
              <a:solidFill>
                <a:srgbClr val="5F5F5F"/>
              </a:solidFill>
            </a:endParaRPr>
          </a:p>
        </p:txBody>
      </p:sp>
      <p:sp>
        <p:nvSpPr>
          <p:cNvPr id="4" name="AutoShape 9" descr="http://img1.imgtn.bdimg.com/it/u=2092662481,1477821102&amp;fm=27&amp;gp=0.jpg"/>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zh-CN" altLang="en-US">
              <a:solidFill>
                <a:srgbClr val="5F5F5F"/>
              </a:solidFill>
            </a:endParaRPr>
          </a:p>
        </p:txBody>
      </p:sp>
      <p:pic>
        <p:nvPicPr>
          <p:cNvPr id="12299" name="Picture 11" descr="http://www.51edu.com/uploadfile/20161215/1481787629849831.jpg"/>
          <p:cNvPicPr>
            <a:picLocks noChangeAspect="1" noChangeArrowheads="1"/>
          </p:cNvPicPr>
          <p:nvPr/>
        </p:nvPicPr>
        <p:blipFill>
          <a:blip r:embed="rId18" cstate="print"/>
          <a:srcRect/>
          <a:stretch>
            <a:fillRect/>
          </a:stretch>
        </p:blipFill>
        <p:spPr bwMode="auto">
          <a:xfrm>
            <a:off x="1115616" y="4437112"/>
            <a:ext cx="3048000" cy="1876425"/>
          </a:xfrm>
          <a:prstGeom prst="rect">
            <a:avLst/>
          </a:prstGeom>
          <a:noFill/>
        </p:spPr>
      </p:pic>
      <p:pic>
        <p:nvPicPr>
          <p:cNvPr id="23" name="Picture 2" descr="http://img1.gtimg.com/view/pics/hv1/194/139/934/60768989.jpg"/>
          <p:cNvPicPr>
            <a:picLocks noChangeAspect="1" noChangeArrowheads="1"/>
          </p:cNvPicPr>
          <p:nvPr/>
        </p:nvPicPr>
        <p:blipFill>
          <a:blip r:embed="rId19" cstate="print"/>
          <a:srcRect/>
          <a:stretch>
            <a:fillRect/>
          </a:stretch>
        </p:blipFill>
        <p:spPr bwMode="auto">
          <a:xfrm>
            <a:off x="4572000" y="4365104"/>
            <a:ext cx="2952328" cy="1872208"/>
          </a:xfrm>
          <a:prstGeom prst="rect">
            <a:avLst/>
          </a:prstGeom>
          <a:noFill/>
        </p:spPr>
      </p:pic>
    </p:spTree>
    <p:custDataLst>
      <p:tags r:id="rId1"/>
    </p:custDataLst>
  </p:cSld>
  <p:clrMapOvr>
    <a:masterClrMapping/>
  </p:clrMapOvr>
  <p:transition advTm="56643"/>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500"/>
                                  </p:stCondLst>
                                  <p:childTnLst>
                                    <p:set>
                                      <p:cBhvr>
                                        <p:cTn id="6" dur="1" fill="hold">
                                          <p:stCondLst>
                                            <p:cond delay="0"/>
                                          </p:stCondLst>
                                        </p:cTn>
                                        <p:tgtEl>
                                          <p:spTgt spid="22"/>
                                        </p:tgtEl>
                                        <p:attrNameLst>
                                          <p:attrName>style.visibility</p:attrName>
                                        </p:attrNameLst>
                                      </p:cBhvr>
                                      <p:to>
                                        <p:strVal val="visible"/>
                                      </p:to>
                                    </p:set>
                                    <p:anim calcmode="lin" valueType="num">
                                      <p:cBhvr additive="base">
                                        <p:cTn id="7" dur="500" fill="hold"/>
                                        <p:tgtEl>
                                          <p:spTgt spid="22"/>
                                        </p:tgtEl>
                                        <p:attrNameLst>
                                          <p:attrName>ppt_x</p:attrName>
                                        </p:attrNameLst>
                                      </p:cBhvr>
                                      <p:tavLst>
                                        <p:tav tm="0">
                                          <p:val>
                                            <p:strVal val="0-#ppt_w/2"/>
                                          </p:val>
                                        </p:tav>
                                        <p:tav tm="100000">
                                          <p:val>
                                            <p:strVal val="#ppt_x"/>
                                          </p:val>
                                        </p:tav>
                                      </p:tavLst>
                                    </p:anim>
                                    <p:anim calcmode="lin" valueType="num">
                                      <p:cBhvr additive="base">
                                        <p:cTn id="8" dur="500" fill="hold"/>
                                        <p:tgtEl>
                                          <p:spTgt spid="22"/>
                                        </p:tgtEl>
                                        <p:attrNameLst>
                                          <p:attrName>ppt_y</p:attrName>
                                        </p:attrNameLst>
                                      </p:cBhvr>
                                      <p:tavLst>
                                        <p:tav tm="0">
                                          <p:val>
                                            <p:strVal val="#ppt_y"/>
                                          </p:val>
                                        </p:tav>
                                        <p:tav tm="100000">
                                          <p:val>
                                            <p:strVal val="#ppt_y"/>
                                          </p:val>
                                        </p:tav>
                                      </p:tavLst>
                                    </p:anim>
                                  </p:childTnLst>
                                </p:cTn>
                              </p:par>
                            </p:childTnLst>
                          </p:cTn>
                        </p:par>
                        <p:par>
                          <p:cTn id="9" fill="hold">
                            <p:stCondLst>
                              <p:cond delay="1000"/>
                            </p:stCondLst>
                            <p:childTnLst>
                              <p:par>
                                <p:cTn id="10" presetID="12" presetClass="entr" presetSubtype="4" fill="hold" nodeType="afterEffect">
                                  <p:stCondLst>
                                    <p:cond delay="0"/>
                                  </p:stCondLst>
                                  <p:childTnLst>
                                    <p:set>
                                      <p:cBhvr>
                                        <p:cTn id="11" dur="1" fill="hold">
                                          <p:stCondLst>
                                            <p:cond delay="0"/>
                                          </p:stCondLst>
                                        </p:cTn>
                                        <p:tgtEl>
                                          <p:spTgt spid="12290"/>
                                        </p:tgtEl>
                                        <p:attrNameLst>
                                          <p:attrName>style.visibility</p:attrName>
                                        </p:attrNameLst>
                                      </p:cBhvr>
                                      <p:to>
                                        <p:strVal val="visible"/>
                                      </p:to>
                                    </p:set>
                                    <p:animEffect transition="in" filter="slide(fromBottom)">
                                      <p:cBhvr>
                                        <p:cTn id="12" dur="500"/>
                                        <p:tgtEl>
                                          <p:spTgt spid="12290"/>
                                        </p:tgtEl>
                                      </p:cBhvr>
                                    </p:animEffect>
                                  </p:childTnLst>
                                </p:cTn>
                              </p:par>
                            </p:childTnLst>
                          </p:cTn>
                        </p:par>
                        <p:par>
                          <p:cTn id="13" fill="hold">
                            <p:stCondLst>
                              <p:cond delay="1500"/>
                            </p:stCondLst>
                            <p:childTnLst>
                              <p:par>
                                <p:cTn id="14" presetID="12" presetClass="entr" presetSubtype="4" fill="hold" grpId="0" nodeType="afterEffect">
                                  <p:stCondLst>
                                    <p:cond delay="0"/>
                                  </p:stCondLst>
                                  <p:childTnLst>
                                    <p:set>
                                      <p:cBhvr>
                                        <p:cTn id="15" dur="1" fill="hold">
                                          <p:stCondLst>
                                            <p:cond delay="0"/>
                                          </p:stCondLst>
                                        </p:cTn>
                                        <p:tgtEl>
                                          <p:spTgt spid="25"/>
                                        </p:tgtEl>
                                        <p:attrNameLst>
                                          <p:attrName>style.visibility</p:attrName>
                                        </p:attrNameLst>
                                      </p:cBhvr>
                                      <p:to>
                                        <p:strVal val="visible"/>
                                      </p:to>
                                    </p:set>
                                    <p:animEffect transition="in" filter="slide(fromBottom)">
                                      <p:cBhvr>
                                        <p:cTn id="16" dur="500"/>
                                        <p:tgtEl>
                                          <p:spTgt spid="25"/>
                                        </p:tgtEl>
                                      </p:cBhvr>
                                    </p:animEffect>
                                  </p:childTnLst>
                                </p:cTn>
                              </p:par>
                            </p:childTnLst>
                          </p:cTn>
                        </p:par>
                        <p:par>
                          <p:cTn id="17" fill="hold">
                            <p:stCondLst>
                              <p:cond delay="2000"/>
                            </p:stCondLst>
                            <p:childTnLst>
                              <p:par>
                                <p:cTn id="18" presetID="12" presetClass="entr" presetSubtype="4" fill="hold" nodeType="afterEffect">
                                  <p:stCondLst>
                                    <p:cond delay="0"/>
                                  </p:stCondLst>
                                  <p:childTnLst>
                                    <p:set>
                                      <p:cBhvr>
                                        <p:cTn id="19" dur="1" fill="hold">
                                          <p:stCondLst>
                                            <p:cond delay="0"/>
                                          </p:stCondLst>
                                        </p:cTn>
                                        <p:tgtEl>
                                          <p:spTgt spid="12291"/>
                                        </p:tgtEl>
                                        <p:attrNameLst>
                                          <p:attrName>style.visibility</p:attrName>
                                        </p:attrNameLst>
                                      </p:cBhvr>
                                      <p:to>
                                        <p:strVal val="visible"/>
                                      </p:to>
                                    </p:set>
                                    <p:animEffect transition="in" filter="slide(fromBottom)">
                                      <p:cBhvr>
                                        <p:cTn id="20" dur="500"/>
                                        <p:tgtEl>
                                          <p:spTgt spid="12291"/>
                                        </p:tgtEl>
                                      </p:cBhvr>
                                    </p:animEffect>
                                  </p:childTnLst>
                                </p:cTn>
                              </p:par>
                            </p:childTnLst>
                          </p:cTn>
                        </p:par>
                        <p:par>
                          <p:cTn id="21" fill="hold">
                            <p:stCondLst>
                              <p:cond delay="2500"/>
                            </p:stCondLst>
                            <p:childTnLst>
                              <p:par>
                                <p:cTn id="22" presetID="12" presetClass="entr" presetSubtype="4" fill="hold" nodeType="afterEffect">
                                  <p:stCondLst>
                                    <p:cond delay="0"/>
                                  </p:stCondLst>
                                  <p:childTnLst>
                                    <p:set>
                                      <p:cBhvr>
                                        <p:cTn id="23" dur="1" fill="hold">
                                          <p:stCondLst>
                                            <p:cond delay="0"/>
                                          </p:stCondLst>
                                        </p:cTn>
                                        <p:tgtEl>
                                          <p:spTgt spid="12294"/>
                                        </p:tgtEl>
                                        <p:attrNameLst>
                                          <p:attrName>style.visibility</p:attrName>
                                        </p:attrNameLst>
                                      </p:cBhvr>
                                      <p:to>
                                        <p:strVal val="visible"/>
                                      </p:to>
                                    </p:set>
                                    <p:animEffect transition="in" filter="slide(fromBottom)">
                                      <p:cBhvr>
                                        <p:cTn id="24" dur="500"/>
                                        <p:tgtEl>
                                          <p:spTgt spid="12294"/>
                                        </p:tgtEl>
                                      </p:cBhvr>
                                    </p:animEffect>
                                  </p:childTnLst>
                                </p:cTn>
                              </p:par>
                            </p:childTnLst>
                          </p:cTn>
                        </p:par>
                        <p:par>
                          <p:cTn id="25" fill="hold">
                            <p:stCondLst>
                              <p:cond delay="3000"/>
                            </p:stCondLst>
                            <p:childTnLst>
                              <p:par>
                                <p:cTn id="26" presetID="12" presetClass="entr" presetSubtype="4" fill="hold" nodeType="afterEffect">
                                  <p:stCondLst>
                                    <p:cond delay="0"/>
                                  </p:stCondLst>
                                  <p:childTnLst>
                                    <p:set>
                                      <p:cBhvr>
                                        <p:cTn id="27" dur="1" fill="hold">
                                          <p:stCondLst>
                                            <p:cond delay="0"/>
                                          </p:stCondLst>
                                        </p:cTn>
                                        <p:tgtEl>
                                          <p:spTgt spid="12295"/>
                                        </p:tgtEl>
                                        <p:attrNameLst>
                                          <p:attrName>style.visibility</p:attrName>
                                        </p:attrNameLst>
                                      </p:cBhvr>
                                      <p:to>
                                        <p:strVal val="visible"/>
                                      </p:to>
                                    </p:set>
                                    <p:animEffect transition="in" filter="slide(fromBottom)">
                                      <p:cBhvr>
                                        <p:cTn id="28" dur="500"/>
                                        <p:tgtEl>
                                          <p:spTgt spid="12295"/>
                                        </p:tgtEl>
                                      </p:cBhvr>
                                    </p:animEffect>
                                  </p:childTnLst>
                                </p:cTn>
                              </p:par>
                            </p:childTnLst>
                          </p:cTn>
                        </p:par>
                        <p:par>
                          <p:cTn id="29" fill="hold">
                            <p:stCondLst>
                              <p:cond delay="3500"/>
                            </p:stCondLst>
                            <p:childTnLst>
                              <p:par>
                                <p:cTn id="30" presetID="12" presetClass="entr" presetSubtype="4" fill="hold" nodeType="afterEffect">
                                  <p:stCondLst>
                                    <p:cond delay="0"/>
                                  </p:stCondLst>
                                  <p:childTnLst>
                                    <p:set>
                                      <p:cBhvr>
                                        <p:cTn id="31" dur="1" fill="hold">
                                          <p:stCondLst>
                                            <p:cond delay="0"/>
                                          </p:stCondLst>
                                        </p:cTn>
                                        <p:tgtEl>
                                          <p:spTgt spid="12296"/>
                                        </p:tgtEl>
                                        <p:attrNameLst>
                                          <p:attrName>style.visibility</p:attrName>
                                        </p:attrNameLst>
                                      </p:cBhvr>
                                      <p:to>
                                        <p:strVal val="visible"/>
                                      </p:to>
                                    </p:set>
                                    <p:animEffect transition="in" filter="slide(fromBottom)">
                                      <p:cBhvr>
                                        <p:cTn id="32" dur="500"/>
                                        <p:tgtEl>
                                          <p:spTgt spid="12296"/>
                                        </p:tgtEl>
                                      </p:cBhvr>
                                    </p:animEffect>
                                  </p:childTnLst>
                                </p:cTn>
                              </p:par>
                            </p:childTnLst>
                          </p:cTn>
                        </p:par>
                        <p:par>
                          <p:cTn id="33" fill="hold">
                            <p:stCondLst>
                              <p:cond delay="4000"/>
                            </p:stCondLst>
                            <p:childTnLst>
                              <p:par>
                                <p:cTn id="34" presetID="12" presetClass="entr" presetSubtype="4" fill="hold" nodeType="afterEffect">
                                  <p:stCondLst>
                                    <p:cond delay="0"/>
                                  </p:stCondLst>
                                  <p:childTnLst>
                                    <p:set>
                                      <p:cBhvr>
                                        <p:cTn id="35" dur="1" fill="hold">
                                          <p:stCondLst>
                                            <p:cond delay="0"/>
                                          </p:stCondLst>
                                        </p:cTn>
                                        <p:tgtEl>
                                          <p:spTgt spid="12297"/>
                                        </p:tgtEl>
                                        <p:attrNameLst>
                                          <p:attrName>style.visibility</p:attrName>
                                        </p:attrNameLst>
                                      </p:cBhvr>
                                      <p:to>
                                        <p:strVal val="visible"/>
                                      </p:to>
                                    </p:set>
                                    <p:animEffect transition="in" filter="slide(fromBottom)">
                                      <p:cBhvr>
                                        <p:cTn id="36" dur="500"/>
                                        <p:tgtEl>
                                          <p:spTgt spid="12297"/>
                                        </p:tgtEl>
                                      </p:cBhvr>
                                    </p:animEffec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nodeType="clickEffect">
                                  <p:stCondLst>
                                    <p:cond delay="0"/>
                                  </p:stCondLst>
                                  <p:childTnLst>
                                    <p:set>
                                      <p:cBhvr>
                                        <p:cTn id="40" dur="1" fill="hold">
                                          <p:stCondLst>
                                            <p:cond delay="499"/>
                                          </p:stCondLst>
                                        </p:cTn>
                                        <p:tgtEl>
                                          <p:spTgt spid="26"/>
                                        </p:tgtEl>
                                        <p:attrNameLst>
                                          <p:attrName>style.visibility</p:attrName>
                                        </p:attrNameLst>
                                      </p:cBhvr>
                                      <p:to>
                                        <p:strVal val="visible"/>
                                      </p:to>
                                    </p:set>
                                  </p:childTnLst>
                                </p:cTn>
                              </p:par>
                            </p:childTnLst>
                          </p:cTn>
                        </p:par>
                        <p:par>
                          <p:cTn id="41" fill="hold">
                            <p:stCondLst>
                              <p:cond delay="500"/>
                            </p:stCondLst>
                            <p:childTnLst>
                              <p:par>
                                <p:cTn id="42" presetID="5" presetClass="entr" presetSubtype="10" fill="hold" nodeType="afterEffect">
                                  <p:stCondLst>
                                    <p:cond delay="0"/>
                                  </p:stCondLst>
                                  <p:childTnLst>
                                    <p:set>
                                      <p:cBhvr>
                                        <p:cTn id="43" dur="1" fill="hold">
                                          <p:stCondLst>
                                            <p:cond delay="0"/>
                                          </p:stCondLst>
                                        </p:cTn>
                                        <p:tgtEl>
                                          <p:spTgt spid="17">
                                            <p:txEl>
                                              <p:pRg st="0" end="0"/>
                                            </p:txEl>
                                          </p:spTgt>
                                        </p:tgtEl>
                                        <p:attrNameLst>
                                          <p:attrName>style.visibility</p:attrName>
                                        </p:attrNameLst>
                                      </p:cBhvr>
                                      <p:to>
                                        <p:strVal val="visible"/>
                                      </p:to>
                                    </p:set>
                                    <p:animEffect transition="in" filter="checkerboard(across)">
                                      <p:cBhvr>
                                        <p:cTn id="44" dur="500"/>
                                        <p:tgtEl>
                                          <p:spTgt spid="17">
                                            <p:txEl>
                                              <p:pRg st="0" end="0"/>
                                            </p:txEl>
                                          </p:spTgt>
                                        </p:tgtEl>
                                      </p:cBhvr>
                                    </p:animEffect>
                                  </p:childTnLst>
                                </p:cTn>
                              </p:par>
                            </p:childTnLst>
                          </p:cTn>
                        </p:par>
                      </p:childTnLst>
                    </p:cTn>
                  </p:par>
                  <p:par>
                    <p:cTn id="45" fill="hold">
                      <p:stCondLst>
                        <p:cond delay="indefinite"/>
                      </p:stCondLst>
                      <p:childTnLst>
                        <p:par>
                          <p:cTn id="46" fill="hold">
                            <p:stCondLst>
                              <p:cond delay="0"/>
                            </p:stCondLst>
                            <p:childTnLst>
                              <p:par>
                                <p:cTn id="47" presetID="53" presetClass="exit" presetSubtype="0" fill="hold" grpId="0" nodeType="clickEffect">
                                  <p:stCondLst>
                                    <p:cond delay="0"/>
                                  </p:stCondLst>
                                  <p:childTnLst>
                                    <p:anim calcmode="lin" valueType="num">
                                      <p:cBhvr>
                                        <p:cTn id="48" dur="500"/>
                                        <p:tgtEl>
                                          <p:spTgt spid="26"/>
                                        </p:tgtEl>
                                        <p:attrNameLst>
                                          <p:attrName>ppt_w</p:attrName>
                                        </p:attrNameLst>
                                      </p:cBhvr>
                                      <p:tavLst>
                                        <p:tav tm="0">
                                          <p:val>
                                            <p:strVal val="ppt_w"/>
                                          </p:val>
                                        </p:tav>
                                        <p:tav tm="100000">
                                          <p:val>
                                            <p:fltVal val="0"/>
                                          </p:val>
                                        </p:tav>
                                      </p:tavLst>
                                    </p:anim>
                                    <p:anim calcmode="lin" valueType="num">
                                      <p:cBhvr>
                                        <p:cTn id="49" dur="500"/>
                                        <p:tgtEl>
                                          <p:spTgt spid="26"/>
                                        </p:tgtEl>
                                        <p:attrNameLst>
                                          <p:attrName>ppt_h</p:attrName>
                                        </p:attrNameLst>
                                      </p:cBhvr>
                                      <p:tavLst>
                                        <p:tav tm="0">
                                          <p:val>
                                            <p:strVal val="ppt_h"/>
                                          </p:val>
                                        </p:tav>
                                        <p:tav tm="100000">
                                          <p:val>
                                            <p:fltVal val="0"/>
                                          </p:val>
                                        </p:tav>
                                      </p:tavLst>
                                    </p:anim>
                                    <p:animEffect transition="out" filter="fade">
                                      <p:cBhvr>
                                        <p:cTn id="50" dur="500"/>
                                        <p:tgtEl>
                                          <p:spTgt spid="26"/>
                                        </p:tgtEl>
                                      </p:cBhvr>
                                    </p:animEffect>
                                    <p:set>
                                      <p:cBhvr>
                                        <p:cTn id="51" dur="1" fill="hold">
                                          <p:stCondLst>
                                            <p:cond delay="499"/>
                                          </p:stCondLst>
                                        </p:cTn>
                                        <p:tgtEl>
                                          <p:spTgt spid="26"/>
                                        </p:tgtEl>
                                        <p:attrNameLst>
                                          <p:attrName>style.visibility</p:attrName>
                                        </p:attrNameLst>
                                      </p:cBhvr>
                                      <p:to>
                                        <p:strVal val="hidden"/>
                                      </p:to>
                                    </p:set>
                                  </p:childTnLst>
                                </p:cTn>
                              </p:par>
                            </p:childTnLst>
                          </p:cTn>
                        </p:par>
                        <p:par>
                          <p:cTn id="52" fill="hold">
                            <p:stCondLst>
                              <p:cond delay="500"/>
                            </p:stCondLst>
                            <p:childTnLst>
                              <p:par>
                                <p:cTn id="53" presetID="53" presetClass="exit" presetSubtype="0" fill="hold" grpId="0" nodeType="afterEffect">
                                  <p:stCondLst>
                                    <p:cond delay="0"/>
                                  </p:stCondLst>
                                  <p:childTnLst>
                                    <p:anim calcmode="lin" valueType="num">
                                      <p:cBhvr>
                                        <p:cTn id="54" dur="500"/>
                                        <p:tgtEl>
                                          <p:spTgt spid="17">
                                            <p:txEl>
                                              <p:pRg st="0" end="0"/>
                                            </p:txEl>
                                          </p:spTgt>
                                        </p:tgtEl>
                                        <p:attrNameLst>
                                          <p:attrName>ppt_w</p:attrName>
                                        </p:attrNameLst>
                                      </p:cBhvr>
                                      <p:tavLst>
                                        <p:tav tm="0">
                                          <p:val>
                                            <p:strVal val="ppt_w"/>
                                          </p:val>
                                        </p:tav>
                                        <p:tav tm="100000">
                                          <p:val>
                                            <p:fltVal val="0"/>
                                          </p:val>
                                        </p:tav>
                                      </p:tavLst>
                                    </p:anim>
                                    <p:anim calcmode="lin" valueType="num">
                                      <p:cBhvr>
                                        <p:cTn id="55" dur="500"/>
                                        <p:tgtEl>
                                          <p:spTgt spid="17">
                                            <p:txEl>
                                              <p:pRg st="0" end="0"/>
                                            </p:txEl>
                                          </p:spTgt>
                                        </p:tgtEl>
                                        <p:attrNameLst>
                                          <p:attrName>ppt_h</p:attrName>
                                        </p:attrNameLst>
                                      </p:cBhvr>
                                      <p:tavLst>
                                        <p:tav tm="0">
                                          <p:val>
                                            <p:strVal val="ppt_h"/>
                                          </p:val>
                                        </p:tav>
                                        <p:tav tm="100000">
                                          <p:val>
                                            <p:fltVal val="0"/>
                                          </p:val>
                                        </p:tav>
                                      </p:tavLst>
                                    </p:anim>
                                    <p:animEffect transition="out" filter="fade">
                                      <p:cBhvr>
                                        <p:cTn id="56" dur="500"/>
                                        <p:tgtEl>
                                          <p:spTgt spid="17">
                                            <p:txEl>
                                              <p:pRg st="0" end="0"/>
                                            </p:txEl>
                                          </p:spTgt>
                                        </p:tgtEl>
                                      </p:cBhvr>
                                    </p:animEffect>
                                    <p:set>
                                      <p:cBhvr>
                                        <p:cTn id="57" dur="1" fill="hold">
                                          <p:stCondLst>
                                            <p:cond delay="499"/>
                                          </p:stCondLst>
                                        </p:cTn>
                                        <p:tgtEl>
                                          <p:spTgt spid="17">
                                            <p:txEl>
                                              <p:pRg st="0" end="0"/>
                                            </p:txEl>
                                          </p:spTgt>
                                        </p:tgtEl>
                                        <p:attrNameLst>
                                          <p:attrName>style.visibility</p:attrName>
                                        </p:attrNameLst>
                                      </p:cBhvr>
                                      <p:to>
                                        <p:strVal val="hidden"/>
                                      </p:to>
                                    </p:set>
                                  </p:childTnLst>
                                </p:cTn>
                              </p:par>
                            </p:childTnLst>
                          </p:cTn>
                        </p:par>
                      </p:childTnLst>
                    </p:cTn>
                  </p:par>
                  <p:par>
                    <p:cTn id="58" fill="hold">
                      <p:stCondLst>
                        <p:cond delay="indefinite"/>
                      </p:stCondLst>
                      <p:childTnLst>
                        <p:par>
                          <p:cTn id="59" fill="hold">
                            <p:stCondLst>
                              <p:cond delay="0"/>
                            </p:stCondLst>
                            <p:childTnLst>
                              <p:par>
                                <p:cTn id="60" presetID="53" presetClass="exit" presetSubtype="0" fill="hold" nodeType="clickEffect">
                                  <p:stCondLst>
                                    <p:cond delay="0"/>
                                  </p:stCondLst>
                                  <p:childTnLst>
                                    <p:anim calcmode="lin" valueType="num">
                                      <p:cBhvr>
                                        <p:cTn id="61" dur="500"/>
                                        <p:tgtEl>
                                          <p:spTgt spid="12290"/>
                                        </p:tgtEl>
                                        <p:attrNameLst>
                                          <p:attrName>ppt_w</p:attrName>
                                        </p:attrNameLst>
                                      </p:cBhvr>
                                      <p:tavLst>
                                        <p:tav tm="0">
                                          <p:val>
                                            <p:strVal val="ppt_w"/>
                                          </p:val>
                                        </p:tav>
                                        <p:tav tm="100000">
                                          <p:val>
                                            <p:fltVal val="0"/>
                                          </p:val>
                                        </p:tav>
                                      </p:tavLst>
                                    </p:anim>
                                    <p:anim calcmode="lin" valueType="num">
                                      <p:cBhvr>
                                        <p:cTn id="62" dur="500"/>
                                        <p:tgtEl>
                                          <p:spTgt spid="12290"/>
                                        </p:tgtEl>
                                        <p:attrNameLst>
                                          <p:attrName>ppt_h</p:attrName>
                                        </p:attrNameLst>
                                      </p:cBhvr>
                                      <p:tavLst>
                                        <p:tav tm="0">
                                          <p:val>
                                            <p:strVal val="ppt_h"/>
                                          </p:val>
                                        </p:tav>
                                        <p:tav tm="100000">
                                          <p:val>
                                            <p:fltVal val="0"/>
                                          </p:val>
                                        </p:tav>
                                      </p:tavLst>
                                    </p:anim>
                                    <p:animEffect transition="out" filter="fade">
                                      <p:cBhvr>
                                        <p:cTn id="63" dur="500"/>
                                        <p:tgtEl>
                                          <p:spTgt spid="12290"/>
                                        </p:tgtEl>
                                      </p:cBhvr>
                                    </p:animEffect>
                                    <p:set>
                                      <p:cBhvr>
                                        <p:cTn id="64" dur="1" fill="hold">
                                          <p:stCondLst>
                                            <p:cond delay="499"/>
                                          </p:stCondLst>
                                        </p:cTn>
                                        <p:tgtEl>
                                          <p:spTgt spid="12290"/>
                                        </p:tgtEl>
                                        <p:attrNameLst>
                                          <p:attrName>style.visibility</p:attrName>
                                        </p:attrNameLst>
                                      </p:cBhvr>
                                      <p:to>
                                        <p:strVal val="hidden"/>
                                      </p:to>
                                    </p:set>
                                  </p:childTnLst>
                                </p:cTn>
                              </p:par>
                              <p:par>
                                <p:cTn id="65" presetID="53" presetClass="exit" presetSubtype="0" fill="hold" nodeType="withEffect">
                                  <p:stCondLst>
                                    <p:cond delay="0"/>
                                  </p:stCondLst>
                                  <p:childTnLst>
                                    <p:anim calcmode="lin" valueType="num">
                                      <p:cBhvr>
                                        <p:cTn id="66" dur="500"/>
                                        <p:tgtEl>
                                          <p:spTgt spid="12291"/>
                                        </p:tgtEl>
                                        <p:attrNameLst>
                                          <p:attrName>ppt_w</p:attrName>
                                        </p:attrNameLst>
                                      </p:cBhvr>
                                      <p:tavLst>
                                        <p:tav tm="0">
                                          <p:val>
                                            <p:strVal val="ppt_w"/>
                                          </p:val>
                                        </p:tav>
                                        <p:tav tm="100000">
                                          <p:val>
                                            <p:fltVal val="0"/>
                                          </p:val>
                                        </p:tav>
                                      </p:tavLst>
                                    </p:anim>
                                    <p:anim calcmode="lin" valueType="num">
                                      <p:cBhvr>
                                        <p:cTn id="67" dur="500"/>
                                        <p:tgtEl>
                                          <p:spTgt spid="12291"/>
                                        </p:tgtEl>
                                        <p:attrNameLst>
                                          <p:attrName>ppt_h</p:attrName>
                                        </p:attrNameLst>
                                      </p:cBhvr>
                                      <p:tavLst>
                                        <p:tav tm="0">
                                          <p:val>
                                            <p:strVal val="ppt_h"/>
                                          </p:val>
                                        </p:tav>
                                        <p:tav tm="100000">
                                          <p:val>
                                            <p:fltVal val="0"/>
                                          </p:val>
                                        </p:tav>
                                      </p:tavLst>
                                    </p:anim>
                                    <p:animEffect transition="out" filter="fade">
                                      <p:cBhvr>
                                        <p:cTn id="68" dur="500"/>
                                        <p:tgtEl>
                                          <p:spTgt spid="12291"/>
                                        </p:tgtEl>
                                      </p:cBhvr>
                                    </p:animEffect>
                                    <p:set>
                                      <p:cBhvr>
                                        <p:cTn id="69" dur="1" fill="hold">
                                          <p:stCondLst>
                                            <p:cond delay="499"/>
                                          </p:stCondLst>
                                        </p:cTn>
                                        <p:tgtEl>
                                          <p:spTgt spid="12291"/>
                                        </p:tgtEl>
                                        <p:attrNameLst>
                                          <p:attrName>style.visibility</p:attrName>
                                        </p:attrNameLst>
                                      </p:cBhvr>
                                      <p:to>
                                        <p:strVal val="hidden"/>
                                      </p:to>
                                    </p:set>
                                  </p:childTnLst>
                                </p:cTn>
                              </p:par>
                              <p:par>
                                <p:cTn id="70" presetID="53" presetClass="exit" presetSubtype="0" fill="hold" nodeType="withEffect">
                                  <p:stCondLst>
                                    <p:cond delay="0"/>
                                  </p:stCondLst>
                                  <p:childTnLst>
                                    <p:anim calcmode="lin" valueType="num">
                                      <p:cBhvr>
                                        <p:cTn id="71" dur="500"/>
                                        <p:tgtEl>
                                          <p:spTgt spid="12294"/>
                                        </p:tgtEl>
                                        <p:attrNameLst>
                                          <p:attrName>ppt_w</p:attrName>
                                        </p:attrNameLst>
                                      </p:cBhvr>
                                      <p:tavLst>
                                        <p:tav tm="0">
                                          <p:val>
                                            <p:strVal val="ppt_w"/>
                                          </p:val>
                                        </p:tav>
                                        <p:tav tm="100000">
                                          <p:val>
                                            <p:fltVal val="0"/>
                                          </p:val>
                                        </p:tav>
                                      </p:tavLst>
                                    </p:anim>
                                    <p:anim calcmode="lin" valueType="num">
                                      <p:cBhvr>
                                        <p:cTn id="72" dur="500"/>
                                        <p:tgtEl>
                                          <p:spTgt spid="12294"/>
                                        </p:tgtEl>
                                        <p:attrNameLst>
                                          <p:attrName>ppt_h</p:attrName>
                                        </p:attrNameLst>
                                      </p:cBhvr>
                                      <p:tavLst>
                                        <p:tav tm="0">
                                          <p:val>
                                            <p:strVal val="ppt_h"/>
                                          </p:val>
                                        </p:tav>
                                        <p:tav tm="100000">
                                          <p:val>
                                            <p:fltVal val="0"/>
                                          </p:val>
                                        </p:tav>
                                      </p:tavLst>
                                    </p:anim>
                                    <p:animEffect transition="out" filter="fade">
                                      <p:cBhvr>
                                        <p:cTn id="73" dur="500"/>
                                        <p:tgtEl>
                                          <p:spTgt spid="12294"/>
                                        </p:tgtEl>
                                      </p:cBhvr>
                                    </p:animEffect>
                                    <p:set>
                                      <p:cBhvr>
                                        <p:cTn id="74" dur="1" fill="hold">
                                          <p:stCondLst>
                                            <p:cond delay="499"/>
                                          </p:stCondLst>
                                        </p:cTn>
                                        <p:tgtEl>
                                          <p:spTgt spid="12294"/>
                                        </p:tgtEl>
                                        <p:attrNameLst>
                                          <p:attrName>style.visibility</p:attrName>
                                        </p:attrNameLst>
                                      </p:cBhvr>
                                      <p:to>
                                        <p:strVal val="hidden"/>
                                      </p:to>
                                    </p:set>
                                  </p:childTnLst>
                                </p:cTn>
                              </p:par>
                              <p:par>
                                <p:cTn id="75" presetID="53" presetClass="exit" presetSubtype="0" fill="hold" nodeType="withEffect">
                                  <p:stCondLst>
                                    <p:cond delay="0"/>
                                  </p:stCondLst>
                                  <p:childTnLst>
                                    <p:anim calcmode="lin" valueType="num">
                                      <p:cBhvr>
                                        <p:cTn id="76" dur="500"/>
                                        <p:tgtEl>
                                          <p:spTgt spid="12295"/>
                                        </p:tgtEl>
                                        <p:attrNameLst>
                                          <p:attrName>ppt_w</p:attrName>
                                        </p:attrNameLst>
                                      </p:cBhvr>
                                      <p:tavLst>
                                        <p:tav tm="0">
                                          <p:val>
                                            <p:strVal val="ppt_w"/>
                                          </p:val>
                                        </p:tav>
                                        <p:tav tm="100000">
                                          <p:val>
                                            <p:fltVal val="0"/>
                                          </p:val>
                                        </p:tav>
                                      </p:tavLst>
                                    </p:anim>
                                    <p:anim calcmode="lin" valueType="num">
                                      <p:cBhvr>
                                        <p:cTn id="77" dur="500"/>
                                        <p:tgtEl>
                                          <p:spTgt spid="12295"/>
                                        </p:tgtEl>
                                        <p:attrNameLst>
                                          <p:attrName>ppt_h</p:attrName>
                                        </p:attrNameLst>
                                      </p:cBhvr>
                                      <p:tavLst>
                                        <p:tav tm="0">
                                          <p:val>
                                            <p:strVal val="ppt_h"/>
                                          </p:val>
                                        </p:tav>
                                        <p:tav tm="100000">
                                          <p:val>
                                            <p:fltVal val="0"/>
                                          </p:val>
                                        </p:tav>
                                      </p:tavLst>
                                    </p:anim>
                                    <p:animEffect transition="out" filter="fade">
                                      <p:cBhvr>
                                        <p:cTn id="78" dur="500"/>
                                        <p:tgtEl>
                                          <p:spTgt spid="12295"/>
                                        </p:tgtEl>
                                      </p:cBhvr>
                                    </p:animEffect>
                                    <p:set>
                                      <p:cBhvr>
                                        <p:cTn id="79" dur="1" fill="hold">
                                          <p:stCondLst>
                                            <p:cond delay="499"/>
                                          </p:stCondLst>
                                        </p:cTn>
                                        <p:tgtEl>
                                          <p:spTgt spid="12295"/>
                                        </p:tgtEl>
                                        <p:attrNameLst>
                                          <p:attrName>style.visibility</p:attrName>
                                        </p:attrNameLst>
                                      </p:cBhvr>
                                      <p:to>
                                        <p:strVal val="hidden"/>
                                      </p:to>
                                    </p:set>
                                  </p:childTnLst>
                                </p:cTn>
                              </p:par>
                              <p:par>
                                <p:cTn id="80" presetID="53" presetClass="exit" presetSubtype="0" fill="hold" nodeType="withEffect">
                                  <p:stCondLst>
                                    <p:cond delay="0"/>
                                  </p:stCondLst>
                                  <p:childTnLst>
                                    <p:anim calcmode="lin" valueType="num">
                                      <p:cBhvr>
                                        <p:cTn id="81" dur="500"/>
                                        <p:tgtEl>
                                          <p:spTgt spid="12296"/>
                                        </p:tgtEl>
                                        <p:attrNameLst>
                                          <p:attrName>ppt_w</p:attrName>
                                        </p:attrNameLst>
                                      </p:cBhvr>
                                      <p:tavLst>
                                        <p:tav tm="0">
                                          <p:val>
                                            <p:strVal val="ppt_w"/>
                                          </p:val>
                                        </p:tav>
                                        <p:tav tm="100000">
                                          <p:val>
                                            <p:fltVal val="0"/>
                                          </p:val>
                                        </p:tav>
                                      </p:tavLst>
                                    </p:anim>
                                    <p:anim calcmode="lin" valueType="num">
                                      <p:cBhvr>
                                        <p:cTn id="82" dur="500"/>
                                        <p:tgtEl>
                                          <p:spTgt spid="12296"/>
                                        </p:tgtEl>
                                        <p:attrNameLst>
                                          <p:attrName>ppt_h</p:attrName>
                                        </p:attrNameLst>
                                      </p:cBhvr>
                                      <p:tavLst>
                                        <p:tav tm="0">
                                          <p:val>
                                            <p:strVal val="ppt_h"/>
                                          </p:val>
                                        </p:tav>
                                        <p:tav tm="100000">
                                          <p:val>
                                            <p:fltVal val="0"/>
                                          </p:val>
                                        </p:tav>
                                      </p:tavLst>
                                    </p:anim>
                                    <p:animEffect transition="out" filter="fade">
                                      <p:cBhvr>
                                        <p:cTn id="83" dur="500"/>
                                        <p:tgtEl>
                                          <p:spTgt spid="12296"/>
                                        </p:tgtEl>
                                      </p:cBhvr>
                                    </p:animEffect>
                                    <p:set>
                                      <p:cBhvr>
                                        <p:cTn id="84" dur="1" fill="hold">
                                          <p:stCondLst>
                                            <p:cond delay="499"/>
                                          </p:stCondLst>
                                        </p:cTn>
                                        <p:tgtEl>
                                          <p:spTgt spid="12296"/>
                                        </p:tgtEl>
                                        <p:attrNameLst>
                                          <p:attrName>style.visibility</p:attrName>
                                        </p:attrNameLst>
                                      </p:cBhvr>
                                      <p:to>
                                        <p:strVal val="hidden"/>
                                      </p:to>
                                    </p:set>
                                  </p:childTnLst>
                                </p:cTn>
                              </p:par>
                              <p:par>
                                <p:cTn id="85" presetID="53" presetClass="exit" presetSubtype="0" fill="hold" nodeType="withEffect">
                                  <p:stCondLst>
                                    <p:cond delay="0"/>
                                  </p:stCondLst>
                                  <p:childTnLst>
                                    <p:anim calcmode="lin" valueType="num">
                                      <p:cBhvr>
                                        <p:cTn id="86" dur="500"/>
                                        <p:tgtEl>
                                          <p:spTgt spid="12297"/>
                                        </p:tgtEl>
                                        <p:attrNameLst>
                                          <p:attrName>ppt_w</p:attrName>
                                        </p:attrNameLst>
                                      </p:cBhvr>
                                      <p:tavLst>
                                        <p:tav tm="0">
                                          <p:val>
                                            <p:strVal val="ppt_w"/>
                                          </p:val>
                                        </p:tav>
                                        <p:tav tm="100000">
                                          <p:val>
                                            <p:fltVal val="0"/>
                                          </p:val>
                                        </p:tav>
                                      </p:tavLst>
                                    </p:anim>
                                    <p:anim calcmode="lin" valueType="num">
                                      <p:cBhvr>
                                        <p:cTn id="87" dur="500"/>
                                        <p:tgtEl>
                                          <p:spTgt spid="12297"/>
                                        </p:tgtEl>
                                        <p:attrNameLst>
                                          <p:attrName>ppt_h</p:attrName>
                                        </p:attrNameLst>
                                      </p:cBhvr>
                                      <p:tavLst>
                                        <p:tav tm="0">
                                          <p:val>
                                            <p:strVal val="ppt_h"/>
                                          </p:val>
                                        </p:tav>
                                        <p:tav tm="100000">
                                          <p:val>
                                            <p:fltVal val="0"/>
                                          </p:val>
                                        </p:tav>
                                      </p:tavLst>
                                    </p:anim>
                                    <p:animEffect transition="out" filter="fade">
                                      <p:cBhvr>
                                        <p:cTn id="88" dur="500"/>
                                        <p:tgtEl>
                                          <p:spTgt spid="12297"/>
                                        </p:tgtEl>
                                      </p:cBhvr>
                                    </p:animEffect>
                                    <p:set>
                                      <p:cBhvr>
                                        <p:cTn id="89" dur="1" fill="hold">
                                          <p:stCondLst>
                                            <p:cond delay="499"/>
                                          </p:stCondLst>
                                        </p:cTn>
                                        <p:tgtEl>
                                          <p:spTgt spid="12297"/>
                                        </p:tgtEl>
                                        <p:attrNameLst>
                                          <p:attrName>style.visibility</p:attrName>
                                        </p:attrNameLst>
                                      </p:cBhvr>
                                      <p:to>
                                        <p:strVal val="hidden"/>
                                      </p:to>
                                    </p:set>
                                  </p:childTnLst>
                                </p:cTn>
                              </p:par>
                              <p:par>
                                <p:cTn id="90" presetID="53" presetClass="exit" presetSubtype="0" fill="hold" grpId="1" nodeType="withEffect">
                                  <p:stCondLst>
                                    <p:cond delay="0"/>
                                  </p:stCondLst>
                                  <p:childTnLst>
                                    <p:anim calcmode="lin" valueType="num">
                                      <p:cBhvr>
                                        <p:cTn id="91" dur="500"/>
                                        <p:tgtEl>
                                          <p:spTgt spid="25"/>
                                        </p:tgtEl>
                                        <p:attrNameLst>
                                          <p:attrName>ppt_w</p:attrName>
                                        </p:attrNameLst>
                                      </p:cBhvr>
                                      <p:tavLst>
                                        <p:tav tm="0">
                                          <p:val>
                                            <p:strVal val="ppt_w"/>
                                          </p:val>
                                        </p:tav>
                                        <p:tav tm="100000">
                                          <p:val>
                                            <p:fltVal val="0"/>
                                          </p:val>
                                        </p:tav>
                                      </p:tavLst>
                                    </p:anim>
                                    <p:anim calcmode="lin" valueType="num">
                                      <p:cBhvr>
                                        <p:cTn id="92" dur="500"/>
                                        <p:tgtEl>
                                          <p:spTgt spid="25"/>
                                        </p:tgtEl>
                                        <p:attrNameLst>
                                          <p:attrName>ppt_h</p:attrName>
                                        </p:attrNameLst>
                                      </p:cBhvr>
                                      <p:tavLst>
                                        <p:tav tm="0">
                                          <p:val>
                                            <p:strVal val="ppt_h"/>
                                          </p:val>
                                        </p:tav>
                                        <p:tav tm="100000">
                                          <p:val>
                                            <p:fltVal val="0"/>
                                          </p:val>
                                        </p:tav>
                                      </p:tavLst>
                                    </p:anim>
                                    <p:animEffect transition="out" filter="fade">
                                      <p:cBhvr>
                                        <p:cTn id="93" dur="500"/>
                                        <p:tgtEl>
                                          <p:spTgt spid="25"/>
                                        </p:tgtEl>
                                      </p:cBhvr>
                                    </p:animEffect>
                                    <p:set>
                                      <p:cBhvr>
                                        <p:cTn id="94" dur="1" fill="hold">
                                          <p:stCondLst>
                                            <p:cond delay="499"/>
                                          </p:stCondLst>
                                        </p:cTn>
                                        <p:tgtEl>
                                          <p:spTgt spid="25"/>
                                        </p:tgtEl>
                                        <p:attrNameLst>
                                          <p:attrName>style.visibility</p:attrName>
                                        </p:attrNameLst>
                                      </p:cBhvr>
                                      <p:to>
                                        <p:strVal val="hidden"/>
                                      </p:to>
                                    </p:set>
                                  </p:childTnLst>
                                </p:cTn>
                              </p:par>
                            </p:childTnLst>
                          </p:cTn>
                        </p:par>
                        <p:par>
                          <p:cTn id="95" fill="hold">
                            <p:stCondLst>
                              <p:cond delay="500"/>
                            </p:stCondLst>
                            <p:childTnLst>
                              <p:par>
                                <p:cTn id="96" presetID="2" presetClass="entr" presetSubtype="4" fill="hold" nodeType="afterEffect">
                                  <p:stCondLst>
                                    <p:cond delay="0"/>
                                  </p:stCondLst>
                                  <p:childTnLst>
                                    <p:set>
                                      <p:cBhvr>
                                        <p:cTn id="97" dur="1" fill="hold">
                                          <p:stCondLst>
                                            <p:cond delay="0"/>
                                          </p:stCondLst>
                                        </p:cTn>
                                        <p:tgtEl>
                                          <p:spTgt spid="12292"/>
                                        </p:tgtEl>
                                        <p:attrNameLst>
                                          <p:attrName>style.visibility</p:attrName>
                                        </p:attrNameLst>
                                      </p:cBhvr>
                                      <p:to>
                                        <p:strVal val="visible"/>
                                      </p:to>
                                    </p:set>
                                    <p:anim calcmode="lin" valueType="num">
                                      <p:cBhvr additive="base">
                                        <p:cTn id="98" dur="500" fill="hold"/>
                                        <p:tgtEl>
                                          <p:spTgt spid="12292"/>
                                        </p:tgtEl>
                                        <p:attrNameLst>
                                          <p:attrName>ppt_x</p:attrName>
                                        </p:attrNameLst>
                                      </p:cBhvr>
                                      <p:tavLst>
                                        <p:tav tm="0">
                                          <p:val>
                                            <p:strVal val="#ppt_x"/>
                                          </p:val>
                                        </p:tav>
                                        <p:tav tm="100000">
                                          <p:val>
                                            <p:strVal val="#ppt_x"/>
                                          </p:val>
                                        </p:tav>
                                      </p:tavLst>
                                    </p:anim>
                                    <p:anim calcmode="lin" valueType="num">
                                      <p:cBhvr additive="base">
                                        <p:cTn id="99" dur="500" fill="hold"/>
                                        <p:tgtEl>
                                          <p:spTgt spid="12292"/>
                                        </p:tgtEl>
                                        <p:attrNameLst>
                                          <p:attrName>ppt_y</p:attrName>
                                        </p:attrNameLst>
                                      </p:cBhvr>
                                      <p:tavLst>
                                        <p:tav tm="0">
                                          <p:val>
                                            <p:strVal val="1+#ppt_h/2"/>
                                          </p:val>
                                        </p:tav>
                                        <p:tav tm="100000">
                                          <p:val>
                                            <p:strVal val="#ppt_y"/>
                                          </p:val>
                                        </p:tav>
                                      </p:tavLst>
                                    </p:anim>
                                  </p:childTnLst>
                                </p:cTn>
                              </p:par>
                            </p:childTnLst>
                          </p:cTn>
                        </p:par>
                        <p:par>
                          <p:cTn id="100" fill="hold">
                            <p:stCondLst>
                              <p:cond delay="1000"/>
                            </p:stCondLst>
                            <p:childTnLst>
                              <p:par>
                                <p:cTn id="101" presetID="2" presetClass="entr" presetSubtype="4" fill="hold" nodeType="afterEffect">
                                  <p:stCondLst>
                                    <p:cond delay="0"/>
                                  </p:stCondLst>
                                  <p:childTnLst>
                                    <p:set>
                                      <p:cBhvr>
                                        <p:cTn id="102" dur="1" fill="hold">
                                          <p:stCondLst>
                                            <p:cond delay="0"/>
                                          </p:stCondLst>
                                        </p:cTn>
                                        <p:tgtEl>
                                          <p:spTgt spid="12293"/>
                                        </p:tgtEl>
                                        <p:attrNameLst>
                                          <p:attrName>style.visibility</p:attrName>
                                        </p:attrNameLst>
                                      </p:cBhvr>
                                      <p:to>
                                        <p:strVal val="visible"/>
                                      </p:to>
                                    </p:set>
                                    <p:anim calcmode="lin" valueType="num">
                                      <p:cBhvr additive="base">
                                        <p:cTn id="103" dur="500" fill="hold"/>
                                        <p:tgtEl>
                                          <p:spTgt spid="12293"/>
                                        </p:tgtEl>
                                        <p:attrNameLst>
                                          <p:attrName>ppt_x</p:attrName>
                                        </p:attrNameLst>
                                      </p:cBhvr>
                                      <p:tavLst>
                                        <p:tav tm="0">
                                          <p:val>
                                            <p:strVal val="#ppt_x"/>
                                          </p:val>
                                        </p:tav>
                                        <p:tav tm="100000">
                                          <p:val>
                                            <p:strVal val="#ppt_x"/>
                                          </p:val>
                                        </p:tav>
                                      </p:tavLst>
                                    </p:anim>
                                    <p:anim calcmode="lin" valueType="num">
                                      <p:cBhvr additive="base">
                                        <p:cTn id="104" dur="500" fill="hold"/>
                                        <p:tgtEl>
                                          <p:spTgt spid="12293"/>
                                        </p:tgtEl>
                                        <p:attrNameLst>
                                          <p:attrName>ppt_y</p:attrName>
                                        </p:attrNameLst>
                                      </p:cBhvr>
                                      <p:tavLst>
                                        <p:tav tm="0">
                                          <p:val>
                                            <p:strVal val="1+#ppt_h/2"/>
                                          </p:val>
                                        </p:tav>
                                        <p:tav tm="100000">
                                          <p:val>
                                            <p:strVal val="#ppt_y"/>
                                          </p:val>
                                        </p:tav>
                                      </p:tavLst>
                                    </p:anim>
                                  </p:childTnLst>
                                </p:cTn>
                              </p:par>
                            </p:childTnLst>
                          </p:cTn>
                        </p:par>
                        <p:par>
                          <p:cTn id="105" fill="hold">
                            <p:stCondLst>
                              <p:cond delay="1500"/>
                            </p:stCondLst>
                            <p:childTnLst>
                              <p:par>
                                <p:cTn id="106" presetID="2" presetClass="entr" presetSubtype="4" fill="hold" nodeType="afterEffect">
                                  <p:stCondLst>
                                    <p:cond delay="0"/>
                                  </p:stCondLst>
                                  <p:childTnLst>
                                    <p:set>
                                      <p:cBhvr>
                                        <p:cTn id="107" dur="1" fill="hold">
                                          <p:stCondLst>
                                            <p:cond delay="0"/>
                                          </p:stCondLst>
                                        </p:cTn>
                                        <p:tgtEl>
                                          <p:spTgt spid="12299"/>
                                        </p:tgtEl>
                                        <p:attrNameLst>
                                          <p:attrName>style.visibility</p:attrName>
                                        </p:attrNameLst>
                                      </p:cBhvr>
                                      <p:to>
                                        <p:strVal val="visible"/>
                                      </p:to>
                                    </p:set>
                                    <p:anim calcmode="lin" valueType="num">
                                      <p:cBhvr additive="base">
                                        <p:cTn id="108" dur="500" fill="hold"/>
                                        <p:tgtEl>
                                          <p:spTgt spid="12299"/>
                                        </p:tgtEl>
                                        <p:attrNameLst>
                                          <p:attrName>ppt_x</p:attrName>
                                        </p:attrNameLst>
                                      </p:cBhvr>
                                      <p:tavLst>
                                        <p:tav tm="0">
                                          <p:val>
                                            <p:strVal val="#ppt_x"/>
                                          </p:val>
                                        </p:tav>
                                        <p:tav tm="100000">
                                          <p:val>
                                            <p:strVal val="#ppt_x"/>
                                          </p:val>
                                        </p:tav>
                                      </p:tavLst>
                                    </p:anim>
                                    <p:anim calcmode="lin" valueType="num">
                                      <p:cBhvr additive="base">
                                        <p:cTn id="109" dur="500" fill="hold"/>
                                        <p:tgtEl>
                                          <p:spTgt spid="12299"/>
                                        </p:tgtEl>
                                        <p:attrNameLst>
                                          <p:attrName>ppt_y</p:attrName>
                                        </p:attrNameLst>
                                      </p:cBhvr>
                                      <p:tavLst>
                                        <p:tav tm="0">
                                          <p:val>
                                            <p:strVal val="1+#ppt_h/2"/>
                                          </p:val>
                                        </p:tav>
                                        <p:tav tm="100000">
                                          <p:val>
                                            <p:strVal val="#ppt_y"/>
                                          </p:val>
                                        </p:tav>
                                      </p:tavLst>
                                    </p:anim>
                                  </p:childTnLst>
                                </p:cTn>
                              </p:par>
                            </p:childTnLst>
                          </p:cTn>
                        </p:par>
                        <p:par>
                          <p:cTn id="110" fill="hold">
                            <p:stCondLst>
                              <p:cond delay="2000"/>
                            </p:stCondLst>
                            <p:childTnLst>
                              <p:par>
                                <p:cTn id="111" presetID="2" presetClass="entr" presetSubtype="4" fill="hold" nodeType="afterEffect">
                                  <p:stCondLst>
                                    <p:cond delay="0"/>
                                  </p:stCondLst>
                                  <p:childTnLst>
                                    <p:set>
                                      <p:cBhvr>
                                        <p:cTn id="112" dur="1" fill="hold">
                                          <p:stCondLst>
                                            <p:cond delay="0"/>
                                          </p:stCondLst>
                                        </p:cTn>
                                        <p:tgtEl>
                                          <p:spTgt spid="23"/>
                                        </p:tgtEl>
                                        <p:attrNameLst>
                                          <p:attrName>style.visibility</p:attrName>
                                        </p:attrNameLst>
                                      </p:cBhvr>
                                      <p:to>
                                        <p:strVal val="visible"/>
                                      </p:to>
                                    </p:set>
                                    <p:anim calcmode="lin" valueType="num">
                                      <p:cBhvr additive="base">
                                        <p:cTn id="113" dur="500" fill="hold"/>
                                        <p:tgtEl>
                                          <p:spTgt spid="23"/>
                                        </p:tgtEl>
                                        <p:attrNameLst>
                                          <p:attrName>ppt_x</p:attrName>
                                        </p:attrNameLst>
                                      </p:cBhvr>
                                      <p:tavLst>
                                        <p:tav tm="0">
                                          <p:val>
                                            <p:strVal val="#ppt_x"/>
                                          </p:val>
                                        </p:tav>
                                        <p:tav tm="100000">
                                          <p:val>
                                            <p:strVal val="#ppt_x"/>
                                          </p:val>
                                        </p:tav>
                                      </p:tavLst>
                                    </p:anim>
                                    <p:anim calcmode="lin" valueType="num">
                                      <p:cBhvr additive="base">
                                        <p:cTn id="114" dur="500" fill="hold"/>
                                        <p:tgtEl>
                                          <p:spTgt spid="2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animBg="1"/>
      <p:bldP spid="17" grpId="0" build="allAtOnce"/>
      <p:bldP spid="25" grpId="0"/>
      <p:bldP spid="25" grpId="1"/>
    </p:bldLst>
  </p:timing>
</p:sld>
</file>

<file path=ppt/slides/slide2.xml><?xml version="1.0" encoding="utf-8"?>
<p:sld xmlns:a="http://schemas.openxmlformats.org/drawingml/2006/main" xmlns:r="http://schemas.openxmlformats.org/officeDocument/2006/relationships" xmlns:p="http://schemas.openxmlformats.org/presentationml/2006/main">
  <p:cSld>
    <p:bg>
      <p:bgPr>
        <a:gradFill rotWithShape="0">
          <a:gsLst>
            <a:gs pos="0">
              <a:schemeClr val="accent3">
                <a:lumMod val="75000"/>
              </a:schemeClr>
            </a:gs>
            <a:gs pos="100000">
              <a:schemeClr val="bg1"/>
            </a:gs>
          </a:gsLst>
          <a:lin ang="5400000" scaled="1"/>
        </a:gradFill>
        <a:effectLst/>
      </p:bgPr>
    </p:bg>
    <p:spTree>
      <p:nvGrpSpPr>
        <p:cNvPr id="1" name=""/>
        <p:cNvGrpSpPr/>
        <p:nvPr/>
      </p:nvGrpSpPr>
      <p:grpSpPr>
        <a:xfrm>
          <a:off x="0" y="0"/>
          <a:ext cx="0" cy="0"/>
          <a:chOff x="0" y="0"/>
          <a:chExt cx="0" cy="0"/>
        </a:xfrm>
      </p:grpSpPr>
      <p:sp>
        <p:nvSpPr>
          <p:cNvPr id="2" name="标题 1"/>
          <p:cNvSpPr>
            <a:spLocks noGrp="1"/>
          </p:cNvSpPr>
          <p:nvPr>
            <p:ph type="title"/>
          </p:nvPr>
        </p:nvSpPr>
        <p:spPr>
          <a:xfrm>
            <a:off x="228600" y="0"/>
            <a:ext cx="8686800" cy="685800"/>
          </a:xfrm>
        </p:spPr>
        <p:txBody>
          <a:bodyPr/>
          <a:lstStyle/>
          <a:p>
            <a:pPr>
              <a:spcAft>
                <a:spcPts val="0"/>
              </a:spcAft>
              <a:defRPr/>
            </a:pPr>
            <a:r>
              <a:rPr lang="zh-CN" altLang="en-US" sz="3000" kern="100" dirty="0" smtClean="0">
                <a:solidFill>
                  <a:srgbClr val="FF0000"/>
                </a:solidFill>
                <a:effectLst/>
                <a:ea typeface="黑体" pitchFamily="49" charset="-122"/>
                <a:cs typeface="Arial"/>
              </a:rPr>
              <a:t>案例：</a:t>
            </a:r>
            <a:r>
              <a:rPr lang="zh-CN" altLang="en-US" sz="3000" kern="100" dirty="0" smtClean="0">
                <a:solidFill>
                  <a:srgbClr val="333333"/>
                </a:solidFill>
                <a:effectLst/>
                <a:ea typeface="黑体" pitchFamily="49" charset="-122"/>
                <a:cs typeface="Arial"/>
              </a:rPr>
              <a:t>川师大室友杀人案：</a:t>
            </a:r>
            <a:r>
              <a:rPr lang="en-US" sz="3000" kern="100" dirty="0" smtClean="0">
                <a:solidFill>
                  <a:srgbClr val="333333"/>
                </a:solidFill>
                <a:effectLst/>
                <a:ea typeface="黑体" pitchFamily="49" charset="-122"/>
                <a:cs typeface="Arial"/>
              </a:rPr>
              <a:t>50</a:t>
            </a:r>
            <a:r>
              <a:rPr lang="zh-CN" altLang="en-US" sz="3000" kern="100" dirty="0" smtClean="0">
                <a:solidFill>
                  <a:srgbClr val="333333"/>
                </a:solidFill>
                <a:effectLst/>
                <a:ea typeface="黑体" pitchFamily="49" charset="-122"/>
                <a:cs typeface="Arial"/>
              </a:rPr>
              <a:t>多处刀伤 头颈离断</a:t>
            </a:r>
            <a:endParaRPr lang="zh-CN" altLang="en-US" dirty="0"/>
          </a:p>
        </p:txBody>
      </p:sp>
      <p:sp>
        <p:nvSpPr>
          <p:cNvPr id="355331" name="内容占位符 2"/>
          <p:cNvSpPr>
            <a:spLocks noGrp="1"/>
          </p:cNvSpPr>
          <p:nvPr>
            <p:ph idx="1"/>
          </p:nvPr>
        </p:nvSpPr>
        <p:spPr>
          <a:xfrm>
            <a:off x="3581400" y="990600"/>
            <a:ext cx="5239072" cy="5246712"/>
          </a:xfrm>
          <a:solidFill>
            <a:srgbClr val="BBF3F9">
              <a:alpha val="63921"/>
            </a:srgbClr>
          </a:solidFill>
          <a:ln w="28575">
            <a:solidFill>
              <a:srgbClr val="00B0F0"/>
            </a:solidFill>
          </a:ln>
        </p:spPr>
        <p:txBody>
          <a:bodyPr/>
          <a:lstStyle/>
          <a:p>
            <a:r>
              <a:rPr lang="zh-CN" altLang="en-US" sz="2500" b="1" dirty="0" smtClean="0">
                <a:effectLst/>
                <a:latin typeface="华文楷体" pitchFamily="2" charset="-122"/>
                <a:ea typeface="华文楷体" pitchFamily="2" charset="-122"/>
              </a:rPr>
              <a:t>滕刚和芦海清，同为甘肃白银人，都是</a:t>
            </a:r>
            <a:r>
              <a:rPr lang="en-US" altLang="zh-CN" sz="2500" b="1" dirty="0" smtClean="0">
                <a:effectLst/>
                <a:latin typeface="华文楷体" pitchFamily="2" charset="-122"/>
                <a:ea typeface="华文楷体" pitchFamily="2" charset="-122"/>
              </a:rPr>
              <a:t>21</a:t>
            </a:r>
            <a:r>
              <a:rPr lang="zh-CN" altLang="en-US" sz="2500" b="1" dirty="0" smtClean="0">
                <a:effectLst/>
                <a:latin typeface="华文楷体" pitchFamily="2" charset="-122"/>
                <a:ea typeface="华文楷体" pitchFamily="2" charset="-122"/>
              </a:rPr>
              <a:t>岁，在同一年以相同的名次考入四川师范大学舞蹈学院，被分到同一间宿舍。</a:t>
            </a:r>
            <a:endParaRPr lang="en-US" altLang="zh-CN" sz="2500" b="1" dirty="0" smtClean="0">
              <a:effectLst/>
              <a:latin typeface="华文楷体" pitchFamily="2" charset="-122"/>
              <a:ea typeface="华文楷体" pitchFamily="2" charset="-122"/>
            </a:endParaRPr>
          </a:p>
          <a:p>
            <a:r>
              <a:rPr lang="en-US" altLang="zh-CN" sz="2500" b="1" dirty="0" smtClean="0">
                <a:effectLst/>
                <a:latin typeface="华文楷体" pitchFamily="2" charset="-122"/>
                <a:ea typeface="华文楷体" pitchFamily="2" charset="-122"/>
              </a:rPr>
              <a:t>2016</a:t>
            </a:r>
            <a:r>
              <a:rPr lang="zh-CN" altLang="en-US" sz="2500" b="1" dirty="0" smtClean="0">
                <a:effectLst/>
                <a:latin typeface="华文楷体" pitchFamily="2" charset="-122"/>
                <a:ea typeface="华文楷体" pitchFamily="2" charset="-122"/>
              </a:rPr>
              <a:t>年</a:t>
            </a:r>
            <a:r>
              <a:rPr lang="en-US" altLang="zh-CN" sz="2500" b="1" dirty="0" smtClean="0">
                <a:effectLst/>
                <a:latin typeface="华文楷体" pitchFamily="2" charset="-122"/>
                <a:ea typeface="华文楷体" pitchFamily="2" charset="-122"/>
              </a:rPr>
              <a:t>3</a:t>
            </a:r>
            <a:r>
              <a:rPr lang="zh-CN" altLang="en-US" sz="2500" b="1" dirty="0" smtClean="0">
                <a:effectLst/>
                <a:latin typeface="华文楷体" pitchFamily="2" charset="-122"/>
                <a:ea typeface="华文楷体" pitchFamily="2" charset="-122"/>
              </a:rPr>
              <a:t>月</a:t>
            </a:r>
            <a:r>
              <a:rPr lang="en-US" altLang="zh-CN" sz="2500" b="1" dirty="0" smtClean="0">
                <a:effectLst/>
                <a:latin typeface="华文楷体" pitchFamily="2" charset="-122"/>
                <a:ea typeface="华文楷体" pitchFamily="2" charset="-122"/>
              </a:rPr>
              <a:t>27</a:t>
            </a:r>
            <a:r>
              <a:rPr lang="zh-CN" altLang="en-US" sz="2500" b="1" dirty="0" smtClean="0">
                <a:effectLst/>
                <a:latin typeface="华文楷体" pitchFamily="2" charset="-122"/>
                <a:ea typeface="华文楷体" pitchFamily="2" charset="-122"/>
              </a:rPr>
              <a:t>日</a:t>
            </a:r>
            <a:r>
              <a:rPr lang="en-US" altLang="zh-CN" sz="2500" b="1" dirty="0" smtClean="0">
                <a:effectLst/>
                <a:latin typeface="华文楷体" pitchFamily="2" charset="-122"/>
                <a:ea typeface="华文楷体" pitchFamily="2" charset="-122"/>
              </a:rPr>
              <a:t>23</a:t>
            </a:r>
            <a:r>
              <a:rPr lang="zh-CN" altLang="en-US" sz="2500" b="1" dirty="0" smtClean="0">
                <a:effectLst/>
                <a:latin typeface="华文楷体" pitchFamily="2" charset="-122"/>
                <a:ea typeface="华文楷体" pitchFamily="2" charset="-122"/>
              </a:rPr>
              <a:t>时</a:t>
            </a:r>
            <a:r>
              <a:rPr lang="en-US" altLang="zh-CN" sz="2500" b="1" dirty="0" smtClean="0">
                <a:effectLst/>
                <a:latin typeface="华文楷体" pitchFamily="2" charset="-122"/>
                <a:ea typeface="华文楷体" pitchFamily="2" charset="-122"/>
              </a:rPr>
              <a:t>50</a:t>
            </a:r>
            <a:r>
              <a:rPr lang="zh-CN" altLang="en-US" sz="2500" b="1" dirty="0" smtClean="0">
                <a:effectLst/>
                <a:latin typeface="华文楷体" pitchFamily="2" charset="-122"/>
                <a:ea typeface="华文楷体" pitchFamily="2" charset="-122"/>
              </a:rPr>
              <a:t>分，滕刚将芦海清叫到了离寝室一个楼梯之隔的学习室内，拿出了他当天购买的不锈钢菜刀，砍向芦海清。芦海清的血溅到了天花板上。经法医鉴定，芦海清系头颈离断伤致死，全身</a:t>
            </a:r>
            <a:r>
              <a:rPr lang="en-US" altLang="zh-CN" sz="2500" b="1" dirty="0" smtClean="0">
                <a:effectLst/>
                <a:latin typeface="华文楷体" pitchFamily="2" charset="-122"/>
                <a:ea typeface="华文楷体" pitchFamily="2" charset="-122"/>
              </a:rPr>
              <a:t>50</a:t>
            </a:r>
            <a:r>
              <a:rPr lang="zh-CN" altLang="en-US" sz="2500" b="1" dirty="0" smtClean="0">
                <a:effectLst/>
                <a:latin typeface="华文楷体" pitchFamily="2" charset="-122"/>
                <a:ea typeface="华文楷体" pitchFamily="2" charset="-122"/>
              </a:rPr>
              <a:t>多处刀伤。</a:t>
            </a:r>
            <a:endParaRPr lang="en-US" altLang="zh-CN" sz="2500" b="1" dirty="0" smtClean="0">
              <a:effectLst/>
              <a:latin typeface="华文楷体" pitchFamily="2" charset="-122"/>
              <a:ea typeface="华文楷体" pitchFamily="2" charset="-122"/>
            </a:endParaRPr>
          </a:p>
          <a:p>
            <a:r>
              <a:rPr lang="en-US" altLang="zh-CN" sz="2500" b="1" dirty="0" smtClean="0">
                <a:effectLst/>
                <a:latin typeface="华文楷体" pitchFamily="2" charset="-122"/>
                <a:ea typeface="华文楷体" pitchFamily="2" charset="-122"/>
              </a:rPr>
              <a:t>3</a:t>
            </a:r>
            <a:r>
              <a:rPr lang="zh-CN" altLang="en-US" sz="2500" b="1" dirty="0" smtClean="0">
                <a:effectLst/>
                <a:latin typeface="华文楷体" pitchFamily="2" charset="-122"/>
                <a:ea typeface="华文楷体" pitchFamily="2" charset="-122"/>
              </a:rPr>
              <a:t>月</a:t>
            </a:r>
            <a:r>
              <a:rPr lang="en-US" altLang="zh-CN" sz="2500" b="1" dirty="0" smtClean="0">
                <a:effectLst/>
                <a:latin typeface="华文楷体" pitchFamily="2" charset="-122"/>
                <a:ea typeface="华文楷体" pitchFamily="2" charset="-122"/>
              </a:rPr>
              <a:t>28</a:t>
            </a:r>
            <a:r>
              <a:rPr lang="zh-CN" altLang="en-US" sz="2500" b="1" dirty="0" smtClean="0">
                <a:effectLst/>
                <a:latin typeface="华文楷体" pitchFamily="2" charset="-122"/>
                <a:ea typeface="华文楷体" pitchFamily="2" charset="-122"/>
              </a:rPr>
              <a:t>日，滕刚以涉嫌故意杀人罪被刑事拘留。</a:t>
            </a:r>
          </a:p>
          <a:p>
            <a:endParaRPr lang="zh-CN" altLang="en-US" sz="2500" b="1" dirty="0" smtClean="0">
              <a:effectLst/>
            </a:endParaRPr>
          </a:p>
        </p:txBody>
      </p:sp>
      <p:pic>
        <p:nvPicPr>
          <p:cNvPr id="355332" name="Picture 2" descr="http://n1.itc.cn/img8/wb/recom/2016/04/17/146083120110128973.JPEG"/>
          <p:cNvPicPr>
            <a:picLocks noChangeAspect="1" noChangeArrowheads="1"/>
          </p:cNvPicPr>
          <p:nvPr/>
        </p:nvPicPr>
        <p:blipFill>
          <a:blip r:embed="rId3" cstate="print"/>
          <a:srcRect/>
          <a:stretch>
            <a:fillRect/>
          </a:stretch>
        </p:blipFill>
        <p:spPr bwMode="auto">
          <a:xfrm>
            <a:off x="0" y="3657600"/>
            <a:ext cx="3241675" cy="2819400"/>
          </a:xfrm>
          <a:prstGeom prst="rect">
            <a:avLst/>
          </a:prstGeom>
          <a:noFill/>
          <a:ln w="9525">
            <a:noFill/>
            <a:miter lim="800000"/>
            <a:headEnd/>
            <a:tailEnd/>
          </a:ln>
        </p:spPr>
      </p:pic>
      <p:pic>
        <p:nvPicPr>
          <p:cNvPr id="355333" name="Picture 29" descr="运动边框"/>
          <p:cNvPicPr>
            <a:picLocks noChangeAspect="1" noChangeArrowheads="1" noCrop="1"/>
          </p:cNvPicPr>
          <p:nvPr/>
        </p:nvPicPr>
        <p:blipFill>
          <a:blip r:embed="rId4" cstate="print"/>
          <a:srcRect/>
          <a:stretch>
            <a:fillRect/>
          </a:stretch>
        </p:blipFill>
        <p:spPr bwMode="auto">
          <a:xfrm>
            <a:off x="5715000" y="6399213"/>
            <a:ext cx="3429000" cy="458787"/>
          </a:xfrm>
          <a:prstGeom prst="rect">
            <a:avLst/>
          </a:prstGeom>
          <a:noFill/>
          <a:ln w="9525">
            <a:noFill/>
            <a:miter lim="800000"/>
            <a:headEnd/>
            <a:tailEnd/>
          </a:ln>
        </p:spPr>
      </p:pic>
      <p:sp>
        <p:nvSpPr>
          <p:cNvPr id="110598" name="TextBox 20"/>
          <p:cNvSpPr txBox="1">
            <a:spLocks noChangeArrowheads="1"/>
          </p:cNvSpPr>
          <p:nvPr/>
        </p:nvSpPr>
        <p:spPr bwMode="auto">
          <a:xfrm>
            <a:off x="5791200" y="6488113"/>
            <a:ext cx="3352800" cy="646278"/>
          </a:xfrm>
          <a:prstGeom prst="rect">
            <a:avLst/>
          </a:prstGeom>
          <a:noFill/>
          <a:ln w="9525">
            <a:noFill/>
            <a:miter lim="800000"/>
            <a:headEnd/>
            <a:tailEnd/>
          </a:ln>
        </p:spPr>
        <p:txBody>
          <a:bodyPr lIns="91389" tIns="45694" rIns="91389" bIns="45694">
            <a:spAutoFit/>
          </a:bodyPr>
          <a:lstStyle/>
          <a:p>
            <a:pPr fontAlgn="base">
              <a:spcBef>
                <a:spcPct val="0"/>
              </a:spcBef>
              <a:spcAft>
                <a:spcPct val="0"/>
              </a:spcAft>
              <a:defRPr/>
            </a:pPr>
            <a:r>
              <a:rPr lang="zh-CN" altLang="en-US" b="1" dirty="0">
                <a:solidFill>
                  <a:srgbClr val="B3D1DF"/>
                </a:solidFill>
                <a:effectLst>
                  <a:outerShdw blurRad="38100" dist="38100" dir="2700000" algn="tl">
                    <a:srgbClr val="000000">
                      <a:alpha val="43137"/>
                    </a:srgbClr>
                  </a:outerShdw>
                </a:effectLst>
                <a:latin typeface="黑体" pitchFamily="49" charset="-122"/>
              </a:rPr>
              <a:t>第三节       科学对待人生环境</a:t>
            </a:r>
          </a:p>
        </p:txBody>
      </p:sp>
      <p:pic>
        <p:nvPicPr>
          <p:cNvPr id="117768" name="Picture 8" descr="四川师大杀人案"/>
          <p:cNvPicPr>
            <a:picLocks noChangeAspect="1" noChangeArrowheads="1"/>
          </p:cNvPicPr>
          <p:nvPr/>
        </p:nvPicPr>
        <p:blipFill>
          <a:blip r:embed="rId5" cstate="print"/>
          <a:srcRect/>
          <a:stretch>
            <a:fillRect/>
          </a:stretch>
        </p:blipFill>
        <p:spPr bwMode="auto">
          <a:xfrm>
            <a:off x="228600" y="609603"/>
            <a:ext cx="2971800" cy="2932176"/>
          </a:xfrm>
          <a:prstGeom prst="ellipse">
            <a:avLst/>
          </a:prstGeom>
          <a:ln w="63500"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Tree>
  </p:cSld>
  <p:clrMapOvr>
    <a:masterClrMapping/>
  </p:clrMapOvr>
  <p:transition spd="slow">
    <p:plus/>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bg1">
            <a:alpha val="58038"/>
          </a:schemeClr>
        </a:solidFill>
        <a:effectLst/>
      </p:bgPr>
    </p:bg>
    <p:spTree>
      <p:nvGrpSpPr>
        <p:cNvPr id="1" name=""/>
        <p:cNvGrpSpPr/>
        <p:nvPr/>
      </p:nvGrpSpPr>
      <p:grpSpPr>
        <a:xfrm>
          <a:off x="0" y="0"/>
          <a:ext cx="0" cy="0"/>
          <a:chOff x="0" y="0"/>
          <a:chExt cx="0" cy="0"/>
        </a:xfrm>
      </p:grpSpPr>
      <p:sp>
        <p:nvSpPr>
          <p:cNvPr id="18" name="标题 17"/>
          <p:cNvSpPr>
            <a:spLocks noGrp="1"/>
          </p:cNvSpPr>
          <p:nvPr>
            <p:ph type="title"/>
          </p:nvPr>
        </p:nvSpPr>
        <p:spPr/>
        <p:txBody>
          <a:bodyPr>
            <a:noAutofit/>
          </a:bodyPr>
          <a:lstStyle/>
          <a:p>
            <a:pPr>
              <a:defRPr/>
            </a:pPr>
            <a:r>
              <a:rPr lang="zh-CN" altLang="en-US" sz="4000" kern="100" dirty="0" smtClean="0">
                <a:solidFill>
                  <a:srgbClr val="FFFF00"/>
                </a:solidFill>
                <a:effectLst/>
                <a:cs typeface="+mn-cs"/>
              </a:rPr>
              <a:t>正确认识竞争</a:t>
            </a:r>
          </a:p>
        </p:txBody>
      </p:sp>
      <p:sp>
        <p:nvSpPr>
          <p:cNvPr id="19" name="内容占位符 18"/>
          <p:cNvSpPr>
            <a:spLocks noGrp="1"/>
          </p:cNvSpPr>
          <p:nvPr>
            <p:ph sz="quarter" idx="10"/>
          </p:nvPr>
        </p:nvSpPr>
        <p:spPr/>
        <p:txBody>
          <a:bodyPr>
            <a:normAutofit fontScale="85000" lnSpcReduction="20000"/>
          </a:bodyPr>
          <a:lstStyle/>
          <a:p>
            <a:pPr>
              <a:defRPr/>
            </a:pPr>
            <a:r>
              <a:rPr lang="en-US" altLang="zh-CN" dirty="0" smtClean="0"/>
              <a:t>1</a:t>
            </a:r>
          </a:p>
          <a:p>
            <a:pPr>
              <a:defRPr/>
            </a:pPr>
            <a:endParaRPr lang="zh-CN" altLang="en-US" dirty="0"/>
          </a:p>
        </p:txBody>
      </p:sp>
      <p:sp>
        <p:nvSpPr>
          <p:cNvPr id="20" name="标题 2"/>
          <p:cNvSpPr txBox="1">
            <a:spLocks/>
          </p:cNvSpPr>
          <p:nvPr/>
        </p:nvSpPr>
        <p:spPr bwMode="auto">
          <a:xfrm>
            <a:off x="1219200" y="1066800"/>
            <a:ext cx="7262813" cy="525463"/>
          </a:xfrm>
          <a:prstGeom prst="rect">
            <a:avLst/>
          </a:prstGeom>
          <a:noFill/>
          <a:ln w="9525">
            <a:noFill/>
            <a:miter lim="800000"/>
            <a:headEnd/>
            <a:tailEnd/>
          </a:ln>
        </p:spPr>
        <p:txBody>
          <a:bodyPr lIns="91389" tIns="45694" rIns="91389" bIns="45694" anchor="ctr"/>
          <a:lstStyle/>
          <a:p>
            <a:pPr eaLnBrk="0" fontAlgn="base" hangingPunct="0">
              <a:spcBef>
                <a:spcPct val="0"/>
              </a:spcBef>
              <a:spcAft>
                <a:spcPct val="0"/>
              </a:spcAft>
              <a:defRPr/>
            </a:pPr>
            <a:endParaRPr lang="zh-CN" altLang="en-US" sz="3600" b="1" dirty="0">
              <a:solidFill>
                <a:prstClr val="black"/>
              </a:solidFill>
              <a:effectLst>
                <a:outerShdw blurRad="38100" dist="38100" dir="2700000" algn="tl">
                  <a:srgbClr val="000000">
                    <a:alpha val="43137"/>
                  </a:srgbClr>
                </a:outerShdw>
              </a:effectLst>
              <a:latin typeface="黑体" panose="02010609060101010101" pitchFamily="49" charset="-122"/>
              <a:ea typeface="黑体" panose="02010609060101010101" pitchFamily="49" charset="-122"/>
            </a:endParaRPr>
          </a:p>
        </p:txBody>
      </p:sp>
      <p:sp>
        <p:nvSpPr>
          <p:cNvPr id="21" name="内容占位符 3"/>
          <p:cNvSpPr txBox="1">
            <a:spLocks/>
          </p:cNvSpPr>
          <p:nvPr/>
        </p:nvSpPr>
        <p:spPr bwMode="auto">
          <a:xfrm>
            <a:off x="361950" y="114300"/>
            <a:ext cx="544513" cy="525463"/>
          </a:xfrm>
          <a:prstGeom prst="rect">
            <a:avLst/>
          </a:prstGeom>
          <a:noFill/>
          <a:ln w="9525">
            <a:noFill/>
            <a:miter lim="800000"/>
            <a:headEnd/>
            <a:tailEnd/>
          </a:ln>
        </p:spPr>
        <p:txBody>
          <a:bodyPr lIns="91389" tIns="45694" rIns="91389" bIns="45694"/>
          <a:lstStyle/>
          <a:p>
            <a:pPr algn="ctr" eaLnBrk="0" fontAlgn="base" hangingPunct="0">
              <a:spcBef>
                <a:spcPct val="20000"/>
              </a:spcBef>
              <a:spcAft>
                <a:spcPct val="0"/>
              </a:spcAft>
              <a:defRPr/>
            </a:pPr>
            <a:endParaRPr lang="zh-CN" altLang="en-US" sz="3600" b="1" dirty="0">
              <a:solidFill>
                <a:prstClr val="white"/>
              </a:solidFill>
              <a:effectLst>
                <a:outerShdw blurRad="38100" dist="38100" dir="2700000" algn="tl">
                  <a:srgbClr val="000000">
                    <a:alpha val="43137"/>
                  </a:srgbClr>
                </a:outerShdw>
              </a:effectLst>
              <a:latin typeface="黑体" panose="02010609060101010101" pitchFamily="49" charset="-122"/>
              <a:ea typeface="黑体" panose="02010609060101010101" pitchFamily="49" charset="-122"/>
            </a:endParaRPr>
          </a:p>
        </p:txBody>
      </p:sp>
      <p:sp>
        <p:nvSpPr>
          <p:cNvPr id="22" name="五边形 21">
            <a:hlinkClick r:id="rId3" action="ppaction://hlinksldjump"/>
          </p:cNvPr>
          <p:cNvSpPr/>
          <p:nvPr/>
        </p:nvSpPr>
        <p:spPr>
          <a:xfrm>
            <a:off x="0" y="1484784"/>
            <a:ext cx="4710022" cy="603504"/>
          </a:xfrm>
          <a:prstGeom prst="homePlate">
            <a:avLst/>
          </a:prstGeom>
        </p:spPr>
        <p:style>
          <a:lnRef idx="0">
            <a:schemeClr val="accent4"/>
          </a:lnRef>
          <a:fillRef idx="3">
            <a:schemeClr val="accent4"/>
          </a:fillRef>
          <a:effectRef idx="3">
            <a:schemeClr val="accent4"/>
          </a:effectRef>
          <a:fontRef idx="minor">
            <a:schemeClr val="lt1"/>
          </a:fontRef>
        </p:style>
        <p:txBody>
          <a:bodyPr lIns="91389" tIns="45694" rIns="91389" bIns="45694" anchor="ctr"/>
          <a:lstStyle/>
          <a:p>
            <a:pPr algn="ctr" fontAlgn="base">
              <a:spcBef>
                <a:spcPct val="0"/>
              </a:spcBef>
              <a:spcAft>
                <a:spcPct val="0"/>
              </a:spcAft>
              <a:defRPr/>
            </a:pPr>
            <a:r>
              <a:rPr lang="zh-CN" altLang="en-US" sz="2000" dirty="0">
                <a:solidFill>
                  <a:srgbClr val="FFFF00"/>
                </a:solidFill>
                <a:effectLst>
                  <a:outerShdw blurRad="38100" dist="38100" dir="2700000" algn="tl">
                    <a:srgbClr val="000000">
                      <a:alpha val="43137"/>
                    </a:srgbClr>
                  </a:outerShdw>
                </a:effectLst>
                <a:latin typeface="黑体" panose="02010609060101010101" pitchFamily="49" charset="-122"/>
                <a:ea typeface="黑体" panose="02010609060101010101" pitchFamily="49" charset="-122"/>
              </a:rPr>
              <a:t>竞争是普遍存在的，要敢于竞争</a:t>
            </a:r>
            <a:r>
              <a:rPr lang="zh-CN" altLang="en-US" sz="2000" dirty="0">
                <a:solidFill>
                  <a:srgbClr val="FFFF00"/>
                </a:solidFill>
                <a:latin typeface="黑体" panose="02010609060101010101" pitchFamily="49" charset="-122"/>
                <a:ea typeface="黑体" panose="02010609060101010101" pitchFamily="49" charset="-122"/>
              </a:rPr>
              <a:t>。</a:t>
            </a:r>
          </a:p>
        </p:txBody>
      </p:sp>
      <p:sp>
        <p:nvSpPr>
          <p:cNvPr id="23" name="五边形 22"/>
          <p:cNvSpPr/>
          <p:nvPr/>
        </p:nvSpPr>
        <p:spPr>
          <a:xfrm>
            <a:off x="0" y="2564904"/>
            <a:ext cx="4715681" cy="603504"/>
          </a:xfrm>
          <a:prstGeom prst="homePlate">
            <a:avLst/>
          </a:prstGeom>
        </p:spPr>
        <p:style>
          <a:lnRef idx="0">
            <a:schemeClr val="accent4"/>
          </a:lnRef>
          <a:fillRef idx="3">
            <a:schemeClr val="accent4"/>
          </a:fillRef>
          <a:effectRef idx="3">
            <a:schemeClr val="accent4"/>
          </a:effectRef>
          <a:fontRef idx="minor">
            <a:schemeClr val="lt1"/>
          </a:fontRef>
        </p:style>
        <p:txBody>
          <a:bodyPr lIns="91389" tIns="45694" rIns="91389" bIns="45694" anchor="ctr"/>
          <a:lstStyle/>
          <a:p>
            <a:pPr algn="ctr" fontAlgn="base">
              <a:spcBef>
                <a:spcPct val="0"/>
              </a:spcBef>
              <a:spcAft>
                <a:spcPct val="0"/>
              </a:spcAft>
              <a:defRPr/>
            </a:pPr>
            <a:r>
              <a:rPr lang="zh-CN" altLang="en-US" sz="2000" dirty="0">
                <a:solidFill>
                  <a:srgbClr val="FFFF00"/>
                </a:solidFill>
                <a:effectLst>
                  <a:outerShdw blurRad="38100" dist="38100" dir="2700000" algn="tl">
                    <a:srgbClr val="000000">
                      <a:alpha val="43137"/>
                    </a:srgbClr>
                  </a:outerShdw>
                </a:effectLst>
                <a:latin typeface="黑体" panose="02010609060101010101" pitchFamily="49" charset="-122"/>
                <a:ea typeface="黑体" panose="02010609060101010101" pitchFamily="49" charset="-122"/>
              </a:rPr>
              <a:t>竞争是有规则的，我们鼓励公平竞争，反对不正当的竞争。</a:t>
            </a:r>
          </a:p>
        </p:txBody>
      </p:sp>
      <p:sp>
        <p:nvSpPr>
          <p:cNvPr id="24" name="五边形 23">
            <a:hlinkClick r:id="" action="ppaction://noaction"/>
          </p:cNvPr>
          <p:cNvSpPr/>
          <p:nvPr/>
        </p:nvSpPr>
        <p:spPr>
          <a:xfrm>
            <a:off x="0" y="3645024"/>
            <a:ext cx="4710022" cy="704219"/>
          </a:xfrm>
          <a:prstGeom prst="homePlate">
            <a:avLst/>
          </a:prstGeom>
        </p:spPr>
        <p:style>
          <a:lnRef idx="0">
            <a:schemeClr val="accent4"/>
          </a:lnRef>
          <a:fillRef idx="3">
            <a:schemeClr val="accent4"/>
          </a:fillRef>
          <a:effectRef idx="3">
            <a:schemeClr val="accent4"/>
          </a:effectRef>
          <a:fontRef idx="minor">
            <a:schemeClr val="lt1"/>
          </a:fontRef>
        </p:style>
        <p:txBody>
          <a:bodyPr lIns="91389" tIns="45694" rIns="91389" bIns="45694" anchor="ctr"/>
          <a:lstStyle/>
          <a:p>
            <a:pPr algn="ctr" fontAlgn="base">
              <a:spcBef>
                <a:spcPct val="0"/>
              </a:spcBef>
              <a:spcAft>
                <a:spcPct val="0"/>
              </a:spcAft>
              <a:defRPr/>
            </a:pPr>
            <a:r>
              <a:rPr lang="zh-CN" altLang="en-US" sz="2000" dirty="0">
                <a:solidFill>
                  <a:srgbClr val="FFFF00"/>
                </a:solidFill>
                <a:effectLst>
                  <a:outerShdw blurRad="38100" dist="38100" dir="2700000" algn="tl">
                    <a:srgbClr val="000000">
                      <a:alpha val="43137"/>
                    </a:srgbClr>
                  </a:outerShdw>
                </a:effectLst>
                <a:latin typeface="黑体" panose="02010609060101010101" pitchFamily="49" charset="-122"/>
                <a:ea typeface="黑体" panose="02010609060101010101" pitchFamily="49" charset="-122"/>
              </a:rPr>
              <a:t>不能把竞争与合作对立起来</a:t>
            </a:r>
          </a:p>
        </p:txBody>
      </p:sp>
      <p:sp>
        <p:nvSpPr>
          <p:cNvPr id="28" name="燕尾形 27"/>
          <p:cNvSpPr/>
          <p:nvPr/>
        </p:nvSpPr>
        <p:spPr>
          <a:xfrm>
            <a:off x="4572000" y="4572008"/>
            <a:ext cx="3816424" cy="1521288"/>
          </a:xfrm>
          <a:prstGeom prst="chevron">
            <a:avLst/>
          </a:prstGeom>
          <a:ln/>
        </p:spPr>
        <p:style>
          <a:lnRef idx="0">
            <a:schemeClr val="accent2"/>
          </a:lnRef>
          <a:fillRef idx="3">
            <a:schemeClr val="accent2"/>
          </a:fillRef>
          <a:effectRef idx="3">
            <a:schemeClr val="accent2"/>
          </a:effectRef>
          <a:fontRef idx="minor">
            <a:schemeClr val="lt1"/>
          </a:fontRef>
        </p:style>
        <p:txBody>
          <a:bodyPr lIns="91389" tIns="45694" rIns="91389" bIns="45694" anchor="ctr"/>
          <a:lstStyle/>
          <a:p>
            <a:pPr fontAlgn="base">
              <a:spcBef>
                <a:spcPct val="0"/>
              </a:spcBef>
              <a:spcAft>
                <a:spcPct val="0"/>
              </a:spcAft>
              <a:defRPr/>
            </a:pPr>
            <a:r>
              <a:rPr lang="zh-CN" altLang="en-US" sz="1600" dirty="0" smtClean="0">
                <a:solidFill>
                  <a:prstClr val="white"/>
                </a:solidFill>
                <a:effectLst>
                  <a:outerShdw blurRad="38100" dist="38100" dir="2700000" algn="tl">
                    <a:srgbClr val="000000">
                      <a:alpha val="43137"/>
                    </a:srgbClr>
                  </a:outerShdw>
                </a:effectLst>
                <a:latin typeface="黑体" panose="02010609060101010101" pitchFamily="49" charset="-122"/>
                <a:ea typeface="黑体" panose="02010609060101010101" pitchFamily="49" charset="-122"/>
              </a:rPr>
              <a:t>生活是一个宏伟的竞技场，大家尽可以在那里进行争取胜利的较量，但必须老老实实地遵守比赛规则。</a:t>
            </a:r>
            <a:endParaRPr lang="en-US" altLang="zh-CN" sz="1600" dirty="0" smtClean="0">
              <a:solidFill>
                <a:prstClr val="white"/>
              </a:solidFill>
              <a:effectLst>
                <a:outerShdw blurRad="38100" dist="38100" dir="2700000" algn="tl">
                  <a:srgbClr val="000000">
                    <a:alpha val="43137"/>
                  </a:srgbClr>
                </a:outerShdw>
              </a:effectLst>
              <a:latin typeface="黑体" panose="02010609060101010101" pitchFamily="49" charset="-122"/>
              <a:ea typeface="黑体" panose="02010609060101010101" pitchFamily="49" charset="-122"/>
            </a:endParaRPr>
          </a:p>
          <a:p>
            <a:pPr fontAlgn="base">
              <a:spcBef>
                <a:spcPct val="0"/>
              </a:spcBef>
              <a:spcAft>
                <a:spcPct val="0"/>
              </a:spcAft>
              <a:defRPr/>
            </a:pPr>
            <a:r>
              <a:rPr lang="en-US" altLang="zh-CN" sz="1600" dirty="0" smtClean="0">
                <a:solidFill>
                  <a:prstClr val="white"/>
                </a:solidFill>
                <a:effectLst>
                  <a:outerShdw blurRad="38100" dist="38100" dir="2700000" algn="tl">
                    <a:srgbClr val="000000">
                      <a:alpha val="43137"/>
                    </a:srgbClr>
                  </a:outerShdw>
                </a:effectLst>
                <a:latin typeface="黑体" panose="02010609060101010101" pitchFamily="49" charset="-122"/>
                <a:ea typeface="黑体" panose="02010609060101010101" pitchFamily="49" charset="-122"/>
              </a:rPr>
              <a:t>    ——</a:t>
            </a:r>
            <a:r>
              <a:rPr lang="zh-CN" altLang="en-US" sz="1600" dirty="0" smtClean="0">
                <a:solidFill>
                  <a:prstClr val="white"/>
                </a:solidFill>
                <a:effectLst>
                  <a:outerShdw blurRad="38100" dist="38100" dir="2700000" algn="tl">
                    <a:srgbClr val="000000">
                      <a:alpha val="43137"/>
                    </a:srgbClr>
                  </a:outerShdw>
                </a:effectLst>
                <a:latin typeface="黑体" panose="02010609060101010101" pitchFamily="49" charset="-122"/>
                <a:ea typeface="黑体" panose="02010609060101010101" pitchFamily="49" charset="-122"/>
              </a:rPr>
              <a:t>帕斯捷尔纳克</a:t>
            </a:r>
            <a:endParaRPr lang="zh-CN" altLang="en-US" sz="1600" dirty="0">
              <a:solidFill>
                <a:prstClr val="white"/>
              </a:solidFill>
              <a:effectLst>
                <a:outerShdw blurRad="38100" dist="38100" dir="2700000" algn="tl">
                  <a:srgbClr val="000000">
                    <a:alpha val="43137"/>
                  </a:srgbClr>
                </a:outerShdw>
              </a:effectLst>
              <a:latin typeface="黑体" panose="02010609060101010101" pitchFamily="49" charset="-122"/>
              <a:ea typeface="黑体" panose="02010609060101010101" pitchFamily="49" charset="-122"/>
            </a:endParaRPr>
          </a:p>
        </p:txBody>
      </p:sp>
      <p:sp>
        <p:nvSpPr>
          <p:cNvPr id="122910" name="AutoShape 16" descr="http://img2.imgtn.bdimg.com/it/u=2560174535,624115299&amp;fm=21&amp;gp=0.jpg"/>
          <p:cNvSpPr>
            <a:spLocks noChangeAspect="1" noChangeArrowheads="1"/>
          </p:cNvSpPr>
          <p:nvPr/>
        </p:nvSpPr>
        <p:spPr bwMode="auto">
          <a:xfrm>
            <a:off x="63500" y="-144463"/>
            <a:ext cx="304800" cy="304801"/>
          </a:xfrm>
          <a:prstGeom prst="rect">
            <a:avLst/>
          </a:prstGeom>
          <a:noFill/>
          <a:ln w="9525">
            <a:noFill/>
            <a:miter lim="800000"/>
            <a:headEnd/>
            <a:tailEnd/>
          </a:ln>
        </p:spPr>
        <p:txBody>
          <a:bodyPr lIns="91389" tIns="45694" rIns="91389" bIns="45694"/>
          <a:lstStyle/>
          <a:p>
            <a:pPr fontAlgn="base">
              <a:spcBef>
                <a:spcPct val="0"/>
              </a:spcBef>
              <a:spcAft>
                <a:spcPct val="0"/>
              </a:spcAft>
              <a:defRPr/>
            </a:pPr>
            <a:endParaRPr lang="zh-CN" altLang="en-US">
              <a:solidFill>
                <a:prstClr val="black"/>
              </a:solidFill>
              <a:effectLst>
                <a:outerShdw blurRad="38100" dist="38100" dir="2700000" algn="tl">
                  <a:srgbClr val="000000">
                    <a:alpha val="43137"/>
                  </a:srgbClr>
                </a:outerShdw>
              </a:effectLst>
              <a:latin typeface="Times New Roman" pitchFamily="18" charset="0"/>
            </a:endParaRPr>
          </a:p>
        </p:txBody>
      </p:sp>
      <p:pic>
        <p:nvPicPr>
          <p:cNvPr id="10242" name="Picture 2" descr="https://gss0.bdstatic.com/-4o3dSag_xI4khGkpoWK1HF6hhy/baike/w%3D268%3Bg%3D0/sign=b329eeb0cffcc3ceb4c0ce35aa7eb1b5/d62a6059252dd42adc0d6339043b5bb5c9eab818.jpg">
            <a:hlinkClick r:id="" action="ppaction://noaction"/>
          </p:cNvPr>
          <p:cNvPicPr>
            <a:picLocks noChangeAspect="1" noChangeArrowheads="1"/>
          </p:cNvPicPr>
          <p:nvPr/>
        </p:nvPicPr>
        <p:blipFill>
          <a:blip r:embed="rId4" cstate="print"/>
          <a:srcRect/>
          <a:stretch>
            <a:fillRect/>
          </a:stretch>
        </p:blipFill>
        <p:spPr bwMode="auto">
          <a:xfrm>
            <a:off x="3643306" y="4429132"/>
            <a:ext cx="1760612" cy="1988840"/>
          </a:xfrm>
          <a:prstGeom prst="rect">
            <a:avLst/>
          </a:prstGeom>
          <a:noFill/>
        </p:spPr>
      </p:pic>
      <p:pic>
        <p:nvPicPr>
          <p:cNvPr id="32" name="Picture 18" descr="http://pic2.ooopic.com/12/55/79/76bOOOPIC0e_1024.jpg"/>
          <p:cNvPicPr>
            <a:picLocks noChangeAspect="1" noChangeArrowheads="1"/>
          </p:cNvPicPr>
          <p:nvPr/>
        </p:nvPicPr>
        <p:blipFill>
          <a:blip r:embed="rId5" cstate="print"/>
          <a:srcRect/>
          <a:stretch>
            <a:fillRect/>
          </a:stretch>
        </p:blipFill>
        <p:spPr bwMode="auto">
          <a:xfrm>
            <a:off x="4643438" y="2571744"/>
            <a:ext cx="2001784" cy="1933572"/>
          </a:xfrm>
          <a:prstGeom prst="ellipse">
            <a:avLst/>
          </a:prstGeom>
          <a:ln w="190500" cap="rnd">
            <a:solidFill>
              <a:srgbClr val="C8C6BD"/>
            </a:solidFill>
            <a:prstDash val="solid"/>
          </a:ln>
          <a:effectLst>
            <a:outerShdw blurRad="127000" algn="bl" rotWithShape="0">
              <a:srgbClr val="000000"/>
            </a:outerShdw>
          </a:effectLst>
          <a:scene3d>
            <a:camera prst="perspectiveFront" fov="5400000"/>
            <a:lightRig rig="threePt" dir="t">
              <a:rot lat="0" lon="0" rev="19200000"/>
            </a:lightRig>
          </a:scene3d>
          <a:sp3d extrusionH="25400">
            <a:bevelT w="304800" h="152400" prst="hardEdge"/>
            <a:extrusionClr>
              <a:srgbClr val="000000"/>
            </a:extrusionClr>
          </a:sp3d>
        </p:spPr>
      </p:pic>
    </p:spTree>
    <p:custDataLst>
      <p:tags r:id="rId1"/>
    </p:custDataLst>
  </p:cSld>
  <p:clrMapOvr>
    <a:masterClrMapping/>
  </p:clrMapOvr>
  <p:transition advTm="16"/>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500"/>
                                  </p:stCondLst>
                                  <p:childTnLst>
                                    <p:set>
                                      <p:cBhvr>
                                        <p:cTn id="6" dur="1" fill="hold">
                                          <p:stCondLst>
                                            <p:cond delay="0"/>
                                          </p:stCondLst>
                                        </p:cTn>
                                        <p:tgtEl>
                                          <p:spTgt spid="23"/>
                                        </p:tgtEl>
                                        <p:attrNameLst>
                                          <p:attrName>style.visibility</p:attrName>
                                        </p:attrNameLst>
                                      </p:cBhvr>
                                      <p:to>
                                        <p:strVal val="visible"/>
                                      </p:to>
                                    </p:set>
                                    <p:anim calcmode="lin" valueType="num">
                                      <p:cBhvr additive="base">
                                        <p:cTn id="7" dur="500" fill="hold"/>
                                        <p:tgtEl>
                                          <p:spTgt spid="23"/>
                                        </p:tgtEl>
                                        <p:attrNameLst>
                                          <p:attrName>ppt_x</p:attrName>
                                        </p:attrNameLst>
                                      </p:cBhvr>
                                      <p:tavLst>
                                        <p:tav tm="0">
                                          <p:val>
                                            <p:strVal val="0-#ppt_w/2"/>
                                          </p:val>
                                        </p:tav>
                                        <p:tav tm="100000">
                                          <p:val>
                                            <p:strVal val="#ppt_x"/>
                                          </p:val>
                                        </p:tav>
                                      </p:tavLst>
                                    </p:anim>
                                    <p:anim calcmode="lin" valueType="num">
                                      <p:cBhvr additive="base">
                                        <p:cTn id="8" dur="500" fill="hold"/>
                                        <p:tgtEl>
                                          <p:spTgt spid="23"/>
                                        </p:tgtEl>
                                        <p:attrNameLst>
                                          <p:attrName>ppt_y</p:attrName>
                                        </p:attrNameLst>
                                      </p:cBhvr>
                                      <p:tavLst>
                                        <p:tav tm="0">
                                          <p:val>
                                            <p:strVal val="#ppt_y"/>
                                          </p:val>
                                        </p:tav>
                                        <p:tav tm="100000">
                                          <p:val>
                                            <p:strVal val="#ppt_y"/>
                                          </p:val>
                                        </p:tav>
                                      </p:tavLst>
                                    </p:anim>
                                  </p:childTnLst>
                                </p:cTn>
                              </p:par>
                            </p:childTnLst>
                          </p:cTn>
                        </p:par>
                        <p:par>
                          <p:cTn id="9" fill="hold">
                            <p:stCondLst>
                              <p:cond delay="1000"/>
                            </p:stCondLst>
                            <p:childTnLst>
                              <p:par>
                                <p:cTn id="10" presetID="2" presetClass="entr" presetSubtype="8" fill="hold" nodeType="afterEffect">
                                  <p:stCondLst>
                                    <p:cond delay="500"/>
                                  </p:stCondLst>
                                  <p:childTnLst>
                                    <p:set>
                                      <p:cBhvr>
                                        <p:cTn id="11" dur="1" fill="hold">
                                          <p:stCondLst>
                                            <p:cond delay="0"/>
                                          </p:stCondLst>
                                        </p:cTn>
                                        <p:tgtEl>
                                          <p:spTgt spid="24"/>
                                        </p:tgtEl>
                                        <p:attrNameLst>
                                          <p:attrName>style.visibility</p:attrName>
                                        </p:attrNameLst>
                                      </p:cBhvr>
                                      <p:to>
                                        <p:strVal val="visible"/>
                                      </p:to>
                                    </p:set>
                                    <p:anim calcmode="lin" valueType="num">
                                      <p:cBhvr additive="base">
                                        <p:cTn id="12" dur="500" fill="hold"/>
                                        <p:tgtEl>
                                          <p:spTgt spid="24"/>
                                        </p:tgtEl>
                                        <p:attrNameLst>
                                          <p:attrName>ppt_x</p:attrName>
                                        </p:attrNameLst>
                                      </p:cBhvr>
                                      <p:tavLst>
                                        <p:tav tm="0">
                                          <p:val>
                                            <p:strVal val="0-#ppt_w/2"/>
                                          </p:val>
                                        </p:tav>
                                        <p:tav tm="100000">
                                          <p:val>
                                            <p:strVal val="#ppt_x"/>
                                          </p:val>
                                        </p:tav>
                                      </p:tavLst>
                                    </p:anim>
                                    <p:anim calcmode="lin" valueType="num">
                                      <p:cBhvr additive="base">
                                        <p:cTn id="13" dur="500" fill="hold"/>
                                        <p:tgtEl>
                                          <p:spTgt spid="24"/>
                                        </p:tgtEl>
                                        <p:attrNameLst>
                                          <p:attrName>ppt_y</p:attrName>
                                        </p:attrNameLst>
                                      </p:cBhvr>
                                      <p:tavLst>
                                        <p:tav tm="0">
                                          <p:val>
                                            <p:strVal val="#ppt_y"/>
                                          </p:val>
                                        </p:tav>
                                        <p:tav tm="100000">
                                          <p:val>
                                            <p:strVal val="#ppt_y"/>
                                          </p:val>
                                        </p:tav>
                                      </p:tavLst>
                                    </p:anim>
                                  </p:childTnLst>
                                </p:cTn>
                              </p:par>
                            </p:childTnLst>
                          </p:cTn>
                        </p:par>
                      </p:childTnLst>
                    </p:cTn>
                  </p:par>
                  <p:par>
                    <p:cTn id="14" fill="hold">
                      <p:stCondLst>
                        <p:cond delay="indefinite"/>
                      </p:stCondLst>
                      <p:childTnLst>
                        <p:par>
                          <p:cTn id="15" fill="hold">
                            <p:stCondLst>
                              <p:cond delay="0"/>
                            </p:stCondLst>
                            <p:childTnLst>
                              <p:par>
                                <p:cTn id="16" presetID="56" presetClass="path" presetSubtype="0" accel="50000" decel="50000" fill="hold" nodeType="clickEffect">
                                  <p:stCondLst>
                                    <p:cond delay="0"/>
                                  </p:stCondLst>
                                  <p:childTnLst>
                                    <p:animMotion origin="layout" path="M 0 0  L 0.25 -0.33333  E" pathEditMode="relative" ptsTypes="">
                                      <p:cBhvr>
                                        <p:cTn id="17" dur="2000" fill="hold"/>
                                        <p:tgtEl>
                                          <p:spTgt spid="32"/>
                                        </p:tgtEl>
                                        <p:attrNameLst>
                                          <p:attrName>ppt_x</p:attrName>
                                          <p:attrName>ppt_y</p:attrName>
                                        </p:attrNameLst>
                                      </p:cBhvr>
                                    </p:animMotion>
                                  </p:childTnLst>
                                </p:cTn>
                              </p:par>
                            </p:childTnLst>
                          </p:cTn>
                        </p:par>
                        <p:par>
                          <p:cTn id="18" fill="hold">
                            <p:stCondLst>
                              <p:cond delay="2000"/>
                            </p:stCondLst>
                            <p:childTnLst>
                              <p:par>
                                <p:cTn id="19" presetID="22" presetClass="entr" presetSubtype="8" fill="hold" nodeType="afterEffect">
                                  <p:stCondLst>
                                    <p:cond delay="0"/>
                                  </p:stCondLst>
                                  <p:childTnLst>
                                    <p:set>
                                      <p:cBhvr>
                                        <p:cTn id="20" dur="1" fill="hold">
                                          <p:stCondLst>
                                            <p:cond delay="0"/>
                                          </p:stCondLst>
                                        </p:cTn>
                                        <p:tgtEl>
                                          <p:spTgt spid="28"/>
                                        </p:tgtEl>
                                        <p:attrNameLst>
                                          <p:attrName>style.visibility</p:attrName>
                                        </p:attrNameLst>
                                      </p:cBhvr>
                                      <p:to>
                                        <p:strVal val="visible"/>
                                      </p:to>
                                    </p:set>
                                    <p:animEffect transition="in" filter="wipe(left)">
                                      <p:cBhvr>
                                        <p:cTn id="21" dur="500"/>
                                        <p:tgtEl>
                                          <p:spTgt spid="28"/>
                                        </p:tgtEl>
                                      </p:cBhvr>
                                    </p:animEffect>
                                  </p:childTnLst>
                                </p:cTn>
                              </p:par>
                            </p:childTnLst>
                          </p:cTn>
                        </p:par>
                        <p:par>
                          <p:cTn id="22" fill="hold">
                            <p:stCondLst>
                              <p:cond delay="2500"/>
                            </p:stCondLst>
                            <p:childTnLst>
                              <p:par>
                                <p:cTn id="23" presetID="2" presetClass="entr" presetSubtype="4" fill="hold" nodeType="afterEffect">
                                  <p:stCondLst>
                                    <p:cond delay="0"/>
                                  </p:stCondLst>
                                  <p:childTnLst>
                                    <p:set>
                                      <p:cBhvr>
                                        <p:cTn id="24" dur="1" fill="hold">
                                          <p:stCondLst>
                                            <p:cond delay="0"/>
                                          </p:stCondLst>
                                        </p:cTn>
                                        <p:tgtEl>
                                          <p:spTgt spid="10242"/>
                                        </p:tgtEl>
                                        <p:attrNameLst>
                                          <p:attrName>style.visibility</p:attrName>
                                        </p:attrNameLst>
                                      </p:cBhvr>
                                      <p:to>
                                        <p:strVal val="visible"/>
                                      </p:to>
                                    </p:set>
                                    <p:anim calcmode="lin" valueType="num">
                                      <p:cBhvr additive="base">
                                        <p:cTn id="25" dur="500" fill="hold"/>
                                        <p:tgtEl>
                                          <p:spTgt spid="10242"/>
                                        </p:tgtEl>
                                        <p:attrNameLst>
                                          <p:attrName>ppt_x</p:attrName>
                                        </p:attrNameLst>
                                      </p:cBhvr>
                                      <p:tavLst>
                                        <p:tav tm="0">
                                          <p:val>
                                            <p:strVal val="#ppt_x"/>
                                          </p:val>
                                        </p:tav>
                                        <p:tav tm="100000">
                                          <p:val>
                                            <p:strVal val="#ppt_x"/>
                                          </p:val>
                                        </p:tav>
                                      </p:tavLst>
                                    </p:anim>
                                    <p:anim calcmode="lin" valueType="num">
                                      <p:cBhvr additive="base">
                                        <p:cTn id="26" dur="500" fill="hold"/>
                                        <p:tgtEl>
                                          <p:spTgt spid="10242"/>
                                        </p:tgtEl>
                                        <p:attrNameLst>
                                          <p:attrName>ppt_y</p:attrName>
                                        </p:attrNameLst>
                                      </p:cBhvr>
                                      <p:tavLst>
                                        <p:tav tm="0">
                                          <p:val>
                                            <p:strVal val="1+#ppt_h/2"/>
                                          </p:val>
                                        </p:tav>
                                        <p:tav tm="100000">
                                          <p:val>
                                            <p:strVal val="#ppt_y"/>
                                          </p:val>
                                        </p:tav>
                                      </p:tavLst>
                                    </p:anim>
                                  </p:childTnLst>
                                </p:cTn>
                              </p:par>
                            </p:childTnLst>
                          </p:cTn>
                        </p:par>
                        <p:par>
                          <p:cTn id="27" fill="hold">
                            <p:stCondLst>
                              <p:cond delay="3000"/>
                            </p:stCondLst>
                            <p:childTnLst>
                              <p:par>
                                <p:cTn id="28" presetID="64" presetClass="path" presetSubtype="0" accel="50000" decel="50000" fill="hold" grpId="0" nodeType="afterEffect">
                                  <p:stCondLst>
                                    <p:cond delay="0"/>
                                  </p:stCondLst>
                                  <p:childTnLst>
                                    <p:animMotion origin="layout" path="M 0 0  L 0 -0.33333  E" pathEditMode="relative" ptsTypes="">
                                      <p:cBhvr>
                                        <p:cTn id="29" dur="2000" fill="hold"/>
                                        <p:tgtEl>
                                          <p:spTgt spid="28"/>
                                        </p:tgtEl>
                                        <p:attrNameLst>
                                          <p:attrName>ppt_x</p:attrName>
                                          <p:attrName>ppt_y</p:attrName>
                                        </p:attrNameLst>
                                      </p:cBhvr>
                                    </p:animMotion>
                                  </p:childTnLst>
                                </p:cTn>
                              </p:par>
                            </p:childTnLst>
                          </p:cTn>
                        </p:par>
                        <p:par>
                          <p:cTn id="30" fill="hold">
                            <p:stCondLst>
                              <p:cond delay="5000"/>
                            </p:stCondLst>
                            <p:childTnLst>
                              <p:par>
                                <p:cTn id="31" presetID="63" presetClass="path" presetSubtype="0" accel="50000" decel="50000" fill="hold" nodeType="afterEffect">
                                  <p:stCondLst>
                                    <p:cond delay="0"/>
                                  </p:stCondLst>
                                  <p:childTnLst>
                                    <p:animMotion origin="layout" path="M 0 0  L 0.25 0  E" pathEditMode="relative" ptsTypes="">
                                      <p:cBhvr>
                                        <p:cTn id="32" dur="2000" fill="hold"/>
                                        <p:tgtEl>
                                          <p:spTgt spid="10242"/>
                                        </p:tgtEl>
                                        <p:attrNameLst>
                                          <p:attrName>ppt_x</p:attrName>
                                          <p:attrName>ppt_y</p:attrName>
                                        </p:attrNameLst>
                                      </p:cBhvr>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bg1">
            <a:alpha val="58038"/>
          </a:schemeClr>
        </a:solidFill>
        <a:effectLst/>
      </p:bgPr>
    </p:bg>
    <p:spTree>
      <p:nvGrpSpPr>
        <p:cNvPr id="1" name=""/>
        <p:cNvGrpSpPr/>
        <p:nvPr/>
      </p:nvGrpSpPr>
      <p:grpSpPr>
        <a:xfrm>
          <a:off x="0" y="0"/>
          <a:ext cx="0" cy="0"/>
          <a:chOff x="0" y="0"/>
          <a:chExt cx="0" cy="0"/>
        </a:xfrm>
      </p:grpSpPr>
      <p:sp>
        <p:nvSpPr>
          <p:cNvPr id="18" name="标题 17"/>
          <p:cNvSpPr>
            <a:spLocks noGrp="1"/>
          </p:cNvSpPr>
          <p:nvPr>
            <p:ph type="title"/>
          </p:nvPr>
        </p:nvSpPr>
        <p:spPr/>
        <p:txBody>
          <a:bodyPr>
            <a:noAutofit/>
          </a:bodyPr>
          <a:lstStyle/>
          <a:p>
            <a:pPr>
              <a:defRPr/>
            </a:pPr>
            <a:r>
              <a:rPr lang="zh-CN" altLang="en-US" sz="4000" kern="100" dirty="0" smtClean="0">
                <a:solidFill>
                  <a:srgbClr val="FFFF00"/>
                </a:solidFill>
                <a:effectLst/>
                <a:cs typeface="+mn-cs"/>
              </a:rPr>
              <a:t>正确认识竞争</a:t>
            </a:r>
          </a:p>
        </p:txBody>
      </p:sp>
      <p:sp>
        <p:nvSpPr>
          <p:cNvPr id="19" name="内容占位符 18"/>
          <p:cNvSpPr>
            <a:spLocks noGrp="1"/>
          </p:cNvSpPr>
          <p:nvPr>
            <p:ph sz="quarter" idx="10"/>
          </p:nvPr>
        </p:nvSpPr>
        <p:spPr/>
        <p:txBody>
          <a:bodyPr>
            <a:normAutofit fontScale="85000" lnSpcReduction="20000"/>
          </a:bodyPr>
          <a:lstStyle/>
          <a:p>
            <a:pPr>
              <a:defRPr/>
            </a:pPr>
            <a:r>
              <a:rPr lang="en-US" altLang="zh-CN" dirty="0" smtClean="0"/>
              <a:t>1</a:t>
            </a:r>
          </a:p>
          <a:p>
            <a:pPr>
              <a:defRPr/>
            </a:pPr>
            <a:endParaRPr lang="zh-CN" altLang="en-US" dirty="0"/>
          </a:p>
        </p:txBody>
      </p:sp>
      <p:sp>
        <p:nvSpPr>
          <p:cNvPr id="20" name="标题 2"/>
          <p:cNvSpPr txBox="1">
            <a:spLocks/>
          </p:cNvSpPr>
          <p:nvPr/>
        </p:nvSpPr>
        <p:spPr bwMode="auto">
          <a:xfrm>
            <a:off x="1187624" y="908720"/>
            <a:ext cx="7262813" cy="525463"/>
          </a:xfrm>
          <a:prstGeom prst="rect">
            <a:avLst/>
          </a:prstGeom>
          <a:noFill/>
          <a:ln w="9525">
            <a:noFill/>
            <a:miter lim="800000"/>
            <a:headEnd/>
            <a:tailEnd/>
          </a:ln>
        </p:spPr>
        <p:txBody>
          <a:bodyPr lIns="91389" tIns="45694" rIns="91389" bIns="45694" anchor="ctr"/>
          <a:lstStyle/>
          <a:p>
            <a:pPr eaLnBrk="0" fontAlgn="base" hangingPunct="0">
              <a:spcBef>
                <a:spcPct val="0"/>
              </a:spcBef>
              <a:spcAft>
                <a:spcPct val="0"/>
              </a:spcAft>
              <a:defRPr/>
            </a:pPr>
            <a:endParaRPr lang="zh-CN" altLang="en-US" sz="3600" b="1" dirty="0">
              <a:solidFill>
                <a:prstClr val="black"/>
              </a:solidFill>
              <a:effectLst>
                <a:outerShdw blurRad="38100" dist="38100" dir="2700000" algn="tl">
                  <a:srgbClr val="000000">
                    <a:alpha val="43137"/>
                  </a:srgbClr>
                </a:outerShdw>
              </a:effectLst>
              <a:latin typeface="黑体" panose="02010609060101010101" pitchFamily="49" charset="-122"/>
              <a:ea typeface="黑体" panose="02010609060101010101" pitchFamily="49" charset="-122"/>
            </a:endParaRPr>
          </a:p>
        </p:txBody>
      </p:sp>
      <p:sp>
        <p:nvSpPr>
          <p:cNvPr id="21" name="内容占位符 3"/>
          <p:cNvSpPr txBox="1">
            <a:spLocks/>
          </p:cNvSpPr>
          <p:nvPr/>
        </p:nvSpPr>
        <p:spPr bwMode="auto">
          <a:xfrm>
            <a:off x="361950" y="114300"/>
            <a:ext cx="544513" cy="525463"/>
          </a:xfrm>
          <a:prstGeom prst="rect">
            <a:avLst/>
          </a:prstGeom>
          <a:noFill/>
          <a:ln w="9525">
            <a:noFill/>
            <a:miter lim="800000"/>
            <a:headEnd/>
            <a:tailEnd/>
          </a:ln>
        </p:spPr>
        <p:txBody>
          <a:bodyPr lIns="91389" tIns="45694" rIns="91389" bIns="45694"/>
          <a:lstStyle/>
          <a:p>
            <a:pPr algn="ctr" eaLnBrk="0" fontAlgn="base" hangingPunct="0">
              <a:spcBef>
                <a:spcPct val="20000"/>
              </a:spcBef>
              <a:spcAft>
                <a:spcPct val="0"/>
              </a:spcAft>
              <a:defRPr/>
            </a:pPr>
            <a:endParaRPr lang="zh-CN" altLang="en-US" sz="3600" b="1" dirty="0">
              <a:solidFill>
                <a:prstClr val="white"/>
              </a:solidFill>
              <a:effectLst>
                <a:outerShdw blurRad="38100" dist="38100" dir="2700000" algn="tl">
                  <a:srgbClr val="000000">
                    <a:alpha val="43137"/>
                  </a:srgbClr>
                </a:outerShdw>
              </a:effectLst>
              <a:latin typeface="黑体" panose="02010609060101010101" pitchFamily="49" charset="-122"/>
              <a:ea typeface="黑体" panose="02010609060101010101" pitchFamily="49" charset="-122"/>
            </a:endParaRPr>
          </a:p>
        </p:txBody>
      </p:sp>
      <p:sp>
        <p:nvSpPr>
          <p:cNvPr id="122910" name="AutoShape 16" descr="http://img2.imgtn.bdimg.com/it/u=2560174535,624115299&amp;fm=21&amp;gp=0.jpg"/>
          <p:cNvSpPr>
            <a:spLocks noChangeAspect="1" noChangeArrowheads="1"/>
          </p:cNvSpPr>
          <p:nvPr/>
        </p:nvSpPr>
        <p:spPr bwMode="auto">
          <a:xfrm>
            <a:off x="63500" y="-144463"/>
            <a:ext cx="304800" cy="304801"/>
          </a:xfrm>
          <a:prstGeom prst="rect">
            <a:avLst/>
          </a:prstGeom>
          <a:noFill/>
          <a:ln w="9525">
            <a:noFill/>
            <a:miter lim="800000"/>
            <a:headEnd/>
            <a:tailEnd/>
          </a:ln>
        </p:spPr>
        <p:txBody>
          <a:bodyPr lIns="91389" tIns="45694" rIns="91389" bIns="45694"/>
          <a:lstStyle/>
          <a:p>
            <a:pPr fontAlgn="base">
              <a:spcBef>
                <a:spcPct val="0"/>
              </a:spcBef>
              <a:spcAft>
                <a:spcPct val="0"/>
              </a:spcAft>
              <a:defRPr/>
            </a:pPr>
            <a:endParaRPr lang="zh-CN" altLang="en-US">
              <a:solidFill>
                <a:prstClr val="black"/>
              </a:solidFill>
              <a:effectLst>
                <a:outerShdw blurRad="38100" dist="38100" dir="2700000" algn="tl">
                  <a:srgbClr val="000000">
                    <a:alpha val="43137"/>
                  </a:srgbClr>
                </a:outerShdw>
              </a:effectLst>
              <a:latin typeface="Times New Roman" pitchFamily="18" charset="0"/>
            </a:endParaRPr>
          </a:p>
        </p:txBody>
      </p:sp>
      <p:pic>
        <p:nvPicPr>
          <p:cNvPr id="16" name="图片 15" descr="e1ab91156592710991975f1366_560_副本.jpg"/>
          <p:cNvPicPr>
            <a:picLocks noChangeAspect="1"/>
          </p:cNvPicPr>
          <p:nvPr/>
        </p:nvPicPr>
        <p:blipFill>
          <a:blip r:embed="rId3" cstate="print">
            <a:clrChange>
              <a:clrFrom>
                <a:srgbClr val="FFFFFF"/>
              </a:clrFrom>
              <a:clrTo>
                <a:srgbClr val="FFFFFF">
                  <a:alpha val="0"/>
                </a:srgbClr>
              </a:clrTo>
            </a:clrChange>
          </a:blip>
          <a:srcRect/>
          <a:stretch>
            <a:fillRect/>
          </a:stretch>
        </p:blipFill>
        <p:spPr bwMode="auto">
          <a:xfrm>
            <a:off x="2956670" y="1233612"/>
            <a:ext cx="2987675" cy="3455988"/>
          </a:xfrm>
          <a:prstGeom prst="rect">
            <a:avLst/>
          </a:prstGeom>
          <a:noFill/>
          <a:ln w="9525">
            <a:noFill/>
            <a:miter lim="800000"/>
            <a:headEnd/>
            <a:tailEnd/>
          </a:ln>
        </p:spPr>
      </p:pic>
      <p:sp>
        <p:nvSpPr>
          <p:cNvPr id="17" name="矩形 16"/>
          <p:cNvSpPr/>
          <p:nvPr/>
        </p:nvSpPr>
        <p:spPr>
          <a:xfrm>
            <a:off x="3012232" y="2617912"/>
            <a:ext cx="906463" cy="954088"/>
          </a:xfrm>
          <a:prstGeom prst="rect">
            <a:avLst/>
          </a:prstGeom>
        </p:spPr>
        <p:txBody>
          <a:bodyPr wrap="none" lIns="91389" tIns="45694" rIns="91389" bIns="45694">
            <a:spAutoFit/>
          </a:bodyPr>
          <a:lstStyle/>
          <a:p>
            <a:pPr>
              <a:defRPr/>
            </a:pPr>
            <a:r>
              <a:rPr lang="zh-CN" altLang="en-US" sz="2800" b="1" kern="0" dirty="0">
                <a:solidFill>
                  <a:srgbClr val="FF0000"/>
                </a:solidFill>
                <a:effectLst>
                  <a:outerShdw blurRad="38100" dist="38100" dir="2700000" algn="tl">
                    <a:srgbClr val="000000">
                      <a:alpha val="43137"/>
                    </a:srgbClr>
                  </a:outerShdw>
                </a:effectLst>
                <a:latin typeface="Times New Roman" pitchFamily="18" charset="0"/>
              </a:rPr>
              <a:t>有利</a:t>
            </a:r>
            <a:endParaRPr lang="en-US" altLang="zh-CN" sz="2800" b="1" kern="0" dirty="0">
              <a:solidFill>
                <a:srgbClr val="FF0000"/>
              </a:solidFill>
              <a:effectLst>
                <a:outerShdw blurRad="38100" dist="38100" dir="2700000" algn="tl">
                  <a:srgbClr val="000000">
                    <a:alpha val="43137"/>
                  </a:srgbClr>
                </a:outerShdw>
              </a:effectLst>
              <a:latin typeface="Times New Roman" pitchFamily="18" charset="0"/>
            </a:endParaRPr>
          </a:p>
          <a:p>
            <a:pPr>
              <a:defRPr/>
            </a:pPr>
            <a:r>
              <a:rPr lang="zh-CN" altLang="en-US" sz="2800" b="1" kern="0" dirty="0">
                <a:solidFill>
                  <a:srgbClr val="FF0000"/>
                </a:solidFill>
                <a:effectLst>
                  <a:outerShdw blurRad="38100" dist="38100" dir="2700000" algn="tl">
                    <a:srgbClr val="000000">
                      <a:alpha val="43137"/>
                    </a:srgbClr>
                  </a:outerShdw>
                </a:effectLst>
                <a:latin typeface="Times New Roman" pitchFamily="18" charset="0"/>
              </a:rPr>
              <a:t>方面</a:t>
            </a:r>
            <a:endParaRPr lang="zh-CN" altLang="en-US" b="1" kern="0" dirty="0">
              <a:solidFill>
                <a:srgbClr val="FF0000"/>
              </a:solidFill>
              <a:effectLst>
                <a:outerShdw blurRad="38100" dist="38100" dir="2700000" algn="tl">
                  <a:srgbClr val="000000">
                    <a:alpha val="43137"/>
                  </a:srgbClr>
                </a:outerShdw>
              </a:effectLst>
              <a:latin typeface="Times New Roman" pitchFamily="18" charset="0"/>
            </a:endParaRPr>
          </a:p>
        </p:txBody>
      </p:sp>
      <p:pic>
        <p:nvPicPr>
          <p:cNvPr id="22" name="图片 21" descr="图片6_副本.png"/>
          <p:cNvPicPr>
            <a:picLocks noChangeAspect="1"/>
          </p:cNvPicPr>
          <p:nvPr/>
        </p:nvPicPr>
        <p:blipFill>
          <a:blip r:embed="rId4" cstate="print"/>
          <a:srcRect/>
          <a:stretch>
            <a:fillRect/>
          </a:stretch>
        </p:blipFill>
        <p:spPr bwMode="auto">
          <a:xfrm>
            <a:off x="2942382" y="4640387"/>
            <a:ext cx="3024188" cy="1784350"/>
          </a:xfrm>
          <a:prstGeom prst="rect">
            <a:avLst/>
          </a:prstGeom>
          <a:noFill/>
          <a:ln w="9525">
            <a:noFill/>
            <a:miter lim="800000"/>
            <a:headEnd/>
            <a:tailEnd/>
          </a:ln>
        </p:spPr>
      </p:pic>
      <p:sp>
        <p:nvSpPr>
          <p:cNvPr id="23" name="矩形 22"/>
          <p:cNvSpPr/>
          <p:nvPr/>
        </p:nvSpPr>
        <p:spPr>
          <a:xfrm>
            <a:off x="4952157" y="2444875"/>
            <a:ext cx="906463" cy="954087"/>
          </a:xfrm>
          <a:prstGeom prst="rect">
            <a:avLst/>
          </a:prstGeom>
        </p:spPr>
        <p:txBody>
          <a:bodyPr wrap="none" lIns="91389" tIns="45694" rIns="91389" bIns="45694">
            <a:spAutoFit/>
          </a:bodyPr>
          <a:lstStyle/>
          <a:p>
            <a:pPr>
              <a:defRPr/>
            </a:pPr>
            <a:r>
              <a:rPr lang="zh-CN" altLang="en-US" sz="2800" b="1" kern="0" dirty="0">
                <a:solidFill>
                  <a:srgbClr val="FF0000"/>
                </a:solidFill>
                <a:effectLst>
                  <a:outerShdw blurRad="38100" dist="38100" dir="2700000" algn="tl">
                    <a:srgbClr val="000000">
                      <a:alpha val="43137"/>
                    </a:srgbClr>
                  </a:outerShdw>
                </a:effectLst>
                <a:latin typeface="Times New Roman" pitchFamily="18" charset="0"/>
              </a:rPr>
              <a:t>不利</a:t>
            </a:r>
            <a:endParaRPr lang="en-US" altLang="zh-CN" sz="2800" b="1" kern="0" dirty="0">
              <a:solidFill>
                <a:srgbClr val="FF0000"/>
              </a:solidFill>
              <a:effectLst>
                <a:outerShdw blurRad="38100" dist="38100" dir="2700000" algn="tl">
                  <a:srgbClr val="000000">
                    <a:alpha val="43137"/>
                  </a:srgbClr>
                </a:outerShdw>
              </a:effectLst>
              <a:latin typeface="Times New Roman" pitchFamily="18" charset="0"/>
            </a:endParaRPr>
          </a:p>
          <a:p>
            <a:pPr>
              <a:defRPr/>
            </a:pPr>
            <a:r>
              <a:rPr lang="zh-CN" altLang="en-US" sz="2800" b="1" kern="0" dirty="0">
                <a:solidFill>
                  <a:srgbClr val="FF0000"/>
                </a:solidFill>
                <a:effectLst>
                  <a:outerShdw blurRad="38100" dist="38100" dir="2700000" algn="tl">
                    <a:srgbClr val="000000">
                      <a:alpha val="43137"/>
                    </a:srgbClr>
                  </a:outerShdw>
                </a:effectLst>
                <a:latin typeface="Times New Roman" pitchFamily="18" charset="0"/>
              </a:rPr>
              <a:t>方面</a:t>
            </a:r>
          </a:p>
        </p:txBody>
      </p:sp>
      <p:sp>
        <p:nvSpPr>
          <p:cNvPr id="24" name="矩形 23"/>
          <p:cNvSpPr/>
          <p:nvPr/>
        </p:nvSpPr>
        <p:spPr>
          <a:xfrm>
            <a:off x="299195" y="1719387"/>
            <a:ext cx="2263775" cy="708025"/>
          </a:xfrm>
          <a:prstGeom prst="rect">
            <a:avLst/>
          </a:prstGeom>
          <a:noFill/>
          <a:effectLst>
            <a:outerShdw blurRad="50800" dist="38100" dir="13500000" algn="b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lIns="91389" tIns="45694" rIns="91389" bIns="45694">
            <a:spAutoFit/>
          </a:bodyPr>
          <a:lstStyle/>
          <a:p>
            <a:pPr algn="ctr" fontAlgn="base">
              <a:spcBef>
                <a:spcPct val="0"/>
              </a:spcBef>
              <a:spcAft>
                <a:spcPct val="0"/>
              </a:spcAft>
              <a:defRPr/>
            </a:pPr>
            <a:r>
              <a:rPr lang="zh-CN" altLang="en-US" sz="2000" b="1" dirty="0">
                <a:solidFill>
                  <a:srgbClr val="C00000"/>
                </a:solidFill>
                <a:latin typeface="黑体" pitchFamily="49" charset="-122"/>
                <a:ea typeface="黑体" pitchFamily="49" charset="-122"/>
              </a:rPr>
              <a:t>激发潜能、提高学习和工作的效率</a:t>
            </a:r>
          </a:p>
        </p:txBody>
      </p:sp>
      <p:sp>
        <p:nvSpPr>
          <p:cNvPr id="25" name="矩形 24"/>
          <p:cNvSpPr/>
          <p:nvPr/>
        </p:nvSpPr>
        <p:spPr>
          <a:xfrm>
            <a:off x="269032" y="2617912"/>
            <a:ext cx="2262188" cy="708025"/>
          </a:xfrm>
          <a:prstGeom prst="rect">
            <a:avLst/>
          </a:prstGeom>
          <a:noFill/>
          <a:effectLst>
            <a:outerShdw blurRad="50800" dist="38100" dir="13500000" algn="b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lIns="91389" tIns="45694" rIns="91389" bIns="45694">
            <a:spAutoFit/>
          </a:bodyPr>
          <a:lstStyle/>
          <a:p>
            <a:pPr algn="ctr" fontAlgn="base">
              <a:spcBef>
                <a:spcPct val="0"/>
              </a:spcBef>
              <a:spcAft>
                <a:spcPct val="0"/>
              </a:spcAft>
              <a:defRPr/>
            </a:pPr>
            <a:r>
              <a:rPr lang="zh-CN" altLang="en-US" sz="2000" b="1" dirty="0">
                <a:solidFill>
                  <a:srgbClr val="C00000"/>
                </a:solidFill>
                <a:latin typeface="黑体" pitchFamily="49" charset="-122"/>
                <a:ea typeface="黑体" pitchFamily="49" charset="-122"/>
              </a:rPr>
              <a:t>客观评价自己、取人之长补己之短</a:t>
            </a:r>
          </a:p>
        </p:txBody>
      </p:sp>
      <p:sp>
        <p:nvSpPr>
          <p:cNvPr id="26" name="矩形 25"/>
          <p:cNvSpPr/>
          <p:nvPr/>
        </p:nvSpPr>
        <p:spPr>
          <a:xfrm>
            <a:off x="345232" y="3532312"/>
            <a:ext cx="2262188" cy="708025"/>
          </a:xfrm>
          <a:prstGeom prst="rect">
            <a:avLst/>
          </a:prstGeom>
          <a:noFill/>
          <a:effectLst>
            <a:outerShdw blurRad="50800" dist="38100" dir="13500000" algn="b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lIns="91389" tIns="45694" rIns="91389" bIns="45694">
            <a:spAutoFit/>
          </a:bodyPr>
          <a:lstStyle/>
          <a:p>
            <a:pPr algn="ctr" fontAlgn="base">
              <a:spcBef>
                <a:spcPct val="0"/>
              </a:spcBef>
              <a:spcAft>
                <a:spcPct val="0"/>
              </a:spcAft>
              <a:defRPr/>
            </a:pPr>
            <a:r>
              <a:rPr lang="zh-CN" altLang="en-US" sz="2000" b="1" dirty="0">
                <a:solidFill>
                  <a:srgbClr val="C00000"/>
                </a:solidFill>
                <a:latin typeface="黑体" pitchFamily="49" charset="-122"/>
                <a:ea typeface="黑体" pitchFamily="49" charset="-122"/>
              </a:rPr>
              <a:t>丰富生活、增添学习和工作的乐趣</a:t>
            </a:r>
          </a:p>
        </p:txBody>
      </p:sp>
      <p:sp>
        <p:nvSpPr>
          <p:cNvPr id="27" name="矩形 26"/>
          <p:cNvSpPr/>
          <p:nvPr/>
        </p:nvSpPr>
        <p:spPr>
          <a:xfrm>
            <a:off x="6441232" y="1779712"/>
            <a:ext cx="2487613" cy="708025"/>
          </a:xfrm>
          <a:prstGeom prst="rect">
            <a:avLst/>
          </a:prstGeom>
          <a:noFill/>
          <a:effectLst>
            <a:outerShdw blurRad="50800" dist="38100" dir="13500000" algn="b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lIns="91389" tIns="45694" rIns="91389" bIns="45694">
            <a:spAutoFit/>
          </a:bodyPr>
          <a:lstStyle/>
          <a:p>
            <a:pPr algn="ctr" fontAlgn="base">
              <a:spcBef>
                <a:spcPct val="0"/>
              </a:spcBef>
              <a:spcAft>
                <a:spcPct val="0"/>
              </a:spcAft>
              <a:defRPr/>
            </a:pPr>
            <a:r>
              <a:rPr lang="zh-CN" altLang="en-US" sz="2000" b="1" dirty="0">
                <a:solidFill>
                  <a:srgbClr val="C00000"/>
                </a:solidFill>
                <a:latin typeface="黑体" pitchFamily="49" charset="-122"/>
                <a:ea typeface="黑体" pitchFamily="49" charset="-122"/>
              </a:rPr>
              <a:t>使获胜者骄傲自大；失败者自卑</a:t>
            </a:r>
          </a:p>
        </p:txBody>
      </p:sp>
      <p:sp>
        <p:nvSpPr>
          <p:cNvPr id="28" name="矩形 27"/>
          <p:cNvSpPr/>
          <p:nvPr/>
        </p:nvSpPr>
        <p:spPr>
          <a:xfrm>
            <a:off x="6365032" y="2694112"/>
            <a:ext cx="2552700" cy="708025"/>
          </a:xfrm>
          <a:prstGeom prst="rect">
            <a:avLst/>
          </a:prstGeom>
          <a:noFill/>
          <a:effectLst>
            <a:outerShdw blurRad="50800" dist="38100" dir="13500000" algn="b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lIns="91389" tIns="45694" rIns="91389" bIns="45694">
            <a:spAutoFit/>
          </a:bodyPr>
          <a:lstStyle/>
          <a:p>
            <a:pPr algn="ctr" fontAlgn="base">
              <a:spcBef>
                <a:spcPct val="0"/>
              </a:spcBef>
              <a:spcAft>
                <a:spcPct val="0"/>
              </a:spcAft>
              <a:defRPr/>
            </a:pPr>
            <a:r>
              <a:rPr lang="zh-CN" altLang="en-US" sz="2000" b="1" dirty="0">
                <a:solidFill>
                  <a:srgbClr val="C00000"/>
                </a:solidFill>
                <a:latin typeface="黑体" pitchFamily="49" charset="-122"/>
                <a:ea typeface="黑体" pitchFamily="49" charset="-122"/>
              </a:rPr>
              <a:t>引起心情紧张和焦虑，影响健康</a:t>
            </a:r>
          </a:p>
        </p:txBody>
      </p:sp>
      <p:sp>
        <p:nvSpPr>
          <p:cNvPr id="29" name="矩形 28"/>
          <p:cNvSpPr/>
          <p:nvPr/>
        </p:nvSpPr>
        <p:spPr>
          <a:xfrm>
            <a:off x="6365032" y="3532312"/>
            <a:ext cx="2486025" cy="400050"/>
          </a:xfrm>
          <a:prstGeom prst="rect">
            <a:avLst/>
          </a:prstGeom>
          <a:noFill/>
          <a:effectLst>
            <a:outerShdw blurRad="50800" dist="38100" dir="13500000" algn="b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lIns="91389" tIns="45694" rIns="91389" bIns="45694">
            <a:spAutoFit/>
          </a:bodyPr>
          <a:lstStyle/>
          <a:p>
            <a:pPr algn="ctr" fontAlgn="base">
              <a:spcBef>
                <a:spcPct val="0"/>
              </a:spcBef>
              <a:spcAft>
                <a:spcPct val="0"/>
              </a:spcAft>
              <a:defRPr/>
            </a:pPr>
            <a:r>
              <a:rPr lang="zh-CN" altLang="en-US" sz="2000" b="1" dirty="0">
                <a:solidFill>
                  <a:srgbClr val="C00000"/>
                </a:solidFill>
                <a:latin typeface="黑体" pitchFamily="49" charset="-122"/>
                <a:ea typeface="黑体" pitchFamily="49" charset="-122"/>
              </a:rPr>
              <a:t>导致出现妒忌心理</a:t>
            </a:r>
          </a:p>
        </p:txBody>
      </p:sp>
      <p:sp>
        <p:nvSpPr>
          <p:cNvPr id="30" name="椭圆 29"/>
          <p:cNvSpPr>
            <a:spLocks noChangeAspect="1"/>
          </p:cNvSpPr>
          <p:nvPr/>
        </p:nvSpPr>
        <p:spPr bwMode="auto">
          <a:xfrm>
            <a:off x="3786182" y="1249487"/>
            <a:ext cx="1285884" cy="1036505"/>
          </a:xfrm>
          <a:prstGeom prst="ellipse">
            <a:avLst/>
          </a:prstGeom>
          <a:solidFill>
            <a:srgbClr val="C00000"/>
          </a:solidFill>
          <a:ln w="76200">
            <a:solidFill>
              <a:srgbClr val="C00000"/>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lIns="91389" tIns="45694" rIns="91389" bIns="45694"/>
          <a:lstStyle/>
          <a:p>
            <a:pPr fontAlgn="base">
              <a:spcBef>
                <a:spcPct val="0"/>
              </a:spcBef>
              <a:spcAft>
                <a:spcPct val="0"/>
              </a:spcAft>
              <a:defRPr/>
            </a:pPr>
            <a:r>
              <a:rPr lang="zh-CN" altLang="en-US" sz="2800" b="1" dirty="0">
                <a:solidFill>
                  <a:prstClr val="white"/>
                </a:solidFill>
                <a:effectLst>
                  <a:outerShdw blurRad="38100" dist="38100" dir="2700000" algn="tl">
                    <a:srgbClr val="000000">
                      <a:alpha val="43137"/>
                    </a:srgbClr>
                  </a:outerShdw>
                </a:effectLst>
              </a:rPr>
              <a:t>竞争</a:t>
            </a:r>
          </a:p>
        </p:txBody>
      </p:sp>
      <p:pic>
        <p:nvPicPr>
          <p:cNvPr id="31" name="图片 30" descr="图片1.png"/>
          <p:cNvPicPr>
            <a:picLocks noChangeAspect="1"/>
          </p:cNvPicPr>
          <p:nvPr/>
        </p:nvPicPr>
        <p:blipFill>
          <a:blip r:embed="rId5" cstate="print">
            <a:duotone>
              <a:schemeClr val="accent2">
                <a:shade val="45000"/>
                <a:satMod val="135000"/>
              </a:schemeClr>
              <a:prstClr val="white"/>
            </a:duotone>
          </a:blip>
          <a:stretch>
            <a:fillRect/>
          </a:stretch>
        </p:blipFill>
        <p:spPr bwMode="auto">
          <a:xfrm>
            <a:off x="4612432" y="1398712"/>
            <a:ext cx="1766404" cy="3168352"/>
          </a:xfrm>
          <a:prstGeom prst="rect">
            <a:avLst/>
          </a:prstGeom>
        </p:spPr>
      </p:pic>
      <p:pic>
        <p:nvPicPr>
          <p:cNvPr id="32" name="图片 31" descr="图片1.png"/>
          <p:cNvPicPr>
            <a:picLocks noChangeAspect="1"/>
          </p:cNvPicPr>
          <p:nvPr/>
        </p:nvPicPr>
        <p:blipFill>
          <a:blip r:embed="rId5" cstate="print">
            <a:duotone>
              <a:schemeClr val="accent2">
                <a:shade val="45000"/>
                <a:satMod val="135000"/>
              </a:schemeClr>
              <a:prstClr val="white"/>
            </a:duotone>
          </a:blip>
          <a:stretch>
            <a:fillRect/>
          </a:stretch>
        </p:blipFill>
        <p:spPr bwMode="auto">
          <a:xfrm flipH="1">
            <a:off x="2555042" y="1474911"/>
            <a:ext cx="1265302" cy="3168352"/>
          </a:xfrm>
          <a:prstGeom prst="rect">
            <a:avLst/>
          </a:prstGeom>
        </p:spPr>
      </p:pic>
    </p:spTree>
    <p:custDataLst>
      <p:tags r:id="rId1"/>
    </p:custDataLst>
  </p:cSld>
  <p:clrMapOvr>
    <a:masterClrMapping/>
  </p:clrMapOvr>
  <p:transition advTm="67019"/>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0" fill="hold" grpId="0" nodeType="afterEffect">
                                  <p:stCondLst>
                                    <p:cond delay="0"/>
                                  </p:stCondLst>
                                  <p:childTnLst>
                                    <p:set>
                                      <p:cBhvr>
                                        <p:cTn id="6" dur="1" fill="hold">
                                          <p:stCondLst>
                                            <p:cond delay="0"/>
                                          </p:stCondLst>
                                        </p:cTn>
                                        <p:tgtEl>
                                          <p:spTgt spid="30"/>
                                        </p:tgtEl>
                                        <p:attrNameLst>
                                          <p:attrName>style.visibility</p:attrName>
                                        </p:attrNameLst>
                                      </p:cBhvr>
                                      <p:to>
                                        <p:strVal val="visible"/>
                                      </p:to>
                                    </p:set>
                                    <p:anim calcmode="lin" valueType="num">
                                      <p:cBhvr>
                                        <p:cTn id="7" dur="1000" fill="hold"/>
                                        <p:tgtEl>
                                          <p:spTgt spid="30"/>
                                        </p:tgtEl>
                                        <p:attrNameLst>
                                          <p:attrName>ppt_w</p:attrName>
                                        </p:attrNameLst>
                                      </p:cBhvr>
                                      <p:tavLst>
                                        <p:tav tm="0">
                                          <p:val>
                                            <p:fltVal val="0"/>
                                          </p:val>
                                        </p:tav>
                                        <p:tav tm="100000">
                                          <p:val>
                                            <p:strVal val="#ppt_w"/>
                                          </p:val>
                                        </p:tav>
                                      </p:tavLst>
                                    </p:anim>
                                    <p:anim calcmode="lin" valueType="num">
                                      <p:cBhvr>
                                        <p:cTn id="8" dur="1000" fill="hold"/>
                                        <p:tgtEl>
                                          <p:spTgt spid="30"/>
                                        </p:tgtEl>
                                        <p:attrNameLst>
                                          <p:attrName>ppt_h</p:attrName>
                                        </p:attrNameLst>
                                      </p:cBhvr>
                                      <p:tavLst>
                                        <p:tav tm="0">
                                          <p:val>
                                            <p:fltVal val="0"/>
                                          </p:val>
                                        </p:tav>
                                        <p:tav tm="100000">
                                          <p:val>
                                            <p:strVal val="#ppt_h"/>
                                          </p:val>
                                        </p:tav>
                                      </p:tavLst>
                                    </p:anim>
                                    <p:animEffect transition="in" filter="fade">
                                      <p:cBhvr>
                                        <p:cTn id="9" dur="1000"/>
                                        <p:tgtEl>
                                          <p:spTgt spid="30"/>
                                        </p:tgtEl>
                                      </p:cBhvr>
                                    </p:animEffect>
                                  </p:childTnLst>
                                </p:cTn>
                              </p:par>
                            </p:childTnLst>
                          </p:cTn>
                        </p:par>
                        <p:par>
                          <p:cTn id="10" fill="hold">
                            <p:stCondLst>
                              <p:cond delay="1000"/>
                            </p:stCondLst>
                            <p:childTnLst>
                              <p:par>
                                <p:cTn id="11" presetID="22" presetClass="entr" presetSubtype="4" fill="hold" nodeType="afterEffect">
                                  <p:stCondLst>
                                    <p:cond delay="0"/>
                                  </p:stCondLst>
                                  <p:childTnLst>
                                    <p:set>
                                      <p:cBhvr>
                                        <p:cTn id="12" dur="1" fill="hold">
                                          <p:stCondLst>
                                            <p:cond delay="0"/>
                                          </p:stCondLst>
                                        </p:cTn>
                                        <p:tgtEl>
                                          <p:spTgt spid="22"/>
                                        </p:tgtEl>
                                        <p:attrNameLst>
                                          <p:attrName>style.visibility</p:attrName>
                                        </p:attrNameLst>
                                      </p:cBhvr>
                                      <p:to>
                                        <p:strVal val="visible"/>
                                      </p:to>
                                    </p:set>
                                    <p:animEffect transition="in" filter="wipe(down)">
                                      <p:cBhvr>
                                        <p:cTn id="13" dur="1000"/>
                                        <p:tgtEl>
                                          <p:spTgt spid="22"/>
                                        </p:tgtEl>
                                      </p:cBhvr>
                                    </p:animEffect>
                                  </p:childTnLst>
                                </p:cTn>
                              </p:par>
                            </p:childTnLst>
                          </p:cTn>
                        </p:par>
                        <p:par>
                          <p:cTn id="14" fill="hold">
                            <p:stCondLst>
                              <p:cond delay="2000"/>
                            </p:stCondLst>
                            <p:childTnLst>
                              <p:par>
                                <p:cTn id="15" presetID="10" presetClass="entr" presetSubtype="0" fill="hold" nodeType="afterEffect">
                                  <p:stCondLst>
                                    <p:cond delay="0"/>
                                  </p:stCondLst>
                                  <p:childTnLst>
                                    <p:set>
                                      <p:cBhvr>
                                        <p:cTn id="16" dur="1" fill="hold">
                                          <p:stCondLst>
                                            <p:cond delay="0"/>
                                          </p:stCondLst>
                                        </p:cTn>
                                        <p:tgtEl>
                                          <p:spTgt spid="16"/>
                                        </p:tgtEl>
                                        <p:attrNameLst>
                                          <p:attrName>style.visibility</p:attrName>
                                        </p:attrNameLst>
                                      </p:cBhvr>
                                      <p:to>
                                        <p:strVal val="visible"/>
                                      </p:to>
                                    </p:set>
                                    <p:animEffect transition="in" filter="fade">
                                      <p:cBhvr>
                                        <p:cTn id="17" dur="1000"/>
                                        <p:tgtEl>
                                          <p:spTgt spid="16"/>
                                        </p:tgtEl>
                                      </p:cBhvr>
                                    </p:animEffect>
                                  </p:childTnLst>
                                </p:cTn>
                              </p:par>
                            </p:childTnLst>
                          </p:cTn>
                        </p:par>
                        <p:par>
                          <p:cTn id="18" fill="hold">
                            <p:stCondLst>
                              <p:cond delay="3000"/>
                            </p:stCondLst>
                            <p:childTnLst>
                              <p:par>
                                <p:cTn id="19" presetID="10" presetClass="entr" presetSubtype="0" fill="hold" grpId="0" nodeType="afterEffect">
                                  <p:stCondLst>
                                    <p:cond delay="0"/>
                                  </p:stCondLst>
                                  <p:childTnLst>
                                    <p:set>
                                      <p:cBhvr>
                                        <p:cTn id="20" dur="1" fill="hold">
                                          <p:stCondLst>
                                            <p:cond delay="0"/>
                                          </p:stCondLst>
                                        </p:cTn>
                                        <p:tgtEl>
                                          <p:spTgt spid="17"/>
                                        </p:tgtEl>
                                        <p:attrNameLst>
                                          <p:attrName>style.visibility</p:attrName>
                                        </p:attrNameLst>
                                      </p:cBhvr>
                                      <p:to>
                                        <p:strVal val="visible"/>
                                      </p:to>
                                    </p:set>
                                    <p:animEffect transition="in" filter="fade">
                                      <p:cBhvr>
                                        <p:cTn id="21" dur="1000"/>
                                        <p:tgtEl>
                                          <p:spTgt spid="17"/>
                                        </p:tgtEl>
                                      </p:cBhvr>
                                    </p:animEffect>
                                  </p:childTnLst>
                                </p:cTn>
                              </p:par>
                            </p:childTnLst>
                          </p:cTn>
                        </p:par>
                        <p:par>
                          <p:cTn id="22" fill="hold">
                            <p:stCondLst>
                              <p:cond delay="4000"/>
                            </p:stCondLst>
                            <p:childTnLst>
                              <p:par>
                                <p:cTn id="23" presetID="22" presetClass="entr" presetSubtype="4" fill="hold" nodeType="afterEffect">
                                  <p:stCondLst>
                                    <p:cond delay="0"/>
                                  </p:stCondLst>
                                  <p:childTnLst>
                                    <p:set>
                                      <p:cBhvr>
                                        <p:cTn id="24" dur="1" fill="hold">
                                          <p:stCondLst>
                                            <p:cond delay="0"/>
                                          </p:stCondLst>
                                        </p:cTn>
                                        <p:tgtEl>
                                          <p:spTgt spid="32"/>
                                        </p:tgtEl>
                                        <p:attrNameLst>
                                          <p:attrName>style.visibility</p:attrName>
                                        </p:attrNameLst>
                                      </p:cBhvr>
                                      <p:to>
                                        <p:strVal val="visible"/>
                                      </p:to>
                                    </p:set>
                                    <p:animEffect transition="in" filter="wipe(down)">
                                      <p:cBhvr>
                                        <p:cTn id="25" dur="1000"/>
                                        <p:tgtEl>
                                          <p:spTgt spid="32"/>
                                        </p:tgtEl>
                                      </p:cBhvr>
                                    </p:animEffect>
                                  </p:childTnLst>
                                </p:cTn>
                              </p:par>
                            </p:childTnLst>
                          </p:cTn>
                        </p:par>
                        <p:par>
                          <p:cTn id="26" fill="hold">
                            <p:stCondLst>
                              <p:cond delay="5000"/>
                            </p:stCondLst>
                            <p:childTnLst>
                              <p:par>
                                <p:cTn id="27" presetID="25" presetClass="entr" presetSubtype="0" fill="hold" grpId="0" nodeType="afterEffect">
                                  <p:stCondLst>
                                    <p:cond delay="0"/>
                                  </p:stCondLst>
                                  <p:childTnLst>
                                    <p:set>
                                      <p:cBhvr>
                                        <p:cTn id="28" dur="1" fill="hold">
                                          <p:stCondLst>
                                            <p:cond delay="0"/>
                                          </p:stCondLst>
                                        </p:cTn>
                                        <p:tgtEl>
                                          <p:spTgt spid="24"/>
                                        </p:tgtEl>
                                        <p:attrNameLst>
                                          <p:attrName>style.visibility</p:attrName>
                                        </p:attrNameLst>
                                      </p:cBhvr>
                                      <p:to>
                                        <p:strVal val="visible"/>
                                      </p:to>
                                    </p:set>
                                    <p:anim calcmode="lin" valueType="num">
                                      <p:cBhvr>
                                        <p:cTn id="29" dur="500" decel="50000" fill="hold">
                                          <p:stCondLst>
                                            <p:cond delay="0"/>
                                          </p:stCondLst>
                                        </p:cTn>
                                        <p:tgtEl>
                                          <p:spTgt spid="24"/>
                                        </p:tgtEl>
                                        <p:attrNameLst>
                                          <p:attrName>style.rotation</p:attrName>
                                        </p:attrNameLst>
                                      </p:cBhvr>
                                      <p:tavLst>
                                        <p:tav tm="0">
                                          <p:val>
                                            <p:fltVal val="-90"/>
                                          </p:val>
                                        </p:tav>
                                        <p:tav tm="100000">
                                          <p:val>
                                            <p:fltVal val="0"/>
                                          </p:val>
                                        </p:tav>
                                      </p:tavLst>
                                    </p:anim>
                                    <p:anim calcmode="lin" valueType="num">
                                      <p:cBhvr>
                                        <p:cTn id="30" dur="500" decel="50000" fill="hold">
                                          <p:stCondLst>
                                            <p:cond delay="0"/>
                                          </p:stCondLst>
                                        </p:cTn>
                                        <p:tgtEl>
                                          <p:spTgt spid="24"/>
                                        </p:tgtEl>
                                        <p:attrNameLst>
                                          <p:attrName>ppt_w</p:attrName>
                                        </p:attrNameLst>
                                      </p:cBhvr>
                                      <p:tavLst>
                                        <p:tav tm="0">
                                          <p:val>
                                            <p:strVal val="#ppt_w"/>
                                          </p:val>
                                        </p:tav>
                                        <p:tav tm="100000">
                                          <p:val>
                                            <p:strVal val="#ppt_w*.05"/>
                                          </p:val>
                                        </p:tav>
                                      </p:tavLst>
                                    </p:anim>
                                    <p:anim calcmode="lin" valueType="num">
                                      <p:cBhvr>
                                        <p:cTn id="31" dur="500" accel="50000" fill="hold">
                                          <p:stCondLst>
                                            <p:cond delay="500"/>
                                          </p:stCondLst>
                                        </p:cTn>
                                        <p:tgtEl>
                                          <p:spTgt spid="24"/>
                                        </p:tgtEl>
                                        <p:attrNameLst>
                                          <p:attrName>ppt_w</p:attrName>
                                        </p:attrNameLst>
                                      </p:cBhvr>
                                      <p:tavLst>
                                        <p:tav tm="0">
                                          <p:val>
                                            <p:strVal val="#ppt_w*.05"/>
                                          </p:val>
                                        </p:tav>
                                        <p:tav tm="100000">
                                          <p:val>
                                            <p:strVal val="#ppt_w"/>
                                          </p:val>
                                        </p:tav>
                                      </p:tavLst>
                                    </p:anim>
                                    <p:anim calcmode="lin" valueType="num">
                                      <p:cBhvr>
                                        <p:cTn id="32" dur="1000" fill="hold"/>
                                        <p:tgtEl>
                                          <p:spTgt spid="24"/>
                                        </p:tgtEl>
                                        <p:attrNameLst>
                                          <p:attrName>ppt_h</p:attrName>
                                        </p:attrNameLst>
                                      </p:cBhvr>
                                      <p:tavLst>
                                        <p:tav tm="0">
                                          <p:val>
                                            <p:strVal val="#ppt_h"/>
                                          </p:val>
                                        </p:tav>
                                        <p:tav tm="100000">
                                          <p:val>
                                            <p:strVal val="#ppt_h"/>
                                          </p:val>
                                        </p:tav>
                                      </p:tavLst>
                                    </p:anim>
                                    <p:anim calcmode="lin" valueType="num">
                                      <p:cBhvr>
                                        <p:cTn id="33" dur="500" decel="50000" fill="hold">
                                          <p:stCondLst>
                                            <p:cond delay="0"/>
                                          </p:stCondLst>
                                        </p:cTn>
                                        <p:tgtEl>
                                          <p:spTgt spid="24"/>
                                        </p:tgtEl>
                                        <p:attrNameLst>
                                          <p:attrName>ppt_x</p:attrName>
                                        </p:attrNameLst>
                                      </p:cBhvr>
                                      <p:tavLst>
                                        <p:tav tm="0">
                                          <p:val>
                                            <p:strVal val="#ppt_x+.4"/>
                                          </p:val>
                                        </p:tav>
                                        <p:tav tm="100000">
                                          <p:val>
                                            <p:strVal val="#ppt_x"/>
                                          </p:val>
                                        </p:tav>
                                      </p:tavLst>
                                    </p:anim>
                                    <p:anim calcmode="lin" valueType="num">
                                      <p:cBhvr>
                                        <p:cTn id="34" dur="500" decel="50000" fill="hold">
                                          <p:stCondLst>
                                            <p:cond delay="0"/>
                                          </p:stCondLst>
                                        </p:cTn>
                                        <p:tgtEl>
                                          <p:spTgt spid="24"/>
                                        </p:tgtEl>
                                        <p:attrNameLst>
                                          <p:attrName>ppt_y</p:attrName>
                                        </p:attrNameLst>
                                      </p:cBhvr>
                                      <p:tavLst>
                                        <p:tav tm="0">
                                          <p:val>
                                            <p:strVal val="#ppt_y-.2"/>
                                          </p:val>
                                        </p:tav>
                                        <p:tav tm="100000">
                                          <p:val>
                                            <p:strVal val="#ppt_y+.1"/>
                                          </p:val>
                                        </p:tav>
                                      </p:tavLst>
                                    </p:anim>
                                    <p:anim calcmode="lin" valueType="num">
                                      <p:cBhvr>
                                        <p:cTn id="35" dur="500" accel="50000" fill="hold">
                                          <p:stCondLst>
                                            <p:cond delay="500"/>
                                          </p:stCondLst>
                                        </p:cTn>
                                        <p:tgtEl>
                                          <p:spTgt spid="24"/>
                                        </p:tgtEl>
                                        <p:attrNameLst>
                                          <p:attrName>ppt_y</p:attrName>
                                        </p:attrNameLst>
                                      </p:cBhvr>
                                      <p:tavLst>
                                        <p:tav tm="0">
                                          <p:val>
                                            <p:strVal val="#ppt_y+.1"/>
                                          </p:val>
                                        </p:tav>
                                        <p:tav tm="100000">
                                          <p:val>
                                            <p:strVal val="#ppt_y"/>
                                          </p:val>
                                        </p:tav>
                                      </p:tavLst>
                                    </p:anim>
                                    <p:animEffect transition="in" filter="fade">
                                      <p:cBhvr>
                                        <p:cTn id="36" dur="1000" decel="50000">
                                          <p:stCondLst>
                                            <p:cond delay="0"/>
                                          </p:stCondLst>
                                        </p:cTn>
                                        <p:tgtEl>
                                          <p:spTgt spid="24"/>
                                        </p:tgtEl>
                                      </p:cBhvr>
                                    </p:animEffect>
                                  </p:childTnLst>
                                </p:cTn>
                              </p:par>
                            </p:childTnLst>
                          </p:cTn>
                        </p:par>
                        <p:par>
                          <p:cTn id="37" fill="hold">
                            <p:stCondLst>
                              <p:cond delay="6000"/>
                            </p:stCondLst>
                            <p:childTnLst>
                              <p:par>
                                <p:cTn id="38" presetID="25" presetClass="entr" presetSubtype="0" fill="hold" grpId="0" nodeType="afterEffect">
                                  <p:stCondLst>
                                    <p:cond delay="0"/>
                                  </p:stCondLst>
                                  <p:childTnLst>
                                    <p:set>
                                      <p:cBhvr>
                                        <p:cTn id="39" dur="1" fill="hold">
                                          <p:stCondLst>
                                            <p:cond delay="0"/>
                                          </p:stCondLst>
                                        </p:cTn>
                                        <p:tgtEl>
                                          <p:spTgt spid="25"/>
                                        </p:tgtEl>
                                        <p:attrNameLst>
                                          <p:attrName>style.visibility</p:attrName>
                                        </p:attrNameLst>
                                      </p:cBhvr>
                                      <p:to>
                                        <p:strVal val="visible"/>
                                      </p:to>
                                    </p:set>
                                    <p:anim calcmode="lin" valueType="num">
                                      <p:cBhvr>
                                        <p:cTn id="40" dur="500" decel="50000" fill="hold">
                                          <p:stCondLst>
                                            <p:cond delay="0"/>
                                          </p:stCondLst>
                                        </p:cTn>
                                        <p:tgtEl>
                                          <p:spTgt spid="25"/>
                                        </p:tgtEl>
                                        <p:attrNameLst>
                                          <p:attrName>style.rotation</p:attrName>
                                        </p:attrNameLst>
                                      </p:cBhvr>
                                      <p:tavLst>
                                        <p:tav tm="0">
                                          <p:val>
                                            <p:fltVal val="-90"/>
                                          </p:val>
                                        </p:tav>
                                        <p:tav tm="100000">
                                          <p:val>
                                            <p:fltVal val="0"/>
                                          </p:val>
                                        </p:tav>
                                      </p:tavLst>
                                    </p:anim>
                                    <p:anim calcmode="lin" valueType="num">
                                      <p:cBhvr>
                                        <p:cTn id="41" dur="500" decel="50000" fill="hold">
                                          <p:stCondLst>
                                            <p:cond delay="0"/>
                                          </p:stCondLst>
                                        </p:cTn>
                                        <p:tgtEl>
                                          <p:spTgt spid="25"/>
                                        </p:tgtEl>
                                        <p:attrNameLst>
                                          <p:attrName>ppt_w</p:attrName>
                                        </p:attrNameLst>
                                      </p:cBhvr>
                                      <p:tavLst>
                                        <p:tav tm="0">
                                          <p:val>
                                            <p:strVal val="#ppt_w"/>
                                          </p:val>
                                        </p:tav>
                                        <p:tav tm="100000">
                                          <p:val>
                                            <p:strVal val="#ppt_w*.05"/>
                                          </p:val>
                                        </p:tav>
                                      </p:tavLst>
                                    </p:anim>
                                    <p:anim calcmode="lin" valueType="num">
                                      <p:cBhvr>
                                        <p:cTn id="42" dur="500" accel="50000" fill="hold">
                                          <p:stCondLst>
                                            <p:cond delay="500"/>
                                          </p:stCondLst>
                                        </p:cTn>
                                        <p:tgtEl>
                                          <p:spTgt spid="25"/>
                                        </p:tgtEl>
                                        <p:attrNameLst>
                                          <p:attrName>ppt_w</p:attrName>
                                        </p:attrNameLst>
                                      </p:cBhvr>
                                      <p:tavLst>
                                        <p:tav tm="0">
                                          <p:val>
                                            <p:strVal val="#ppt_w*.05"/>
                                          </p:val>
                                        </p:tav>
                                        <p:tav tm="100000">
                                          <p:val>
                                            <p:strVal val="#ppt_w"/>
                                          </p:val>
                                        </p:tav>
                                      </p:tavLst>
                                    </p:anim>
                                    <p:anim calcmode="lin" valueType="num">
                                      <p:cBhvr>
                                        <p:cTn id="43" dur="1000" fill="hold"/>
                                        <p:tgtEl>
                                          <p:spTgt spid="25"/>
                                        </p:tgtEl>
                                        <p:attrNameLst>
                                          <p:attrName>ppt_h</p:attrName>
                                        </p:attrNameLst>
                                      </p:cBhvr>
                                      <p:tavLst>
                                        <p:tav tm="0">
                                          <p:val>
                                            <p:strVal val="#ppt_h"/>
                                          </p:val>
                                        </p:tav>
                                        <p:tav tm="100000">
                                          <p:val>
                                            <p:strVal val="#ppt_h"/>
                                          </p:val>
                                        </p:tav>
                                      </p:tavLst>
                                    </p:anim>
                                    <p:anim calcmode="lin" valueType="num">
                                      <p:cBhvr>
                                        <p:cTn id="44" dur="500" decel="50000" fill="hold">
                                          <p:stCondLst>
                                            <p:cond delay="0"/>
                                          </p:stCondLst>
                                        </p:cTn>
                                        <p:tgtEl>
                                          <p:spTgt spid="25"/>
                                        </p:tgtEl>
                                        <p:attrNameLst>
                                          <p:attrName>ppt_x</p:attrName>
                                        </p:attrNameLst>
                                      </p:cBhvr>
                                      <p:tavLst>
                                        <p:tav tm="0">
                                          <p:val>
                                            <p:strVal val="#ppt_x+.4"/>
                                          </p:val>
                                        </p:tav>
                                        <p:tav tm="100000">
                                          <p:val>
                                            <p:strVal val="#ppt_x"/>
                                          </p:val>
                                        </p:tav>
                                      </p:tavLst>
                                    </p:anim>
                                    <p:anim calcmode="lin" valueType="num">
                                      <p:cBhvr>
                                        <p:cTn id="45" dur="500" decel="50000" fill="hold">
                                          <p:stCondLst>
                                            <p:cond delay="0"/>
                                          </p:stCondLst>
                                        </p:cTn>
                                        <p:tgtEl>
                                          <p:spTgt spid="25"/>
                                        </p:tgtEl>
                                        <p:attrNameLst>
                                          <p:attrName>ppt_y</p:attrName>
                                        </p:attrNameLst>
                                      </p:cBhvr>
                                      <p:tavLst>
                                        <p:tav tm="0">
                                          <p:val>
                                            <p:strVal val="#ppt_y-.2"/>
                                          </p:val>
                                        </p:tav>
                                        <p:tav tm="100000">
                                          <p:val>
                                            <p:strVal val="#ppt_y+.1"/>
                                          </p:val>
                                        </p:tav>
                                      </p:tavLst>
                                    </p:anim>
                                    <p:anim calcmode="lin" valueType="num">
                                      <p:cBhvr>
                                        <p:cTn id="46" dur="500" accel="50000" fill="hold">
                                          <p:stCondLst>
                                            <p:cond delay="500"/>
                                          </p:stCondLst>
                                        </p:cTn>
                                        <p:tgtEl>
                                          <p:spTgt spid="25"/>
                                        </p:tgtEl>
                                        <p:attrNameLst>
                                          <p:attrName>ppt_y</p:attrName>
                                        </p:attrNameLst>
                                      </p:cBhvr>
                                      <p:tavLst>
                                        <p:tav tm="0">
                                          <p:val>
                                            <p:strVal val="#ppt_y+.1"/>
                                          </p:val>
                                        </p:tav>
                                        <p:tav tm="100000">
                                          <p:val>
                                            <p:strVal val="#ppt_y"/>
                                          </p:val>
                                        </p:tav>
                                      </p:tavLst>
                                    </p:anim>
                                    <p:animEffect transition="in" filter="fade">
                                      <p:cBhvr>
                                        <p:cTn id="47" dur="1000" decel="50000">
                                          <p:stCondLst>
                                            <p:cond delay="0"/>
                                          </p:stCondLst>
                                        </p:cTn>
                                        <p:tgtEl>
                                          <p:spTgt spid="25"/>
                                        </p:tgtEl>
                                      </p:cBhvr>
                                    </p:animEffect>
                                  </p:childTnLst>
                                </p:cTn>
                              </p:par>
                            </p:childTnLst>
                          </p:cTn>
                        </p:par>
                        <p:par>
                          <p:cTn id="48" fill="hold">
                            <p:stCondLst>
                              <p:cond delay="7000"/>
                            </p:stCondLst>
                            <p:childTnLst>
                              <p:par>
                                <p:cTn id="49" presetID="25" presetClass="entr" presetSubtype="0" fill="hold" grpId="0" nodeType="afterEffect">
                                  <p:stCondLst>
                                    <p:cond delay="0"/>
                                  </p:stCondLst>
                                  <p:childTnLst>
                                    <p:set>
                                      <p:cBhvr>
                                        <p:cTn id="50" dur="1" fill="hold">
                                          <p:stCondLst>
                                            <p:cond delay="0"/>
                                          </p:stCondLst>
                                        </p:cTn>
                                        <p:tgtEl>
                                          <p:spTgt spid="26"/>
                                        </p:tgtEl>
                                        <p:attrNameLst>
                                          <p:attrName>style.visibility</p:attrName>
                                        </p:attrNameLst>
                                      </p:cBhvr>
                                      <p:to>
                                        <p:strVal val="visible"/>
                                      </p:to>
                                    </p:set>
                                    <p:anim calcmode="lin" valueType="num">
                                      <p:cBhvr>
                                        <p:cTn id="51" dur="500" decel="50000" fill="hold">
                                          <p:stCondLst>
                                            <p:cond delay="0"/>
                                          </p:stCondLst>
                                        </p:cTn>
                                        <p:tgtEl>
                                          <p:spTgt spid="26"/>
                                        </p:tgtEl>
                                        <p:attrNameLst>
                                          <p:attrName>style.rotation</p:attrName>
                                        </p:attrNameLst>
                                      </p:cBhvr>
                                      <p:tavLst>
                                        <p:tav tm="0">
                                          <p:val>
                                            <p:fltVal val="-90"/>
                                          </p:val>
                                        </p:tav>
                                        <p:tav tm="100000">
                                          <p:val>
                                            <p:fltVal val="0"/>
                                          </p:val>
                                        </p:tav>
                                      </p:tavLst>
                                    </p:anim>
                                    <p:anim calcmode="lin" valueType="num">
                                      <p:cBhvr>
                                        <p:cTn id="52" dur="500" decel="50000" fill="hold">
                                          <p:stCondLst>
                                            <p:cond delay="0"/>
                                          </p:stCondLst>
                                        </p:cTn>
                                        <p:tgtEl>
                                          <p:spTgt spid="26"/>
                                        </p:tgtEl>
                                        <p:attrNameLst>
                                          <p:attrName>ppt_w</p:attrName>
                                        </p:attrNameLst>
                                      </p:cBhvr>
                                      <p:tavLst>
                                        <p:tav tm="0">
                                          <p:val>
                                            <p:strVal val="#ppt_w"/>
                                          </p:val>
                                        </p:tav>
                                        <p:tav tm="100000">
                                          <p:val>
                                            <p:strVal val="#ppt_w*.05"/>
                                          </p:val>
                                        </p:tav>
                                      </p:tavLst>
                                    </p:anim>
                                    <p:anim calcmode="lin" valueType="num">
                                      <p:cBhvr>
                                        <p:cTn id="53" dur="500" accel="50000" fill="hold">
                                          <p:stCondLst>
                                            <p:cond delay="500"/>
                                          </p:stCondLst>
                                        </p:cTn>
                                        <p:tgtEl>
                                          <p:spTgt spid="26"/>
                                        </p:tgtEl>
                                        <p:attrNameLst>
                                          <p:attrName>ppt_w</p:attrName>
                                        </p:attrNameLst>
                                      </p:cBhvr>
                                      <p:tavLst>
                                        <p:tav tm="0">
                                          <p:val>
                                            <p:strVal val="#ppt_w*.05"/>
                                          </p:val>
                                        </p:tav>
                                        <p:tav tm="100000">
                                          <p:val>
                                            <p:strVal val="#ppt_w"/>
                                          </p:val>
                                        </p:tav>
                                      </p:tavLst>
                                    </p:anim>
                                    <p:anim calcmode="lin" valueType="num">
                                      <p:cBhvr>
                                        <p:cTn id="54" dur="1000" fill="hold"/>
                                        <p:tgtEl>
                                          <p:spTgt spid="26"/>
                                        </p:tgtEl>
                                        <p:attrNameLst>
                                          <p:attrName>ppt_h</p:attrName>
                                        </p:attrNameLst>
                                      </p:cBhvr>
                                      <p:tavLst>
                                        <p:tav tm="0">
                                          <p:val>
                                            <p:strVal val="#ppt_h"/>
                                          </p:val>
                                        </p:tav>
                                        <p:tav tm="100000">
                                          <p:val>
                                            <p:strVal val="#ppt_h"/>
                                          </p:val>
                                        </p:tav>
                                      </p:tavLst>
                                    </p:anim>
                                    <p:anim calcmode="lin" valueType="num">
                                      <p:cBhvr>
                                        <p:cTn id="55" dur="500" decel="50000" fill="hold">
                                          <p:stCondLst>
                                            <p:cond delay="0"/>
                                          </p:stCondLst>
                                        </p:cTn>
                                        <p:tgtEl>
                                          <p:spTgt spid="26"/>
                                        </p:tgtEl>
                                        <p:attrNameLst>
                                          <p:attrName>ppt_x</p:attrName>
                                        </p:attrNameLst>
                                      </p:cBhvr>
                                      <p:tavLst>
                                        <p:tav tm="0">
                                          <p:val>
                                            <p:strVal val="#ppt_x+.4"/>
                                          </p:val>
                                        </p:tav>
                                        <p:tav tm="100000">
                                          <p:val>
                                            <p:strVal val="#ppt_x"/>
                                          </p:val>
                                        </p:tav>
                                      </p:tavLst>
                                    </p:anim>
                                    <p:anim calcmode="lin" valueType="num">
                                      <p:cBhvr>
                                        <p:cTn id="56" dur="500" decel="50000" fill="hold">
                                          <p:stCondLst>
                                            <p:cond delay="0"/>
                                          </p:stCondLst>
                                        </p:cTn>
                                        <p:tgtEl>
                                          <p:spTgt spid="26"/>
                                        </p:tgtEl>
                                        <p:attrNameLst>
                                          <p:attrName>ppt_y</p:attrName>
                                        </p:attrNameLst>
                                      </p:cBhvr>
                                      <p:tavLst>
                                        <p:tav tm="0">
                                          <p:val>
                                            <p:strVal val="#ppt_y-.2"/>
                                          </p:val>
                                        </p:tav>
                                        <p:tav tm="100000">
                                          <p:val>
                                            <p:strVal val="#ppt_y+.1"/>
                                          </p:val>
                                        </p:tav>
                                      </p:tavLst>
                                    </p:anim>
                                    <p:anim calcmode="lin" valueType="num">
                                      <p:cBhvr>
                                        <p:cTn id="57" dur="500" accel="50000" fill="hold">
                                          <p:stCondLst>
                                            <p:cond delay="500"/>
                                          </p:stCondLst>
                                        </p:cTn>
                                        <p:tgtEl>
                                          <p:spTgt spid="26"/>
                                        </p:tgtEl>
                                        <p:attrNameLst>
                                          <p:attrName>ppt_y</p:attrName>
                                        </p:attrNameLst>
                                      </p:cBhvr>
                                      <p:tavLst>
                                        <p:tav tm="0">
                                          <p:val>
                                            <p:strVal val="#ppt_y+.1"/>
                                          </p:val>
                                        </p:tav>
                                        <p:tav tm="100000">
                                          <p:val>
                                            <p:strVal val="#ppt_y"/>
                                          </p:val>
                                        </p:tav>
                                      </p:tavLst>
                                    </p:anim>
                                    <p:animEffect transition="in" filter="fade">
                                      <p:cBhvr>
                                        <p:cTn id="58" dur="1000" decel="50000">
                                          <p:stCondLst>
                                            <p:cond delay="0"/>
                                          </p:stCondLst>
                                        </p:cTn>
                                        <p:tgtEl>
                                          <p:spTgt spid="26"/>
                                        </p:tgtEl>
                                      </p:cBhvr>
                                    </p:animEffect>
                                  </p:childTnLst>
                                </p:cTn>
                              </p:par>
                            </p:childTnLst>
                          </p:cTn>
                        </p:par>
                        <p:par>
                          <p:cTn id="59" fill="hold">
                            <p:stCondLst>
                              <p:cond delay="8000"/>
                            </p:stCondLst>
                            <p:childTnLst>
                              <p:par>
                                <p:cTn id="60" presetID="10" presetClass="entr" presetSubtype="0" fill="hold" grpId="0" nodeType="afterEffect">
                                  <p:stCondLst>
                                    <p:cond delay="0"/>
                                  </p:stCondLst>
                                  <p:childTnLst>
                                    <p:set>
                                      <p:cBhvr>
                                        <p:cTn id="61" dur="1" fill="hold">
                                          <p:stCondLst>
                                            <p:cond delay="0"/>
                                          </p:stCondLst>
                                        </p:cTn>
                                        <p:tgtEl>
                                          <p:spTgt spid="23"/>
                                        </p:tgtEl>
                                        <p:attrNameLst>
                                          <p:attrName>style.visibility</p:attrName>
                                        </p:attrNameLst>
                                      </p:cBhvr>
                                      <p:to>
                                        <p:strVal val="visible"/>
                                      </p:to>
                                    </p:set>
                                    <p:animEffect transition="in" filter="fade">
                                      <p:cBhvr>
                                        <p:cTn id="62" dur="1000"/>
                                        <p:tgtEl>
                                          <p:spTgt spid="23"/>
                                        </p:tgtEl>
                                      </p:cBhvr>
                                    </p:animEffect>
                                  </p:childTnLst>
                                </p:cTn>
                              </p:par>
                            </p:childTnLst>
                          </p:cTn>
                        </p:par>
                        <p:par>
                          <p:cTn id="63" fill="hold">
                            <p:stCondLst>
                              <p:cond delay="9000"/>
                            </p:stCondLst>
                            <p:childTnLst>
                              <p:par>
                                <p:cTn id="64" presetID="22" presetClass="entr" presetSubtype="1" fill="hold" nodeType="afterEffect">
                                  <p:stCondLst>
                                    <p:cond delay="0"/>
                                  </p:stCondLst>
                                  <p:childTnLst>
                                    <p:set>
                                      <p:cBhvr>
                                        <p:cTn id="65" dur="1" fill="hold">
                                          <p:stCondLst>
                                            <p:cond delay="0"/>
                                          </p:stCondLst>
                                        </p:cTn>
                                        <p:tgtEl>
                                          <p:spTgt spid="31"/>
                                        </p:tgtEl>
                                        <p:attrNameLst>
                                          <p:attrName>style.visibility</p:attrName>
                                        </p:attrNameLst>
                                      </p:cBhvr>
                                      <p:to>
                                        <p:strVal val="visible"/>
                                      </p:to>
                                    </p:set>
                                    <p:animEffect transition="in" filter="wipe(up)">
                                      <p:cBhvr>
                                        <p:cTn id="66" dur="1000"/>
                                        <p:tgtEl>
                                          <p:spTgt spid="31"/>
                                        </p:tgtEl>
                                      </p:cBhvr>
                                    </p:animEffect>
                                  </p:childTnLst>
                                </p:cTn>
                              </p:par>
                            </p:childTnLst>
                          </p:cTn>
                        </p:par>
                        <p:par>
                          <p:cTn id="67" fill="hold">
                            <p:stCondLst>
                              <p:cond delay="10000"/>
                            </p:stCondLst>
                            <p:childTnLst>
                              <p:par>
                                <p:cTn id="68" presetID="25" presetClass="entr" presetSubtype="0" fill="hold" grpId="0" nodeType="afterEffect">
                                  <p:stCondLst>
                                    <p:cond delay="0"/>
                                  </p:stCondLst>
                                  <p:childTnLst>
                                    <p:set>
                                      <p:cBhvr>
                                        <p:cTn id="69" dur="1" fill="hold">
                                          <p:stCondLst>
                                            <p:cond delay="0"/>
                                          </p:stCondLst>
                                        </p:cTn>
                                        <p:tgtEl>
                                          <p:spTgt spid="27"/>
                                        </p:tgtEl>
                                        <p:attrNameLst>
                                          <p:attrName>style.visibility</p:attrName>
                                        </p:attrNameLst>
                                      </p:cBhvr>
                                      <p:to>
                                        <p:strVal val="visible"/>
                                      </p:to>
                                    </p:set>
                                    <p:anim calcmode="lin" valueType="num">
                                      <p:cBhvr>
                                        <p:cTn id="70" dur="500" decel="50000" fill="hold">
                                          <p:stCondLst>
                                            <p:cond delay="0"/>
                                          </p:stCondLst>
                                        </p:cTn>
                                        <p:tgtEl>
                                          <p:spTgt spid="27"/>
                                        </p:tgtEl>
                                        <p:attrNameLst>
                                          <p:attrName>style.rotation</p:attrName>
                                        </p:attrNameLst>
                                      </p:cBhvr>
                                      <p:tavLst>
                                        <p:tav tm="0">
                                          <p:val>
                                            <p:fltVal val="-90"/>
                                          </p:val>
                                        </p:tav>
                                        <p:tav tm="100000">
                                          <p:val>
                                            <p:fltVal val="0"/>
                                          </p:val>
                                        </p:tav>
                                      </p:tavLst>
                                    </p:anim>
                                    <p:anim calcmode="lin" valueType="num">
                                      <p:cBhvr>
                                        <p:cTn id="71" dur="500" decel="50000" fill="hold">
                                          <p:stCondLst>
                                            <p:cond delay="0"/>
                                          </p:stCondLst>
                                        </p:cTn>
                                        <p:tgtEl>
                                          <p:spTgt spid="27"/>
                                        </p:tgtEl>
                                        <p:attrNameLst>
                                          <p:attrName>ppt_w</p:attrName>
                                        </p:attrNameLst>
                                      </p:cBhvr>
                                      <p:tavLst>
                                        <p:tav tm="0">
                                          <p:val>
                                            <p:strVal val="#ppt_w"/>
                                          </p:val>
                                        </p:tav>
                                        <p:tav tm="100000">
                                          <p:val>
                                            <p:strVal val="#ppt_w*.05"/>
                                          </p:val>
                                        </p:tav>
                                      </p:tavLst>
                                    </p:anim>
                                    <p:anim calcmode="lin" valueType="num">
                                      <p:cBhvr>
                                        <p:cTn id="72" dur="500" accel="50000" fill="hold">
                                          <p:stCondLst>
                                            <p:cond delay="500"/>
                                          </p:stCondLst>
                                        </p:cTn>
                                        <p:tgtEl>
                                          <p:spTgt spid="27"/>
                                        </p:tgtEl>
                                        <p:attrNameLst>
                                          <p:attrName>ppt_w</p:attrName>
                                        </p:attrNameLst>
                                      </p:cBhvr>
                                      <p:tavLst>
                                        <p:tav tm="0">
                                          <p:val>
                                            <p:strVal val="#ppt_w*.05"/>
                                          </p:val>
                                        </p:tav>
                                        <p:tav tm="100000">
                                          <p:val>
                                            <p:strVal val="#ppt_w"/>
                                          </p:val>
                                        </p:tav>
                                      </p:tavLst>
                                    </p:anim>
                                    <p:anim calcmode="lin" valueType="num">
                                      <p:cBhvr>
                                        <p:cTn id="73" dur="1000" fill="hold"/>
                                        <p:tgtEl>
                                          <p:spTgt spid="27"/>
                                        </p:tgtEl>
                                        <p:attrNameLst>
                                          <p:attrName>ppt_h</p:attrName>
                                        </p:attrNameLst>
                                      </p:cBhvr>
                                      <p:tavLst>
                                        <p:tav tm="0">
                                          <p:val>
                                            <p:strVal val="#ppt_h"/>
                                          </p:val>
                                        </p:tav>
                                        <p:tav tm="100000">
                                          <p:val>
                                            <p:strVal val="#ppt_h"/>
                                          </p:val>
                                        </p:tav>
                                      </p:tavLst>
                                    </p:anim>
                                    <p:anim calcmode="lin" valueType="num">
                                      <p:cBhvr>
                                        <p:cTn id="74" dur="500" decel="50000" fill="hold">
                                          <p:stCondLst>
                                            <p:cond delay="0"/>
                                          </p:stCondLst>
                                        </p:cTn>
                                        <p:tgtEl>
                                          <p:spTgt spid="27"/>
                                        </p:tgtEl>
                                        <p:attrNameLst>
                                          <p:attrName>ppt_x</p:attrName>
                                        </p:attrNameLst>
                                      </p:cBhvr>
                                      <p:tavLst>
                                        <p:tav tm="0">
                                          <p:val>
                                            <p:strVal val="#ppt_x+.4"/>
                                          </p:val>
                                        </p:tav>
                                        <p:tav tm="100000">
                                          <p:val>
                                            <p:strVal val="#ppt_x"/>
                                          </p:val>
                                        </p:tav>
                                      </p:tavLst>
                                    </p:anim>
                                    <p:anim calcmode="lin" valueType="num">
                                      <p:cBhvr>
                                        <p:cTn id="75" dur="500" decel="50000" fill="hold">
                                          <p:stCondLst>
                                            <p:cond delay="0"/>
                                          </p:stCondLst>
                                        </p:cTn>
                                        <p:tgtEl>
                                          <p:spTgt spid="27"/>
                                        </p:tgtEl>
                                        <p:attrNameLst>
                                          <p:attrName>ppt_y</p:attrName>
                                        </p:attrNameLst>
                                      </p:cBhvr>
                                      <p:tavLst>
                                        <p:tav tm="0">
                                          <p:val>
                                            <p:strVal val="#ppt_y-.2"/>
                                          </p:val>
                                        </p:tav>
                                        <p:tav tm="100000">
                                          <p:val>
                                            <p:strVal val="#ppt_y+.1"/>
                                          </p:val>
                                        </p:tav>
                                      </p:tavLst>
                                    </p:anim>
                                    <p:anim calcmode="lin" valueType="num">
                                      <p:cBhvr>
                                        <p:cTn id="76" dur="500" accel="50000" fill="hold">
                                          <p:stCondLst>
                                            <p:cond delay="500"/>
                                          </p:stCondLst>
                                        </p:cTn>
                                        <p:tgtEl>
                                          <p:spTgt spid="27"/>
                                        </p:tgtEl>
                                        <p:attrNameLst>
                                          <p:attrName>ppt_y</p:attrName>
                                        </p:attrNameLst>
                                      </p:cBhvr>
                                      <p:tavLst>
                                        <p:tav tm="0">
                                          <p:val>
                                            <p:strVal val="#ppt_y+.1"/>
                                          </p:val>
                                        </p:tav>
                                        <p:tav tm="100000">
                                          <p:val>
                                            <p:strVal val="#ppt_y"/>
                                          </p:val>
                                        </p:tav>
                                      </p:tavLst>
                                    </p:anim>
                                    <p:animEffect transition="in" filter="fade">
                                      <p:cBhvr>
                                        <p:cTn id="77" dur="1000" decel="50000">
                                          <p:stCondLst>
                                            <p:cond delay="0"/>
                                          </p:stCondLst>
                                        </p:cTn>
                                        <p:tgtEl>
                                          <p:spTgt spid="27"/>
                                        </p:tgtEl>
                                      </p:cBhvr>
                                    </p:animEffect>
                                  </p:childTnLst>
                                </p:cTn>
                              </p:par>
                            </p:childTnLst>
                          </p:cTn>
                        </p:par>
                        <p:par>
                          <p:cTn id="78" fill="hold">
                            <p:stCondLst>
                              <p:cond delay="11000"/>
                            </p:stCondLst>
                            <p:childTnLst>
                              <p:par>
                                <p:cTn id="79" presetID="25" presetClass="entr" presetSubtype="0" fill="hold" grpId="0" nodeType="afterEffect">
                                  <p:stCondLst>
                                    <p:cond delay="0"/>
                                  </p:stCondLst>
                                  <p:childTnLst>
                                    <p:set>
                                      <p:cBhvr>
                                        <p:cTn id="80" dur="1" fill="hold">
                                          <p:stCondLst>
                                            <p:cond delay="0"/>
                                          </p:stCondLst>
                                        </p:cTn>
                                        <p:tgtEl>
                                          <p:spTgt spid="28"/>
                                        </p:tgtEl>
                                        <p:attrNameLst>
                                          <p:attrName>style.visibility</p:attrName>
                                        </p:attrNameLst>
                                      </p:cBhvr>
                                      <p:to>
                                        <p:strVal val="visible"/>
                                      </p:to>
                                    </p:set>
                                    <p:anim calcmode="lin" valueType="num">
                                      <p:cBhvr>
                                        <p:cTn id="81" dur="500" decel="50000" fill="hold">
                                          <p:stCondLst>
                                            <p:cond delay="0"/>
                                          </p:stCondLst>
                                        </p:cTn>
                                        <p:tgtEl>
                                          <p:spTgt spid="28"/>
                                        </p:tgtEl>
                                        <p:attrNameLst>
                                          <p:attrName>style.rotation</p:attrName>
                                        </p:attrNameLst>
                                      </p:cBhvr>
                                      <p:tavLst>
                                        <p:tav tm="0">
                                          <p:val>
                                            <p:fltVal val="-90"/>
                                          </p:val>
                                        </p:tav>
                                        <p:tav tm="100000">
                                          <p:val>
                                            <p:fltVal val="0"/>
                                          </p:val>
                                        </p:tav>
                                      </p:tavLst>
                                    </p:anim>
                                    <p:anim calcmode="lin" valueType="num">
                                      <p:cBhvr>
                                        <p:cTn id="82" dur="500" decel="50000" fill="hold">
                                          <p:stCondLst>
                                            <p:cond delay="0"/>
                                          </p:stCondLst>
                                        </p:cTn>
                                        <p:tgtEl>
                                          <p:spTgt spid="28"/>
                                        </p:tgtEl>
                                        <p:attrNameLst>
                                          <p:attrName>ppt_w</p:attrName>
                                        </p:attrNameLst>
                                      </p:cBhvr>
                                      <p:tavLst>
                                        <p:tav tm="0">
                                          <p:val>
                                            <p:strVal val="#ppt_w"/>
                                          </p:val>
                                        </p:tav>
                                        <p:tav tm="100000">
                                          <p:val>
                                            <p:strVal val="#ppt_w*.05"/>
                                          </p:val>
                                        </p:tav>
                                      </p:tavLst>
                                    </p:anim>
                                    <p:anim calcmode="lin" valueType="num">
                                      <p:cBhvr>
                                        <p:cTn id="83" dur="500" accel="50000" fill="hold">
                                          <p:stCondLst>
                                            <p:cond delay="500"/>
                                          </p:stCondLst>
                                        </p:cTn>
                                        <p:tgtEl>
                                          <p:spTgt spid="28"/>
                                        </p:tgtEl>
                                        <p:attrNameLst>
                                          <p:attrName>ppt_w</p:attrName>
                                        </p:attrNameLst>
                                      </p:cBhvr>
                                      <p:tavLst>
                                        <p:tav tm="0">
                                          <p:val>
                                            <p:strVal val="#ppt_w*.05"/>
                                          </p:val>
                                        </p:tav>
                                        <p:tav tm="100000">
                                          <p:val>
                                            <p:strVal val="#ppt_w"/>
                                          </p:val>
                                        </p:tav>
                                      </p:tavLst>
                                    </p:anim>
                                    <p:anim calcmode="lin" valueType="num">
                                      <p:cBhvr>
                                        <p:cTn id="84" dur="1000" fill="hold"/>
                                        <p:tgtEl>
                                          <p:spTgt spid="28"/>
                                        </p:tgtEl>
                                        <p:attrNameLst>
                                          <p:attrName>ppt_h</p:attrName>
                                        </p:attrNameLst>
                                      </p:cBhvr>
                                      <p:tavLst>
                                        <p:tav tm="0">
                                          <p:val>
                                            <p:strVal val="#ppt_h"/>
                                          </p:val>
                                        </p:tav>
                                        <p:tav tm="100000">
                                          <p:val>
                                            <p:strVal val="#ppt_h"/>
                                          </p:val>
                                        </p:tav>
                                      </p:tavLst>
                                    </p:anim>
                                    <p:anim calcmode="lin" valueType="num">
                                      <p:cBhvr>
                                        <p:cTn id="85" dur="500" decel="50000" fill="hold">
                                          <p:stCondLst>
                                            <p:cond delay="0"/>
                                          </p:stCondLst>
                                        </p:cTn>
                                        <p:tgtEl>
                                          <p:spTgt spid="28"/>
                                        </p:tgtEl>
                                        <p:attrNameLst>
                                          <p:attrName>ppt_x</p:attrName>
                                        </p:attrNameLst>
                                      </p:cBhvr>
                                      <p:tavLst>
                                        <p:tav tm="0">
                                          <p:val>
                                            <p:strVal val="#ppt_x+.4"/>
                                          </p:val>
                                        </p:tav>
                                        <p:tav tm="100000">
                                          <p:val>
                                            <p:strVal val="#ppt_x"/>
                                          </p:val>
                                        </p:tav>
                                      </p:tavLst>
                                    </p:anim>
                                    <p:anim calcmode="lin" valueType="num">
                                      <p:cBhvr>
                                        <p:cTn id="86" dur="500" decel="50000" fill="hold">
                                          <p:stCondLst>
                                            <p:cond delay="0"/>
                                          </p:stCondLst>
                                        </p:cTn>
                                        <p:tgtEl>
                                          <p:spTgt spid="28"/>
                                        </p:tgtEl>
                                        <p:attrNameLst>
                                          <p:attrName>ppt_y</p:attrName>
                                        </p:attrNameLst>
                                      </p:cBhvr>
                                      <p:tavLst>
                                        <p:tav tm="0">
                                          <p:val>
                                            <p:strVal val="#ppt_y-.2"/>
                                          </p:val>
                                        </p:tav>
                                        <p:tav tm="100000">
                                          <p:val>
                                            <p:strVal val="#ppt_y+.1"/>
                                          </p:val>
                                        </p:tav>
                                      </p:tavLst>
                                    </p:anim>
                                    <p:anim calcmode="lin" valueType="num">
                                      <p:cBhvr>
                                        <p:cTn id="87" dur="500" accel="50000" fill="hold">
                                          <p:stCondLst>
                                            <p:cond delay="500"/>
                                          </p:stCondLst>
                                        </p:cTn>
                                        <p:tgtEl>
                                          <p:spTgt spid="28"/>
                                        </p:tgtEl>
                                        <p:attrNameLst>
                                          <p:attrName>ppt_y</p:attrName>
                                        </p:attrNameLst>
                                      </p:cBhvr>
                                      <p:tavLst>
                                        <p:tav tm="0">
                                          <p:val>
                                            <p:strVal val="#ppt_y+.1"/>
                                          </p:val>
                                        </p:tav>
                                        <p:tav tm="100000">
                                          <p:val>
                                            <p:strVal val="#ppt_y"/>
                                          </p:val>
                                        </p:tav>
                                      </p:tavLst>
                                    </p:anim>
                                    <p:animEffect transition="in" filter="fade">
                                      <p:cBhvr>
                                        <p:cTn id="88" dur="1000" decel="50000">
                                          <p:stCondLst>
                                            <p:cond delay="0"/>
                                          </p:stCondLst>
                                        </p:cTn>
                                        <p:tgtEl>
                                          <p:spTgt spid="28"/>
                                        </p:tgtEl>
                                      </p:cBhvr>
                                    </p:animEffect>
                                  </p:childTnLst>
                                </p:cTn>
                              </p:par>
                            </p:childTnLst>
                          </p:cTn>
                        </p:par>
                        <p:par>
                          <p:cTn id="89" fill="hold">
                            <p:stCondLst>
                              <p:cond delay="12000"/>
                            </p:stCondLst>
                            <p:childTnLst>
                              <p:par>
                                <p:cTn id="90" presetID="25" presetClass="entr" presetSubtype="0" fill="hold" grpId="0" nodeType="afterEffect">
                                  <p:stCondLst>
                                    <p:cond delay="0"/>
                                  </p:stCondLst>
                                  <p:childTnLst>
                                    <p:set>
                                      <p:cBhvr>
                                        <p:cTn id="91" dur="1" fill="hold">
                                          <p:stCondLst>
                                            <p:cond delay="0"/>
                                          </p:stCondLst>
                                        </p:cTn>
                                        <p:tgtEl>
                                          <p:spTgt spid="29"/>
                                        </p:tgtEl>
                                        <p:attrNameLst>
                                          <p:attrName>style.visibility</p:attrName>
                                        </p:attrNameLst>
                                      </p:cBhvr>
                                      <p:to>
                                        <p:strVal val="visible"/>
                                      </p:to>
                                    </p:set>
                                    <p:anim calcmode="lin" valueType="num">
                                      <p:cBhvr>
                                        <p:cTn id="92" dur="500" decel="50000" fill="hold">
                                          <p:stCondLst>
                                            <p:cond delay="0"/>
                                          </p:stCondLst>
                                        </p:cTn>
                                        <p:tgtEl>
                                          <p:spTgt spid="29"/>
                                        </p:tgtEl>
                                        <p:attrNameLst>
                                          <p:attrName>style.rotation</p:attrName>
                                        </p:attrNameLst>
                                      </p:cBhvr>
                                      <p:tavLst>
                                        <p:tav tm="0">
                                          <p:val>
                                            <p:fltVal val="-90"/>
                                          </p:val>
                                        </p:tav>
                                        <p:tav tm="100000">
                                          <p:val>
                                            <p:fltVal val="0"/>
                                          </p:val>
                                        </p:tav>
                                      </p:tavLst>
                                    </p:anim>
                                    <p:anim calcmode="lin" valueType="num">
                                      <p:cBhvr>
                                        <p:cTn id="93" dur="500" decel="50000" fill="hold">
                                          <p:stCondLst>
                                            <p:cond delay="0"/>
                                          </p:stCondLst>
                                        </p:cTn>
                                        <p:tgtEl>
                                          <p:spTgt spid="29"/>
                                        </p:tgtEl>
                                        <p:attrNameLst>
                                          <p:attrName>ppt_w</p:attrName>
                                        </p:attrNameLst>
                                      </p:cBhvr>
                                      <p:tavLst>
                                        <p:tav tm="0">
                                          <p:val>
                                            <p:strVal val="#ppt_w"/>
                                          </p:val>
                                        </p:tav>
                                        <p:tav tm="100000">
                                          <p:val>
                                            <p:strVal val="#ppt_w*.05"/>
                                          </p:val>
                                        </p:tav>
                                      </p:tavLst>
                                    </p:anim>
                                    <p:anim calcmode="lin" valueType="num">
                                      <p:cBhvr>
                                        <p:cTn id="94" dur="500" accel="50000" fill="hold">
                                          <p:stCondLst>
                                            <p:cond delay="500"/>
                                          </p:stCondLst>
                                        </p:cTn>
                                        <p:tgtEl>
                                          <p:spTgt spid="29"/>
                                        </p:tgtEl>
                                        <p:attrNameLst>
                                          <p:attrName>ppt_w</p:attrName>
                                        </p:attrNameLst>
                                      </p:cBhvr>
                                      <p:tavLst>
                                        <p:tav tm="0">
                                          <p:val>
                                            <p:strVal val="#ppt_w*.05"/>
                                          </p:val>
                                        </p:tav>
                                        <p:tav tm="100000">
                                          <p:val>
                                            <p:strVal val="#ppt_w"/>
                                          </p:val>
                                        </p:tav>
                                      </p:tavLst>
                                    </p:anim>
                                    <p:anim calcmode="lin" valueType="num">
                                      <p:cBhvr>
                                        <p:cTn id="95" dur="1000" fill="hold"/>
                                        <p:tgtEl>
                                          <p:spTgt spid="29"/>
                                        </p:tgtEl>
                                        <p:attrNameLst>
                                          <p:attrName>ppt_h</p:attrName>
                                        </p:attrNameLst>
                                      </p:cBhvr>
                                      <p:tavLst>
                                        <p:tav tm="0">
                                          <p:val>
                                            <p:strVal val="#ppt_h"/>
                                          </p:val>
                                        </p:tav>
                                        <p:tav tm="100000">
                                          <p:val>
                                            <p:strVal val="#ppt_h"/>
                                          </p:val>
                                        </p:tav>
                                      </p:tavLst>
                                    </p:anim>
                                    <p:anim calcmode="lin" valueType="num">
                                      <p:cBhvr>
                                        <p:cTn id="96" dur="500" decel="50000" fill="hold">
                                          <p:stCondLst>
                                            <p:cond delay="0"/>
                                          </p:stCondLst>
                                        </p:cTn>
                                        <p:tgtEl>
                                          <p:spTgt spid="29"/>
                                        </p:tgtEl>
                                        <p:attrNameLst>
                                          <p:attrName>ppt_x</p:attrName>
                                        </p:attrNameLst>
                                      </p:cBhvr>
                                      <p:tavLst>
                                        <p:tav tm="0">
                                          <p:val>
                                            <p:strVal val="#ppt_x+.4"/>
                                          </p:val>
                                        </p:tav>
                                        <p:tav tm="100000">
                                          <p:val>
                                            <p:strVal val="#ppt_x"/>
                                          </p:val>
                                        </p:tav>
                                      </p:tavLst>
                                    </p:anim>
                                    <p:anim calcmode="lin" valueType="num">
                                      <p:cBhvr>
                                        <p:cTn id="97" dur="500" decel="50000" fill="hold">
                                          <p:stCondLst>
                                            <p:cond delay="0"/>
                                          </p:stCondLst>
                                        </p:cTn>
                                        <p:tgtEl>
                                          <p:spTgt spid="29"/>
                                        </p:tgtEl>
                                        <p:attrNameLst>
                                          <p:attrName>ppt_y</p:attrName>
                                        </p:attrNameLst>
                                      </p:cBhvr>
                                      <p:tavLst>
                                        <p:tav tm="0">
                                          <p:val>
                                            <p:strVal val="#ppt_y-.2"/>
                                          </p:val>
                                        </p:tav>
                                        <p:tav tm="100000">
                                          <p:val>
                                            <p:strVal val="#ppt_y+.1"/>
                                          </p:val>
                                        </p:tav>
                                      </p:tavLst>
                                    </p:anim>
                                    <p:anim calcmode="lin" valueType="num">
                                      <p:cBhvr>
                                        <p:cTn id="98" dur="500" accel="50000" fill="hold">
                                          <p:stCondLst>
                                            <p:cond delay="500"/>
                                          </p:stCondLst>
                                        </p:cTn>
                                        <p:tgtEl>
                                          <p:spTgt spid="29"/>
                                        </p:tgtEl>
                                        <p:attrNameLst>
                                          <p:attrName>ppt_y</p:attrName>
                                        </p:attrNameLst>
                                      </p:cBhvr>
                                      <p:tavLst>
                                        <p:tav tm="0">
                                          <p:val>
                                            <p:strVal val="#ppt_y+.1"/>
                                          </p:val>
                                        </p:tav>
                                        <p:tav tm="100000">
                                          <p:val>
                                            <p:strVal val="#ppt_y"/>
                                          </p:val>
                                        </p:tav>
                                      </p:tavLst>
                                    </p:anim>
                                    <p:animEffect transition="in" filter="fade">
                                      <p:cBhvr>
                                        <p:cTn id="99" dur="1000" decel="50000">
                                          <p:stCondLst>
                                            <p:cond delay="0"/>
                                          </p:stCondLst>
                                        </p:cTn>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23" grpId="0"/>
      <p:bldP spid="24" grpId="0" animBg="1"/>
      <p:bldP spid="25" grpId="0" animBg="1"/>
      <p:bldP spid="26" grpId="0" animBg="1"/>
      <p:bldP spid="27" grpId="0" animBg="1"/>
      <p:bldP spid="28" grpId="0" animBg="1"/>
      <p:bldP spid="29" grpId="0" animBg="1"/>
      <p:bldP spid="30"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932" name="AutoShape 10" descr="C:\Users\lenovo\AppData\Roaming\Tencent\Users\173314811\QQ\WinTemp\RichOle\*Q_3B9UU5QQY9_PU3BARG.png"/>
          <p:cNvSpPr>
            <a:spLocks noChangeAspect="1" noChangeArrowheads="1"/>
          </p:cNvSpPr>
          <p:nvPr/>
        </p:nvSpPr>
        <p:spPr bwMode="auto">
          <a:xfrm>
            <a:off x="0" y="0"/>
            <a:ext cx="304800" cy="304800"/>
          </a:xfrm>
          <a:prstGeom prst="rect">
            <a:avLst/>
          </a:prstGeom>
          <a:noFill/>
          <a:ln w="9525">
            <a:noFill/>
            <a:miter lim="800000"/>
            <a:headEnd/>
            <a:tailEnd/>
          </a:ln>
        </p:spPr>
        <p:txBody>
          <a:bodyPr lIns="91389" tIns="45694" rIns="91389" bIns="45694"/>
          <a:lstStyle/>
          <a:p>
            <a:pPr fontAlgn="base">
              <a:spcBef>
                <a:spcPct val="0"/>
              </a:spcBef>
              <a:spcAft>
                <a:spcPct val="0"/>
              </a:spcAft>
              <a:defRPr/>
            </a:pPr>
            <a:endParaRPr lang="zh-CN" altLang="en-US">
              <a:solidFill>
                <a:srgbClr val="FFFFFF"/>
              </a:solidFill>
              <a:effectLst>
                <a:outerShdw blurRad="38100" dist="38100" dir="2700000" algn="tl">
                  <a:srgbClr val="000000">
                    <a:alpha val="43137"/>
                  </a:srgbClr>
                </a:outerShdw>
              </a:effectLst>
            </a:endParaRPr>
          </a:p>
        </p:txBody>
      </p:sp>
      <p:sp>
        <p:nvSpPr>
          <p:cNvPr id="124933" name="TextBox 10"/>
          <p:cNvSpPr txBox="1">
            <a:spLocks noChangeArrowheads="1"/>
          </p:cNvSpPr>
          <p:nvPr/>
        </p:nvSpPr>
        <p:spPr bwMode="auto">
          <a:xfrm>
            <a:off x="4876800" y="1981200"/>
            <a:ext cx="2438400" cy="646113"/>
          </a:xfrm>
          <a:prstGeom prst="rect">
            <a:avLst/>
          </a:prstGeom>
          <a:noFill/>
          <a:ln w="9525">
            <a:noFill/>
            <a:miter lim="800000"/>
            <a:headEnd/>
            <a:tailEnd/>
          </a:ln>
        </p:spPr>
        <p:txBody>
          <a:bodyPr lIns="91389" tIns="45694" rIns="91389" bIns="45694">
            <a:spAutoFit/>
          </a:bodyPr>
          <a:lstStyle/>
          <a:p>
            <a:pPr fontAlgn="base">
              <a:spcBef>
                <a:spcPct val="0"/>
              </a:spcBef>
              <a:spcAft>
                <a:spcPct val="0"/>
              </a:spcAft>
              <a:defRPr/>
            </a:pPr>
            <a:endParaRPr lang="zh-CN" altLang="en-US">
              <a:solidFill>
                <a:srgbClr val="FFFFFF"/>
              </a:solidFill>
              <a:effectLst>
                <a:outerShdw blurRad="38100" dist="38100" dir="2700000" algn="tl">
                  <a:srgbClr val="000000">
                    <a:alpha val="43137"/>
                  </a:srgbClr>
                </a:outerShdw>
              </a:effectLst>
            </a:endParaRPr>
          </a:p>
          <a:p>
            <a:pPr fontAlgn="base">
              <a:spcBef>
                <a:spcPct val="0"/>
              </a:spcBef>
              <a:spcAft>
                <a:spcPct val="0"/>
              </a:spcAft>
              <a:defRPr/>
            </a:pPr>
            <a:endParaRPr lang="zh-CN" altLang="en-US">
              <a:solidFill>
                <a:srgbClr val="FFFFFF"/>
              </a:solidFill>
              <a:effectLst>
                <a:outerShdw blurRad="38100" dist="38100" dir="2700000" algn="tl">
                  <a:srgbClr val="000000">
                    <a:alpha val="43137"/>
                  </a:srgbClr>
                </a:outerShdw>
              </a:effectLst>
            </a:endParaRPr>
          </a:p>
        </p:txBody>
      </p:sp>
      <p:sp>
        <p:nvSpPr>
          <p:cNvPr id="124934" name="AutoShape 11" descr="C:\Users\lenovo\AppData\Roaming\Tencent\Users\173314811\QQ\WinTemp\RichOle\*Q_3B9UU5QQY9_PU3BARG.png"/>
          <p:cNvSpPr>
            <a:spLocks noChangeAspect="1" noChangeArrowheads="1"/>
          </p:cNvSpPr>
          <p:nvPr/>
        </p:nvSpPr>
        <p:spPr bwMode="auto">
          <a:xfrm>
            <a:off x="0" y="0"/>
            <a:ext cx="304800" cy="304800"/>
          </a:xfrm>
          <a:prstGeom prst="rect">
            <a:avLst/>
          </a:prstGeom>
          <a:noFill/>
          <a:ln w="9525">
            <a:noFill/>
            <a:miter lim="800000"/>
            <a:headEnd/>
            <a:tailEnd/>
          </a:ln>
        </p:spPr>
        <p:txBody>
          <a:bodyPr lIns="91389" tIns="45694" rIns="91389" bIns="45694"/>
          <a:lstStyle/>
          <a:p>
            <a:pPr fontAlgn="base">
              <a:spcBef>
                <a:spcPct val="0"/>
              </a:spcBef>
              <a:spcAft>
                <a:spcPct val="0"/>
              </a:spcAft>
              <a:defRPr/>
            </a:pPr>
            <a:endParaRPr lang="zh-CN" altLang="en-US">
              <a:solidFill>
                <a:srgbClr val="FFFFFF"/>
              </a:solidFill>
              <a:effectLst>
                <a:outerShdw blurRad="38100" dist="38100" dir="2700000" algn="tl">
                  <a:srgbClr val="000000">
                    <a:alpha val="43137"/>
                  </a:srgbClr>
                </a:outerShdw>
              </a:effectLst>
            </a:endParaRPr>
          </a:p>
        </p:txBody>
      </p:sp>
      <p:sp>
        <p:nvSpPr>
          <p:cNvPr id="124935" name="AutoShape 12" descr="C:\Users\lenovo\AppData\Roaming\Tencent\Users\173314811\QQ\WinTemp\RichOle\*Q_3B9UU5QQY9_PU3BARG.png"/>
          <p:cNvSpPr>
            <a:spLocks noChangeAspect="1" noChangeArrowheads="1"/>
          </p:cNvSpPr>
          <p:nvPr/>
        </p:nvSpPr>
        <p:spPr bwMode="auto">
          <a:xfrm>
            <a:off x="0" y="0"/>
            <a:ext cx="304800" cy="304800"/>
          </a:xfrm>
          <a:prstGeom prst="rect">
            <a:avLst/>
          </a:prstGeom>
          <a:noFill/>
          <a:ln w="9525">
            <a:noFill/>
            <a:miter lim="800000"/>
            <a:headEnd/>
            <a:tailEnd/>
          </a:ln>
        </p:spPr>
        <p:txBody>
          <a:bodyPr lIns="91389" tIns="45694" rIns="91389" bIns="45694"/>
          <a:lstStyle/>
          <a:p>
            <a:pPr fontAlgn="base">
              <a:spcBef>
                <a:spcPct val="0"/>
              </a:spcBef>
              <a:spcAft>
                <a:spcPct val="0"/>
              </a:spcAft>
              <a:defRPr/>
            </a:pPr>
            <a:endParaRPr lang="zh-CN" altLang="en-US">
              <a:solidFill>
                <a:srgbClr val="FFFFFF"/>
              </a:solidFill>
              <a:effectLst>
                <a:outerShdw blurRad="38100" dist="38100" dir="2700000" algn="tl">
                  <a:srgbClr val="000000">
                    <a:alpha val="43137"/>
                  </a:srgbClr>
                </a:outerShdw>
              </a:effectLst>
            </a:endParaRPr>
          </a:p>
        </p:txBody>
      </p:sp>
      <p:sp>
        <p:nvSpPr>
          <p:cNvPr id="370697" name="TextBox 14"/>
          <p:cNvSpPr txBox="1">
            <a:spLocks noChangeArrowheads="1"/>
          </p:cNvSpPr>
          <p:nvPr/>
        </p:nvSpPr>
        <p:spPr bwMode="auto">
          <a:xfrm>
            <a:off x="5076056" y="1484784"/>
            <a:ext cx="3672408" cy="3108491"/>
          </a:xfrm>
          <a:prstGeom prst="rect">
            <a:avLst/>
          </a:prstGeom>
          <a:ln w="28575">
            <a:headEnd/>
            <a:tailEnd/>
          </a:ln>
        </p:spPr>
        <p:style>
          <a:lnRef idx="2">
            <a:schemeClr val="accent5"/>
          </a:lnRef>
          <a:fillRef idx="1">
            <a:schemeClr val="lt1"/>
          </a:fillRef>
          <a:effectRef idx="0">
            <a:schemeClr val="accent5"/>
          </a:effectRef>
          <a:fontRef idx="minor">
            <a:schemeClr val="dk1"/>
          </a:fontRef>
        </p:style>
        <p:txBody>
          <a:bodyPr wrap="square" lIns="91389" tIns="45694" rIns="91389" bIns="45694">
            <a:spAutoFit/>
          </a:bodyPr>
          <a:lstStyle/>
          <a:p>
            <a:pPr fontAlgn="base">
              <a:spcBef>
                <a:spcPct val="0"/>
              </a:spcBef>
              <a:spcAft>
                <a:spcPct val="0"/>
              </a:spcAft>
            </a:pPr>
            <a:r>
              <a:rPr lang="zh-CN" altLang="en-US" sz="2800" b="1" dirty="0" smtClean="0">
                <a:solidFill>
                  <a:srgbClr val="FF0000"/>
                </a:solidFill>
                <a:latin typeface="黑体" pitchFamily="49" charset="-122"/>
                <a:ea typeface="黑体" pitchFamily="49" charset="-122"/>
              </a:rPr>
              <a:t>启示：</a:t>
            </a:r>
            <a:r>
              <a:rPr lang="zh-CN" altLang="en-US" sz="2800" b="1" dirty="0" smtClean="0">
                <a:solidFill>
                  <a:srgbClr val="002060"/>
                </a:solidFill>
                <a:latin typeface="黑体" pitchFamily="49" charset="-122"/>
                <a:ea typeface="黑体" pitchFamily="49" charset="-122"/>
              </a:rPr>
              <a:t>并非只有“消灭”对手，才是促进自身发展的唯一途径。在有些情况下，接受对手的存在并善待竞争对手，也同样能够促进自身的发展。</a:t>
            </a:r>
          </a:p>
        </p:txBody>
      </p:sp>
      <p:sp>
        <p:nvSpPr>
          <p:cNvPr id="9" name="TextBox 8"/>
          <p:cNvSpPr txBox="1"/>
          <p:nvPr/>
        </p:nvSpPr>
        <p:spPr>
          <a:xfrm>
            <a:off x="755576" y="260648"/>
            <a:ext cx="4000528" cy="584775"/>
          </a:xfrm>
          <a:prstGeom prst="rect">
            <a:avLst/>
          </a:prstGeom>
          <a:noFill/>
        </p:spPr>
        <p:txBody>
          <a:bodyPr wrap="square" rtlCol="0">
            <a:spAutoFit/>
          </a:bodyPr>
          <a:lstStyle/>
          <a:p>
            <a:r>
              <a:rPr lang="zh-CN" altLang="en-US" sz="3200" b="1" dirty="0" smtClean="0">
                <a:solidFill>
                  <a:srgbClr val="FF0000"/>
                </a:solidFill>
              </a:rPr>
              <a:t>“未必要打倒敌人”</a:t>
            </a:r>
            <a:endParaRPr lang="zh-CN" altLang="en-US" sz="3200" b="1" dirty="0">
              <a:solidFill>
                <a:srgbClr val="FF0000"/>
              </a:solidFill>
            </a:endParaRPr>
          </a:p>
        </p:txBody>
      </p:sp>
      <p:pic>
        <p:nvPicPr>
          <p:cNvPr id="9218" name="Picture 2" descr="http://365jia.cn/uploads/news/folder_1452401/images/73c428dcb1479b5e73e63c6e7f250f03.jpg">
            <a:hlinkClick r:id="" action="ppaction://noaction"/>
          </p:cNvPr>
          <p:cNvPicPr>
            <a:picLocks noChangeAspect="1" noChangeArrowheads="1"/>
          </p:cNvPicPr>
          <p:nvPr/>
        </p:nvPicPr>
        <p:blipFill>
          <a:blip r:embed="rId3" cstate="print"/>
          <a:srcRect l="8247" t="3780" r="7907" b="9281"/>
          <a:stretch>
            <a:fillRect/>
          </a:stretch>
        </p:blipFill>
        <p:spPr bwMode="auto">
          <a:xfrm>
            <a:off x="467544" y="908720"/>
            <a:ext cx="4392488" cy="3168352"/>
          </a:xfrm>
          <a:prstGeom prst="rect">
            <a:avLst/>
          </a:prstGeom>
          <a:noFill/>
        </p:spPr>
      </p:pic>
      <p:pic>
        <p:nvPicPr>
          <p:cNvPr id="10" name="可口可乐VS百事可乐：40秒带你看懂碳酸饮料两巨头的百年商标之争.mp4">
            <a:hlinkClick r:id="" action="ppaction://media"/>
          </p:cNvPr>
          <p:cNvPicPr>
            <a:picLocks noRot="1" noChangeAspect="1"/>
          </p:cNvPicPr>
          <p:nvPr>
            <a:videoFile r:link="rId1"/>
          </p:nvPr>
        </p:nvPicPr>
        <p:blipFill>
          <a:blip r:embed="rId4" cstate="print"/>
          <a:stretch>
            <a:fillRect/>
          </a:stretch>
        </p:blipFill>
        <p:spPr>
          <a:xfrm>
            <a:off x="683568" y="4077072"/>
            <a:ext cx="4248472" cy="2286000"/>
          </a:xfrm>
          <a:prstGeom prst="rect">
            <a:avLst/>
          </a:prstGeom>
        </p:spPr>
      </p:pic>
    </p:spTree>
  </p:cSld>
  <p:clrMapOvr>
    <a:masterClrMapping/>
  </p:clrMapOvr>
  <p:transition advTm="44960"/>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10"/>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20000">
                <p:cTn id="7" fill="remove" display="0">
                  <p:stCondLst>
                    <p:cond delay="indefinite"/>
                  </p:stCondLst>
                  <p:endCondLst>
                    <p:cond evt="onNext" delay="0">
                      <p:tgtEl>
                        <p:sldTgt/>
                      </p:tgtEl>
                    </p:cond>
                    <p:cond evt="onPrev" delay="0">
                      <p:tgtEl>
                        <p:sldTgt/>
                      </p:tgtEl>
                    </p:cond>
                  </p:endCondLst>
                </p:cTn>
                <p:tgtEl>
                  <p:spTgt spid="10"/>
                </p:tgtEl>
              </p:cMediaNode>
            </p:video>
            <p:seq concurrent="1" nextAc="seek">
              <p:cTn id="8" restart="whenNotActive" fill="hold" evtFilter="cancelBubble" nodeType="interactiveSeq">
                <p:stCondLst>
                  <p:cond evt="onClick" delay="0">
                    <p:tgtEl>
                      <p:spTgt spid="10"/>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10"/>
                                        </p:tgtEl>
                                      </p:cBhvr>
                                    </p:cmd>
                                  </p:childTnLst>
                                </p:cTn>
                              </p:par>
                            </p:childTnLst>
                          </p:cTn>
                        </p:par>
                      </p:childTnLst>
                    </p:cTn>
                  </p:par>
                </p:childTnLst>
              </p:cTn>
              <p:nextCondLst>
                <p:cond evt="onClick" delay="0">
                  <p:tgtEl>
                    <p:spTgt spid="10"/>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bg>
      <p:bgPr>
        <a:solidFill>
          <a:schemeClr val="bg1">
            <a:alpha val="58038"/>
          </a:schemeClr>
        </a:solidFill>
        <a:effectLst/>
      </p:bgPr>
    </p:bg>
    <p:spTree>
      <p:nvGrpSpPr>
        <p:cNvPr id="1" name=""/>
        <p:cNvGrpSpPr/>
        <p:nvPr/>
      </p:nvGrpSpPr>
      <p:grpSpPr>
        <a:xfrm>
          <a:off x="0" y="0"/>
          <a:ext cx="0" cy="0"/>
          <a:chOff x="0" y="0"/>
          <a:chExt cx="0" cy="0"/>
        </a:xfrm>
      </p:grpSpPr>
      <p:sp>
        <p:nvSpPr>
          <p:cNvPr id="18" name="标题 17"/>
          <p:cNvSpPr>
            <a:spLocks noGrp="1"/>
          </p:cNvSpPr>
          <p:nvPr>
            <p:ph type="title"/>
          </p:nvPr>
        </p:nvSpPr>
        <p:spPr/>
        <p:txBody>
          <a:bodyPr>
            <a:noAutofit/>
          </a:bodyPr>
          <a:lstStyle/>
          <a:p>
            <a:pPr>
              <a:defRPr/>
            </a:pPr>
            <a:r>
              <a:rPr lang="zh-CN" altLang="en-US" sz="4000" kern="100" dirty="0" smtClean="0">
                <a:solidFill>
                  <a:srgbClr val="FFFF00"/>
                </a:solidFill>
                <a:effectLst/>
                <a:cs typeface="+mn-cs"/>
              </a:rPr>
              <a:t>正确认识竞争</a:t>
            </a:r>
          </a:p>
        </p:txBody>
      </p:sp>
      <p:sp>
        <p:nvSpPr>
          <p:cNvPr id="19" name="内容占位符 18"/>
          <p:cNvSpPr>
            <a:spLocks noGrp="1"/>
          </p:cNvSpPr>
          <p:nvPr>
            <p:ph sz="quarter" idx="10"/>
          </p:nvPr>
        </p:nvSpPr>
        <p:spPr/>
        <p:txBody>
          <a:bodyPr>
            <a:normAutofit fontScale="85000" lnSpcReduction="20000"/>
          </a:bodyPr>
          <a:lstStyle/>
          <a:p>
            <a:pPr>
              <a:defRPr/>
            </a:pPr>
            <a:r>
              <a:rPr lang="en-US" altLang="zh-CN" dirty="0" smtClean="0"/>
              <a:t>1</a:t>
            </a:r>
          </a:p>
          <a:p>
            <a:pPr>
              <a:defRPr/>
            </a:pPr>
            <a:endParaRPr lang="zh-CN" altLang="en-US" dirty="0"/>
          </a:p>
        </p:txBody>
      </p:sp>
      <p:sp>
        <p:nvSpPr>
          <p:cNvPr id="20" name="标题 2"/>
          <p:cNvSpPr txBox="1">
            <a:spLocks/>
          </p:cNvSpPr>
          <p:nvPr/>
        </p:nvSpPr>
        <p:spPr bwMode="auto">
          <a:xfrm>
            <a:off x="1187624" y="908720"/>
            <a:ext cx="7262813" cy="525463"/>
          </a:xfrm>
          <a:prstGeom prst="rect">
            <a:avLst/>
          </a:prstGeom>
          <a:noFill/>
          <a:ln w="9525">
            <a:noFill/>
            <a:miter lim="800000"/>
            <a:headEnd/>
            <a:tailEnd/>
          </a:ln>
        </p:spPr>
        <p:txBody>
          <a:bodyPr lIns="91389" tIns="45694" rIns="91389" bIns="45694" anchor="ctr"/>
          <a:lstStyle/>
          <a:p>
            <a:pPr eaLnBrk="0" fontAlgn="base" hangingPunct="0">
              <a:spcBef>
                <a:spcPct val="0"/>
              </a:spcBef>
              <a:spcAft>
                <a:spcPct val="0"/>
              </a:spcAft>
              <a:defRPr/>
            </a:pPr>
            <a:endParaRPr lang="zh-CN" altLang="en-US" sz="3600" b="1" dirty="0">
              <a:solidFill>
                <a:prstClr val="black"/>
              </a:solidFill>
              <a:effectLst>
                <a:outerShdw blurRad="38100" dist="38100" dir="2700000" algn="tl">
                  <a:srgbClr val="000000">
                    <a:alpha val="43137"/>
                  </a:srgbClr>
                </a:outerShdw>
              </a:effectLst>
              <a:latin typeface="黑体" panose="02010609060101010101" pitchFamily="49" charset="-122"/>
              <a:ea typeface="黑体" panose="02010609060101010101" pitchFamily="49" charset="-122"/>
            </a:endParaRPr>
          </a:p>
        </p:txBody>
      </p:sp>
      <p:sp>
        <p:nvSpPr>
          <p:cNvPr id="21" name="内容占位符 3"/>
          <p:cNvSpPr txBox="1">
            <a:spLocks/>
          </p:cNvSpPr>
          <p:nvPr/>
        </p:nvSpPr>
        <p:spPr bwMode="auto">
          <a:xfrm>
            <a:off x="361950" y="114300"/>
            <a:ext cx="544513" cy="525463"/>
          </a:xfrm>
          <a:prstGeom prst="rect">
            <a:avLst/>
          </a:prstGeom>
          <a:noFill/>
          <a:ln w="9525">
            <a:noFill/>
            <a:miter lim="800000"/>
            <a:headEnd/>
            <a:tailEnd/>
          </a:ln>
        </p:spPr>
        <p:txBody>
          <a:bodyPr lIns="91389" tIns="45694" rIns="91389" bIns="45694"/>
          <a:lstStyle/>
          <a:p>
            <a:pPr algn="ctr" eaLnBrk="0" fontAlgn="base" hangingPunct="0">
              <a:spcBef>
                <a:spcPct val="20000"/>
              </a:spcBef>
              <a:spcAft>
                <a:spcPct val="0"/>
              </a:spcAft>
              <a:defRPr/>
            </a:pPr>
            <a:endParaRPr lang="zh-CN" altLang="en-US" sz="3600" b="1" dirty="0">
              <a:solidFill>
                <a:prstClr val="white"/>
              </a:solidFill>
              <a:effectLst>
                <a:outerShdw blurRad="38100" dist="38100" dir="2700000" algn="tl">
                  <a:srgbClr val="000000">
                    <a:alpha val="43137"/>
                  </a:srgbClr>
                </a:outerShdw>
              </a:effectLst>
              <a:latin typeface="黑体" panose="02010609060101010101" pitchFamily="49" charset="-122"/>
              <a:ea typeface="黑体" panose="02010609060101010101" pitchFamily="49" charset="-122"/>
            </a:endParaRPr>
          </a:p>
        </p:txBody>
      </p:sp>
      <p:sp>
        <p:nvSpPr>
          <p:cNvPr id="122910" name="AutoShape 16" descr="http://img2.imgtn.bdimg.com/it/u=2560174535,624115299&amp;fm=21&amp;gp=0.jpg"/>
          <p:cNvSpPr>
            <a:spLocks noChangeAspect="1" noChangeArrowheads="1"/>
          </p:cNvSpPr>
          <p:nvPr/>
        </p:nvSpPr>
        <p:spPr bwMode="auto">
          <a:xfrm>
            <a:off x="63500" y="-144463"/>
            <a:ext cx="304800" cy="304801"/>
          </a:xfrm>
          <a:prstGeom prst="rect">
            <a:avLst/>
          </a:prstGeom>
          <a:noFill/>
          <a:ln w="9525">
            <a:noFill/>
            <a:miter lim="800000"/>
            <a:headEnd/>
            <a:tailEnd/>
          </a:ln>
        </p:spPr>
        <p:txBody>
          <a:bodyPr lIns="91389" tIns="45694" rIns="91389" bIns="45694"/>
          <a:lstStyle/>
          <a:p>
            <a:pPr fontAlgn="base">
              <a:spcBef>
                <a:spcPct val="0"/>
              </a:spcBef>
              <a:spcAft>
                <a:spcPct val="0"/>
              </a:spcAft>
              <a:defRPr/>
            </a:pPr>
            <a:endParaRPr lang="zh-CN" altLang="en-US">
              <a:solidFill>
                <a:prstClr val="black"/>
              </a:solidFill>
              <a:effectLst>
                <a:outerShdw blurRad="38100" dist="38100" dir="2700000" algn="tl">
                  <a:srgbClr val="000000">
                    <a:alpha val="43137"/>
                  </a:srgbClr>
                </a:outerShdw>
              </a:effectLst>
              <a:latin typeface="Times New Roman" pitchFamily="18" charset="0"/>
            </a:endParaRPr>
          </a:p>
        </p:txBody>
      </p:sp>
      <p:sp>
        <p:nvSpPr>
          <p:cNvPr id="27" name="矩形 26"/>
          <p:cNvSpPr/>
          <p:nvPr/>
        </p:nvSpPr>
        <p:spPr>
          <a:xfrm>
            <a:off x="755576" y="1820416"/>
            <a:ext cx="5616624" cy="400057"/>
          </a:xfrm>
          <a:prstGeom prst="rect">
            <a:avLst/>
          </a:prstGeom>
          <a:noFill/>
          <a:effectLst>
            <a:outerShdw blurRad="50800" dist="38100" dir="13500000" algn="b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wrap="square" lIns="91389" tIns="45694" rIns="91389" bIns="45694">
            <a:spAutoFit/>
          </a:bodyPr>
          <a:lstStyle/>
          <a:p>
            <a:pPr algn="ctr" fontAlgn="base">
              <a:spcBef>
                <a:spcPct val="0"/>
              </a:spcBef>
              <a:spcAft>
                <a:spcPct val="0"/>
              </a:spcAft>
              <a:defRPr/>
            </a:pPr>
            <a:r>
              <a:rPr lang="zh-CN" altLang="en-US" sz="2000" b="1" dirty="0" smtClean="0">
                <a:solidFill>
                  <a:srgbClr val="C00000"/>
                </a:solidFill>
                <a:latin typeface="黑体" pitchFamily="49" charset="-122"/>
                <a:ea typeface="黑体" pitchFamily="49" charset="-122"/>
              </a:rPr>
              <a:t>竞争前</a:t>
            </a:r>
            <a:r>
              <a:rPr lang="en-US" altLang="zh-CN" sz="2000" b="1" dirty="0" smtClean="0">
                <a:solidFill>
                  <a:srgbClr val="C00000"/>
                </a:solidFill>
                <a:latin typeface="黑体" pitchFamily="49" charset="-122"/>
                <a:ea typeface="黑体" pitchFamily="49" charset="-122"/>
              </a:rPr>
              <a:t>——</a:t>
            </a:r>
            <a:r>
              <a:rPr lang="zh-CN" altLang="en-US" sz="2000" b="1" dirty="0" smtClean="0">
                <a:solidFill>
                  <a:srgbClr val="C00000"/>
                </a:solidFill>
                <a:latin typeface="黑体" pitchFamily="49" charset="-122"/>
                <a:ea typeface="黑体" pitchFamily="49" charset="-122"/>
              </a:rPr>
              <a:t>克服自卑感（逃避竞争），敢于竞争。</a:t>
            </a:r>
            <a:endParaRPr lang="zh-CN" altLang="en-US" sz="2000" b="1" dirty="0">
              <a:solidFill>
                <a:srgbClr val="C00000"/>
              </a:solidFill>
              <a:latin typeface="黑体" pitchFamily="49" charset="-122"/>
              <a:ea typeface="黑体" pitchFamily="49" charset="-122"/>
            </a:endParaRPr>
          </a:p>
        </p:txBody>
      </p:sp>
      <p:sp>
        <p:nvSpPr>
          <p:cNvPr id="28" name="矩形 27"/>
          <p:cNvSpPr/>
          <p:nvPr/>
        </p:nvSpPr>
        <p:spPr>
          <a:xfrm>
            <a:off x="755576" y="2708920"/>
            <a:ext cx="5328592" cy="707834"/>
          </a:xfrm>
          <a:prstGeom prst="rect">
            <a:avLst/>
          </a:prstGeom>
          <a:noFill/>
          <a:effectLst>
            <a:outerShdw blurRad="50800" dist="38100" dir="13500000" algn="b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wrap="square" lIns="91389" tIns="45694" rIns="91389" bIns="45694">
            <a:spAutoFit/>
          </a:bodyPr>
          <a:lstStyle/>
          <a:p>
            <a:pPr algn="ctr" fontAlgn="base">
              <a:spcBef>
                <a:spcPct val="0"/>
              </a:spcBef>
              <a:spcAft>
                <a:spcPct val="0"/>
              </a:spcAft>
              <a:defRPr/>
            </a:pPr>
            <a:r>
              <a:rPr lang="zh-CN" altLang="en-US" sz="2000" b="1" dirty="0" smtClean="0">
                <a:solidFill>
                  <a:srgbClr val="C00000"/>
                </a:solidFill>
                <a:latin typeface="黑体" pitchFamily="49" charset="-122"/>
                <a:ea typeface="黑体" pitchFamily="49" charset="-122"/>
              </a:rPr>
              <a:t>竞争中</a:t>
            </a:r>
            <a:r>
              <a:rPr lang="en-US" altLang="zh-CN" sz="2000" b="1" dirty="0" smtClean="0">
                <a:solidFill>
                  <a:srgbClr val="C00000"/>
                </a:solidFill>
                <a:latin typeface="黑体" pitchFamily="49" charset="-122"/>
                <a:ea typeface="黑体" pitchFamily="49" charset="-122"/>
              </a:rPr>
              <a:t>——</a:t>
            </a:r>
            <a:r>
              <a:rPr lang="zh-CN" altLang="en-US" sz="2000" b="1" dirty="0" smtClean="0">
                <a:solidFill>
                  <a:srgbClr val="C00000"/>
                </a:solidFill>
                <a:latin typeface="黑体" pitchFamily="49" charset="-122"/>
                <a:ea typeface="黑体" pitchFamily="49" charset="-122"/>
              </a:rPr>
              <a:t>克服挫折感、嫉妒心理，避免搞不      正当竞争，正视竞争。</a:t>
            </a:r>
            <a:endParaRPr lang="zh-CN" altLang="en-US" sz="2000" b="1" dirty="0">
              <a:solidFill>
                <a:srgbClr val="C00000"/>
              </a:solidFill>
              <a:latin typeface="黑体" pitchFamily="49" charset="-122"/>
              <a:ea typeface="黑体" pitchFamily="49" charset="-122"/>
            </a:endParaRPr>
          </a:p>
        </p:txBody>
      </p:sp>
      <p:sp>
        <p:nvSpPr>
          <p:cNvPr id="29" name="矩形 28"/>
          <p:cNvSpPr/>
          <p:nvPr/>
        </p:nvSpPr>
        <p:spPr>
          <a:xfrm>
            <a:off x="827584" y="3789040"/>
            <a:ext cx="5400600" cy="400057"/>
          </a:xfrm>
          <a:prstGeom prst="rect">
            <a:avLst/>
          </a:prstGeom>
          <a:noFill/>
          <a:effectLst>
            <a:outerShdw blurRad="50800" dist="38100" dir="13500000" algn="b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wrap="square" lIns="91389" tIns="45694" rIns="91389" bIns="45694">
            <a:spAutoFit/>
          </a:bodyPr>
          <a:lstStyle/>
          <a:p>
            <a:pPr algn="ctr" fontAlgn="base">
              <a:spcBef>
                <a:spcPct val="0"/>
              </a:spcBef>
              <a:spcAft>
                <a:spcPct val="0"/>
              </a:spcAft>
              <a:defRPr/>
            </a:pPr>
            <a:r>
              <a:rPr lang="zh-CN" altLang="en-US" sz="2000" b="1" dirty="0" smtClean="0">
                <a:solidFill>
                  <a:srgbClr val="C00000"/>
                </a:solidFill>
                <a:latin typeface="黑体" pitchFamily="49" charset="-122"/>
                <a:ea typeface="黑体" pitchFamily="49" charset="-122"/>
              </a:rPr>
              <a:t>竞争后</a:t>
            </a:r>
            <a:r>
              <a:rPr lang="en-US" altLang="zh-CN" sz="2000" b="1" dirty="0" smtClean="0">
                <a:solidFill>
                  <a:srgbClr val="C00000"/>
                </a:solidFill>
                <a:latin typeface="黑体" pitchFamily="49" charset="-122"/>
                <a:ea typeface="黑体" pitchFamily="49" charset="-122"/>
              </a:rPr>
              <a:t>——</a:t>
            </a:r>
            <a:r>
              <a:rPr lang="zh-CN" altLang="en-US" sz="2000" b="1" dirty="0" smtClean="0">
                <a:solidFill>
                  <a:srgbClr val="C00000"/>
                </a:solidFill>
                <a:latin typeface="黑体" pitchFamily="49" charset="-122"/>
                <a:ea typeface="黑体" pitchFamily="49" charset="-122"/>
              </a:rPr>
              <a:t>克服气馁、气盛、气滞、善于竞争。</a:t>
            </a:r>
            <a:endParaRPr lang="zh-CN" altLang="en-US" sz="2000" b="1" dirty="0">
              <a:solidFill>
                <a:srgbClr val="C00000"/>
              </a:solidFill>
              <a:latin typeface="黑体" pitchFamily="49" charset="-122"/>
              <a:ea typeface="黑体" pitchFamily="49" charset="-122"/>
            </a:endParaRPr>
          </a:p>
        </p:txBody>
      </p:sp>
      <p:sp>
        <p:nvSpPr>
          <p:cNvPr id="39938" name="AutoShape 2" descr="https://timgsa.baidu.com/timg?image&amp;quality=80&amp;size=b9999_10000&amp;sec=1508684671206&amp;di=bd5aa58cd4fccbc9f373f5dbd7f3a00b&amp;imgtype=0&amp;src=http%3A%2F%2Fpic65.nipic.com%2Ffile%2F20150504%2F19004393_111116794000_2.jpg"/>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zh-CN" altLang="en-US">
              <a:solidFill>
                <a:srgbClr val="5F5F5F"/>
              </a:solidFill>
            </a:endParaRPr>
          </a:p>
        </p:txBody>
      </p:sp>
      <p:pic>
        <p:nvPicPr>
          <p:cNvPr id="39940" name="Picture 4" descr="http://pic65.nipic.com/file/20150504/19004393_111116794000_2.jpg"/>
          <p:cNvPicPr>
            <a:picLocks noChangeAspect="1" noChangeArrowheads="1"/>
          </p:cNvPicPr>
          <p:nvPr/>
        </p:nvPicPr>
        <p:blipFill>
          <a:blip r:embed="rId2" cstate="print"/>
          <a:srcRect r="3378" b="4478"/>
          <a:stretch>
            <a:fillRect/>
          </a:stretch>
        </p:blipFill>
        <p:spPr bwMode="auto">
          <a:xfrm>
            <a:off x="6444208" y="1268760"/>
            <a:ext cx="2448272" cy="4608512"/>
          </a:xfrm>
          <a:prstGeom prst="rect">
            <a:avLst/>
          </a:prstGeom>
          <a:ln>
            <a:noFill/>
          </a:ln>
          <a:effectLst>
            <a:softEdge rad="112500"/>
          </a:effectLst>
        </p:spPr>
      </p:pic>
      <p:pic>
        <p:nvPicPr>
          <p:cNvPr id="12" name="Picture 23" descr="http://p1.so.qhmsg.com/bdr/_240_/t016dfc3fbf4f21e296.jpg"/>
          <p:cNvPicPr>
            <a:picLocks noChangeAspect="1" noChangeArrowheads="1"/>
          </p:cNvPicPr>
          <p:nvPr/>
        </p:nvPicPr>
        <p:blipFill>
          <a:blip r:embed="rId3" cstate="print"/>
          <a:srcRect/>
          <a:stretch>
            <a:fillRect/>
          </a:stretch>
        </p:blipFill>
        <p:spPr bwMode="auto">
          <a:xfrm>
            <a:off x="1643042" y="4429132"/>
            <a:ext cx="2895600" cy="1981200"/>
          </a:xfrm>
          <a:prstGeom prst="rect">
            <a:avLst/>
          </a:prstGeom>
          <a:ln w="88900" cap="sq" cmpd="thickThin">
            <a:solidFill>
              <a:srgbClr val="000000"/>
            </a:solidFill>
            <a:prstDash val="solid"/>
            <a:miter lim="800000"/>
          </a:ln>
          <a:effectLst>
            <a:innerShdw blurRad="76200">
              <a:srgbClr val="000000"/>
            </a:innerShdw>
          </a:effectLst>
        </p:spPr>
      </p:pic>
    </p:spTree>
  </p:cSld>
  <p:clrMapOvr>
    <a:masterClrMapping/>
  </p:clrMapOvr>
  <p:transition advTm="15226"/>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5" presetClass="entr" presetSubtype="0" fill="hold" grpId="0" nodeType="afterEffect">
                                  <p:stCondLst>
                                    <p:cond delay="0"/>
                                  </p:stCondLst>
                                  <p:childTnLst>
                                    <p:set>
                                      <p:cBhvr>
                                        <p:cTn id="6" dur="1" fill="hold">
                                          <p:stCondLst>
                                            <p:cond delay="0"/>
                                          </p:stCondLst>
                                        </p:cTn>
                                        <p:tgtEl>
                                          <p:spTgt spid="27"/>
                                        </p:tgtEl>
                                        <p:attrNameLst>
                                          <p:attrName>style.visibility</p:attrName>
                                        </p:attrNameLst>
                                      </p:cBhvr>
                                      <p:to>
                                        <p:strVal val="visible"/>
                                      </p:to>
                                    </p:set>
                                    <p:anim calcmode="lin" valueType="num">
                                      <p:cBhvr>
                                        <p:cTn id="7" dur="500" decel="50000" fill="hold">
                                          <p:stCondLst>
                                            <p:cond delay="0"/>
                                          </p:stCondLst>
                                        </p:cTn>
                                        <p:tgtEl>
                                          <p:spTgt spid="27"/>
                                        </p:tgtEl>
                                        <p:attrNameLst>
                                          <p:attrName>style.rotation</p:attrName>
                                        </p:attrNameLst>
                                      </p:cBhvr>
                                      <p:tavLst>
                                        <p:tav tm="0">
                                          <p:val>
                                            <p:fltVal val="-90"/>
                                          </p:val>
                                        </p:tav>
                                        <p:tav tm="100000">
                                          <p:val>
                                            <p:fltVal val="0"/>
                                          </p:val>
                                        </p:tav>
                                      </p:tavLst>
                                    </p:anim>
                                    <p:anim calcmode="lin" valueType="num">
                                      <p:cBhvr>
                                        <p:cTn id="8" dur="500" decel="50000" fill="hold">
                                          <p:stCondLst>
                                            <p:cond delay="0"/>
                                          </p:stCondLst>
                                        </p:cTn>
                                        <p:tgtEl>
                                          <p:spTgt spid="27"/>
                                        </p:tgtEl>
                                        <p:attrNameLst>
                                          <p:attrName>ppt_w</p:attrName>
                                        </p:attrNameLst>
                                      </p:cBhvr>
                                      <p:tavLst>
                                        <p:tav tm="0">
                                          <p:val>
                                            <p:strVal val="#ppt_w"/>
                                          </p:val>
                                        </p:tav>
                                        <p:tav tm="100000">
                                          <p:val>
                                            <p:strVal val="#ppt_w*.05"/>
                                          </p:val>
                                        </p:tav>
                                      </p:tavLst>
                                    </p:anim>
                                    <p:anim calcmode="lin" valueType="num">
                                      <p:cBhvr>
                                        <p:cTn id="9" dur="500" accel="50000" fill="hold">
                                          <p:stCondLst>
                                            <p:cond delay="500"/>
                                          </p:stCondLst>
                                        </p:cTn>
                                        <p:tgtEl>
                                          <p:spTgt spid="27"/>
                                        </p:tgtEl>
                                        <p:attrNameLst>
                                          <p:attrName>ppt_w</p:attrName>
                                        </p:attrNameLst>
                                      </p:cBhvr>
                                      <p:tavLst>
                                        <p:tav tm="0">
                                          <p:val>
                                            <p:strVal val="#ppt_w*.05"/>
                                          </p:val>
                                        </p:tav>
                                        <p:tav tm="100000">
                                          <p:val>
                                            <p:strVal val="#ppt_w"/>
                                          </p:val>
                                        </p:tav>
                                      </p:tavLst>
                                    </p:anim>
                                    <p:anim calcmode="lin" valueType="num">
                                      <p:cBhvr>
                                        <p:cTn id="10" dur="1000" fill="hold"/>
                                        <p:tgtEl>
                                          <p:spTgt spid="27"/>
                                        </p:tgtEl>
                                        <p:attrNameLst>
                                          <p:attrName>ppt_h</p:attrName>
                                        </p:attrNameLst>
                                      </p:cBhvr>
                                      <p:tavLst>
                                        <p:tav tm="0">
                                          <p:val>
                                            <p:strVal val="#ppt_h"/>
                                          </p:val>
                                        </p:tav>
                                        <p:tav tm="100000">
                                          <p:val>
                                            <p:strVal val="#ppt_h"/>
                                          </p:val>
                                        </p:tav>
                                      </p:tavLst>
                                    </p:anim>
                                    <p:anim calcmode="lin" valueType="num">
                                      <p:cBhvr>
                                        <p:cTn id="11" dur="500" decel="50000" fill="hold">
                                          <p:stCondLst>
                                            <p:cond delay="0"/>
                                          </p:stCondLst>
                                        </p:cTn>
                                        <p:tgtEl>
                                          <p:spTgt spid="27"/>
                                        </p:tgtEl>
                                        <p:attrNameLst>
                                          <p:attrName>ppt_x</p:attrName>
                                        </p:attrNameLst>
                                      </p:cBhvr>
                                      <p:tavLst>
                                        <p:tav tm="0">
                                          <p:val>
                                            <p:strVal val="#ppt_x+.4"/>
                                          </p:val>
                                        </p:tav>
                                        <p:tav tm="100000">
                                          <p:val>
                                            <p:strVal val="#ppt_x"/>
                                          </p:val>
                                        </p:tav>
                                      </p:tavLst>
                                    </p:anim>
                                    <p:anim calcmode="lin" valueType="num">
                                      <p:cBhvr>
                                        <p:cTn id="12" dur="500" decel="50000" fill="hold">
                                          <p:stCondLst>
                                            <p:cond delay="0"/>
                                          </p:stCondLst>
                                        </p:cTn>
                                        <p:tgtEl>
                                          <p:spTgt spid="27"/>
                                        </p:tgtEl>
                                        <p:attrNameLst>
                                          <p:attrName>ppt_y</p:attrName>
                                        </p:attrNameLst>
                                      </p:cBhvr>
                                      <p:tavLst>
                                        <p:tav tm="0">
                                          <p:val>
                                            <p:strVal val="#ppt_y-.2"/>
                                          </p:val>
                                        </p:tav>
                                        <p:tav tm="100000">
                                          <p:val>
                                            <p:strVal val="#ppt_y+.1"/>
                                          </p:val>
                                        </p:tav>
                                      </p:tavLst>
                                    </p:anim>
                                    <p:anim calcmode="lin" valueType="num">
                                      <p:cBhvr>
                                        <p:cTn id="13" dur="500" accel="50000" fill="hold">
                                          <p:stCondLst>
                                            <p:cond delay="500"/>
                                          </p:stCondLst>
                                        </p:cTn>
                                        <p:tgtEl>
                                          <p:spTgt spid="27"/>
                                        </p:tgtEl>
                                        <p:attrNameLst>
                                          <p:attrName>ppt_y</p:attrName>
                                        </p:attrNameLst>
                                      </p:cBhvr>
                                      <p:tavLst>
                                        <p:tav tm="0">
                                          <p:val>
                                            <p:strVal val="#ppt_y+.1"/>
                                          </p:val>
                                        </p:tav>
                                        <p:tav tm="100000">
                                          <p:val>
                                            <p:strVal val="#ppt_y"/>
                                          </p:val>
                                        </p:tav>
                                      </p:tavLst>
                                    </p:anim>
                                    <p:animEffect transition="in" filter="fade">
                                      <p:cBhvr>
                                        <p:cTn id="14" dur="1000" decel="50000">
                                          <p:stCondLst>
                                            <p:cond delay="0"/>
                                          </p:stCondLst>
                                        </p:cTn>
                                        <p:tgtEl>
                                          <p:spTgt spid="27"/>
                                        </p:tgtEl>
                                      </p:cBhvr>
                                    </p:animEffect>
                                  </p:childTnLst>
                                </p:cTn>
                              </p:par>
                            </p:childTnLst>
                          </p:cTn>
                        </p:par>
                        <p:par>
                          <p:cTn id="15" fill="hold">
                            <p:stCondLst>
                              <p:cond delay="1000"/>
                            </p:stCondLst>
                            <p:childTnLst>
                              <p:par>
                                <p:cTn id="16" presetID="25" presetClass="entr" presetSubtype="0" fill="hold" grpId="0" nodeType="afterEffect">
                                  <p:stCondLst>
                                    <p:cond delay="0"/>
                                  </p:stCondLst>
                                  <p:childTnLst>
                                    <p:set>
                                      <p:cBhvr>
                                        <p:cTn id="17" dur="1" fill="hold">
                                          <p:stCondLst>
                                            <p:cond delay="0"/>
                                          </p:stCondLst>
                                        </p:cTn>
                                        <p:tgtEl>
                                          <p:spTgt spid="28"/>
                                        </p:tgtEl>
                                        <p:attrNameLst>
                                          <p:attrName>style.visibility</p:attrName>
                                        </p:attrNameLst>
                                      </p:cBhvr>
                                      <p:to>
                                        <p:strVal val="visible"/>
                                      </p:to>
                                    </p:set>
                                    <p:anim calcmode="lin" valueType="num">
                                      <p:cBhvr>
                                        <p:cTn id="18" dur="500" decel="50000" fill="hold">
                                          <p:stCondLst>
                                            <p:cond delay="0"/>
                                          </p:stCondLst>
                                        </p:cTn>
                                        <p:tgtEl>
                                          <p:spTgt spid="28"/>
                                        </p:tgtEl>
                                        <p:attrNameLst>
                                          <p:attrName>style.rotation</p:attrName>
                                        </p:attrNameLst>
                                      </p:cBhvr>
                                      <p:tavLst>
                                        <p:tav tm="0">
                                          <p:val>
                                            <p:fltVal val="-90"/>
                                          </p:val>
                                        </p:tav>
                                        <p:tav tm="100000">
                                          <p:val>
                                            <p:fltVal val="0"/>
                                          </p:val>
                                        </p:tav>
                                      </p:tavLst>
                                    </p:anim>
                                    <p:anim calcmode="lin" valueType="num">
                                      <p:cBhvr>
                                        <p:cTn id="19" dur="500" decel="50000" fill="hold">
                                          <p:stCondLst>
                                            <p:cond delay="0"/>
                                          </p:stCondLst>
                                        </p:cTn>
                                        <p:tgtEl>
                                          <p:spTgt spid="28"/>
                                        </p:tgtEl>
                                        <p:attrNameLst>
                                          <p:attrName>ppt_w</p:attrName>
                                        </p:attrNameLst>
                                      </p:cBhvr>
                                      <p:tavLst>
                                        <p:tav tm="0">
                                          <p:val>
                                            <p:strVal val="#ppt_w"/>
                                          </p:val>
                                        </p:tav>
                                        <p:tav tm="100000">
                                          <p:val>
                                            <p:strVal val="#ppt_w*.05"/>
                                          </p:val>
                                        </p:tav>
                                      </p:tavLst>
                                    </p:anim>
                                    <p:anim calcmode="lin" valueType="num">
                                      <p:cBhvr>
                                        <p:cTn id="20" dur="500" accel="50000" fill="hold">
                                          <p:stCondLst>
                                            <p:cond delay="500"/>
                                          </p:stCondLst>
                                        </p:cTn>
                                        <p:tgtEl>
                                          <p:spTgt spid="28"/>
                                        </p:tgtEl>
                                        <p:attrNameLst>
                                          <p:attrName>ppt_w</p:attrName>
                                        </p:attrNameLst>
                                      </p:cBhvr>
                                      <p:tavLst>
                                        <p:tav tm="0">
                                          <p:val>
                                            <p:strVal val="#ppt_w*.05"/>
                                          </p:val>
                                        </p:tav>
                                        <p:tav tm="100000">
                                          <p:val>
                                            <p:strVal val="#ppt_w"/>
                                          </p:val>
                                        </p:tav>
                                      </p:tavLst>
                                    </p:anim>
                                    <p:anim calcmode="lin" valueType="num">
                                      <p:cBhvr>
                                        <p:cTn id="21" dur="1000" fill="hold"/>
                                        <p:tgtEl>
                                          <p:spTgt spid="28"/>
                                        </p:tgtEl>
                                        <p:attrNameLst>
                                          <p:attrName>ppt_h</p:attrName>
                                        </p:attrNameLst>
                                      </p:cBhvr>
                                      <p:tavLst>
                                        <p:tav tm="0">
                                          <p:val>
                                            <p:strVal val="#ppt_h"/>
                                          </p:val>
                                        </p:tav>
                                        <p:tav tm="100000">
                                          <p:val>
                                            <p:strVal val="#ppt_h"/>
                                          </p:val>
                                        </p:tav>
                                      </p:tavLst>
                                    </p:anim>
                                    <p:anim calcmode="lin" valueType="num">
                                      <p:cBhvr>
                                        <p:cTn id="22" dur="500" decel="50000" fill="hold">
                                          <p:stCondLst>
                                            <p:cond delay="0"/>
                                          </p:stCondLst>
                                        </p:cTn>
                                        <p:tgtEl>
                                          <p:spTgt spid="28"/>
                                        </p:tgtEl>
                                        <p:attrNameLst>
                                          <p:attrName>ppt_x</p:attrName>
                                        </p:attrNameLst>
                                      </p:cBhvr>
                                      <p:tavLst>
                                        <p:tav tm="0">
                                          <p:val>
                                            <p:strVal val="#ppt_x+.4"/>
                                          </p:val>
                                        </p:tav>
                                        <p:tav tm="100000">
                                          <p:val>
                                            <p:strVal val="#ppt_x"/>
                                          </p:val>
                                        </p:tav>
                                      </p:tavLst>
                                    </p:anim>
                                    <p:anim calcmode="lin" valueType="num">
                                      <p:cBhvr>
                                        <p:cTn id="23" dur="500" decel="50000" fill="hold">
                                          <p:stCondLst>
                                            <p:cond delay="0"/>
                                          </p:stCondLst>
                                        </p:cTn>
                                        <p:tgtEl>
                                          <p:spTgt spid="28"/>
                                        </p:tgtEl>
                                        <p:attrNameLst>
                                          <p:attrName>ppt_y</p:attrName>
                                        </p:attrNameLst>
                                      </p:cBhvr>
                                      <p:tavLst>
                                        <p:tav tm="0">
                                          <p:val>
                                            <p:strVal val="#ppt_y-.2"/>
                                          </p:val>
                                        </p:tav>
                                        <p:tav tm="100000">
                                          <p:val>
                                            <p:strVal val="#ppt_y+.1"/>
                                          </p:val>
                                        </p:tav>
                                      </p:tavLst>
                                    </p:anim>
                                    <p:anim calcmode="lin" valueType="num">
                                      <p:cBhvr>
                                        <p:cTn id="24" dur="500" accel="50000" fill="hold">
                                          <p:stCondLst>
                                            <p:cond delay="500"/>
                                          </p:stCondLst>
                                        </p:cTn>
                                        <p:tgtEl>
                                          <p:spTgt spid="28"/>
                                        </p:tgtEl>
                                        <p:attrNameLst>
                                          <p:attrName>ppt_y</p:attrName>
                                        </p:attrNameLst>
                                      </p:cBhvr>
                                      <p:tavLst>
                                        <p:tav tm="0">
                                          <p:val>
                                            <p:strVal val="#ppt_y+.1"/>
                                          </p:val>
                                        </p:tav>
                                        <p:tav tm="100000">
                                          <p:val>
                                            <p:strVal val="#ppt_y"/>
                                          </p:val>
                                        </p:tav>
                                      </p:tavLst>
                                    </p:anim>
                                    <p:animEffect transition="in" filter="fade">
                                      <p:cBhvr>
                                        <p:cTn id="25" dur="1000" decel="50000">
                                          <p:stCondLst>
                                            <p:cond delay="0"/>
                                          </p:stCondLst>
                                        </p:cTn>
                                        <p:tgtEl>
                                          <p:spTgt spid="28"/>
                                        </p:tgtEl>
                                      </p:cBhvr>
                                    </p:animEffect>
                                  </p:childTnLst>
                                </p:cTn>
                              </p:par>
                            </p:childTnLst>
                          </p:cTn>
                        </p:par>
                        <p:par>
                          <p:cTn id="26" fill="hold">
                            <p:stCondLst>
                              <p:cond delay="2000"/>
                            </p:stCondLst>
                            <p:childTnLst>
                              <p:par>
                                <p:cTn id="27" presetID="25" presetClass="entr" presetSubtype="0" fill="hold" grpId="0" nodeType="afterEffect">
                                  <p:stCondLst>
                                    <p:cond delay="0"/>
                                  </p:stCondLst>
                                  <p:childTnLst>
                                    <p:set>
                                      <p:cBhvr>
                                        <p:cTn id="28" dur="1" fill="hold">
                                          <p:stCondLst>
                                            <p:cond delay="0"/>
                                          </p:stCondLst>
                                        </p:cTn>
                                        <p:tgtEl>
                                          <p:spTgt spid="29"/>
                                        </p:tgtEl>
                                        <p:attrNameLst>
                                          <p:attrName>style.visibility</p:attrName>
                                        </p:attrNameLst>
                                      </p:cBhvr>
                                      <p:to>
                                        <p:strVal val="visible"/>
                                      </p:to>
                                    </p:set>
                                    <p:anim calcmode="lin" valueType="num">
                                      <p:cBhvr>
                                        <p:cTn id="29" dur="500" decel="50000" fill="hold">
                                          <p:stCondLst>
                                            <p:cond delay="0"/>
                                          </p:stCondLst>
                                        </p:cTn>
                                        <p:tgtEl>
                                          <p:spTgt spid="29"/>
                                        </p:tgtEl>
                                        <p:attrNameLst>
                                          <p:attrName>style.rotation</p:attrName>
                                        </p:attrNameLst>
                                      </p:cBhvr>
                                      <p:tavLst>
                                        <p:tav tm="0">
                                          <p:val>
                                            <p:fltVal val="-90"/>
                                          </p:val>
                                        </p:tav>
                                        <p:tav tm="100000">
                                          <p:val>
                                            <p:fltVal val="0"/>
                                          </p:val>
                                        </p:tav>
                                      </p:tavLst>
                                    </p:anim>
                                    <p:anim calcmode="lin" valueType="num">
                                      <p:cBhvr>
                                        <p:cTn id="30" dur="500" decel="50000" fill="hold">
                                          <p:stCondLst>
                                            <p:cond delay="0"/>
                                          </p:stCondLst>
                                        </p:cTn>
                                        <p:tgtEl>
                                          <p:spTgt spid="29"/>
                                        </p:tgtEl>
                                        <p:attrNameLst>
                                          <p:attrName>ppt_w</p:attrName>
                                        </p:attrNameLst>
                                      </p:cBhvr>
                                      <p:tavLst>
                                        <p:tav tm="0">
                                          <p:val>
                                            <p:strVal val="#ppt_w"/>
                                          </p:val>
                                        </p:tav>
                                        <p:tav tm="100000">
                                          <p:val>
                                            <p:strVal val="#ppt_w*.05"/>
                                          </p:val>
                                        </p:tav>
                                      </p:tavLst>
                                    </p:anim>
                                    <p:anim calcmode="lin" valueType="num">
                                      <p:cBhvr>
                                        <p:cTn id="31" dur="500" accel="50000" fill="hold">
                                          <p:stCondLst>
                                            <p:cond delay="500"/>
                                          </p:stCondLst>
                                        </p:cTn>
                                        <p:tgtEl>
                                          <p:spTgt spid="29"/>
                                        </p:tgtEl>
                                        <p:attrNameLst>
                                          <p:attrName>ppt_w</p:attrName>
                                        </p:attrNameLst>
                                      </p:cBhvr>
                                      <p:tavLst>
                                        <p:tav tm="0">
                                          <p:val>
                                            <p:strVal val="#ppt_w*.05"/>
                                          </p:val>
                                        </p:tav>
                                        <p:tav tm="100000">
                                          <p:val>
                                            <p:strVal val="#ppt_w"/>
                                          </p:val>
                                        </p:tav>
                                      </p:tavLst>
                                    </p:anim>
                                    <p:anim calcmode="lin" valueType="num">
                                      <p:cBhvr>
                                        <p:cTn id="32" dur="1000" fill="hold"/>
                                        <p:tgtEl>
                                          <p:spTgt spid="29"/>
                                        </p:tgtEl>
                                        <p:attrNameLst>
                                          <p:attrName>ppt_h</p:attrName>
                                        </p:attrNameLst>
                                      </p:cBhvr>
                                      <p:tavLst>
                                        <p:tav tm="0">
                                          <p:val>
                                            <p:strVal val="#ppt_h"/>
                                          </p:val>
                                        </p:tav>
                                        <p:tav tm="100000">
                                          <p:val>
                                            <p:strVal val="#ppt_h"/>
                                          </p:val>
                                        </p:tav>
                                      </p:tavLst>
                                    </p:anim>
                                    <p:anim calcmode="lin" valueType="num">
                                      <p:cBhvr>
                                        <p:cTn id="33" dur="500" decel="50000" fill="hold">
                                          <p:stCondLst>
                                            <p:cond delay="0"/>
                                          </p:stCondLst>
                                        </p:cTn>
                                        <p:tgtEl>
                                          <p:spTgt spid="29"/>
                                        </p:tgtEl>
                                        <p:attrNameLst>
                                          <p:attrName>ppt_x</p:attrName>
                                        </p:attrNameLst>
                                      </p:cBhvr>
                                      <p:tavLst>
                                        <p:tav tm="0">
                                          <p:val>
                                            <p:strVal val="#ppt_x+.4"/>
                                          </p:val>
                                        </p:tav>
                                        <p:tav tm="100000">
                                          <p:val>
                                            <p:strVal val="#ppt_x"/>
                                          </p:val>
                                        </p:tav>
                                      </p:tavLst>
                                    </p:anim>
                                    <p:anim calcmode="lin" valueType="num">
                                      <p:cBhvr>
                                        <p:cTn id="34" dur="500" decel="50000" fill="hold">
                                          <p:stCondLst>
                                            <p:cond delay="0"/>
                                          </p:stCondLst>
                                        </p:cTn>
                                        <p:tgtEl>
                                          <p:spTgt spid="29"/>
                                        </p:tgtEl>
                                        <p:attrNameLst>
                                          <p:attrName>ppt_y</p:attrName>
                                        </p:attrNameLst>
                                      </p:cBhvr>
                                      <p:tavLst>
                                        <p:tav tm="0">
                                          <p:val>
                                            <p:strVal val="#ppt_y-.2"/>
                                          </p:val>
                                        </p:tav>
                                        <p:tav tm="100000">
                                          <p:val>
                                            <p:strVal val="#ppt_y+.1"/>
                                          </p:val>
                                        </p:tav>
                                      </p:tavLst>
                                    </p:anim>
                                    <p:anim calcmode="lin" valueType="num">
                                      <p:cBhvr>
                                        <p:cTn id="35" dur="500" accel="50000" fill="hold">
                                          <p:stCondLst>
                                            <p:cond delay="500"/>
                                          </p:stCondLst>
                                        </p:cTn>
                                        <p:tgtEl>
                                          <p:spTgt spid="29"/>
                                        </p:tgtEl>
                                        <p:attrNameLst>
                                          <p:attrName>ppt_y</p:attrName>
                                        </p:attrNameLst>
                                      </p:cBhvr>
                                      <p:tavLst>
                                        <p:tav tm="0">
                                          <p:val>
                                            <p:strVal val="#ppt_y+.1"/>
                                          </p:val>
                                        </p:tav>
                                        <p:tav tm="100000">
                                          <p:val>
                                            <p:strVal val="#ppt_y"/>
                                          </p:val>
                                        </p:tav>
                                      </p:tavLst>
                                    </p:anim>
                                    <p:animEffect transition="in" filter="fade">
                                      <p:cBhvr>
                                        <p:cTn id="36" dur="1000" decel="50000">
                                          <p:stCondLst>
                                            <p:cond delay="0"/>
                                          </p:stCondLst>
                                        </p:cTn>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animBg="1"/>
      <p:bldP spid="28" grpId="0" animBg="1"/>
      <p:bldP spid="29"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bg>
      <p:bgPr>
        <a:solidFill>
          <a:schemeClr val="bg1">
            <a:alpha val="58038"/>
          </a:schemeClr>
        </a:solidFill>
        <a:effectLst/>
      </p:bgPr>
    </p:bg>
    <p:spTree>
      <p:nvGrpSpPr>
        <p:cNvPr id="1" name=""/>
        <p:cNvGrpSpPr/>
        <p:nvPr/>
      </p:nvGrpSpPr>
      <p:grpSpPr>
        <a:xfrm>
          <a:off x="0" y="0"/>
          <a:ext cx="0" cy="0"/>
          <a:chOff x="0" y="0"/>
          <a:chExt cx="0" cy="0"/>
        </a:xfrm>
      </p:grpSpPr>
      <p:sp>
        <p:nvSpPr>
          <p:cNvPr id="18" name="标题 17"/>
          <p:cNvSpPr>
            <a:spLocks noGrp="1"/>
          </p:cNvSpPr>
          <p:nvPr>
            <p:ph type="title"/>
          </p:nvPr>
        </p:nvSpPr>
        <p:spPr/>
        <p:txBody>
          <a:bodyPr>
            <a:noAutofit/>
          </a:bodyPr>
          <a:lstStyle/>
          <a:p>
            <a:pPr>
              <a:defRPr/>
            </a:pPr>
            <a:r>
              <a:rPr lang="zh-CN" altLang="en-US" sz="4000" kern="100" dirty="0" smtClean="0">
                <a:solidFill>
                  <a:srgbClr val="FFFF00"/>
                </a:solidFill>
                <a:effectLst/>
                <a:cs typeface="+mn-cs"/>
              </a:rPr>
              <a:t>正确认识合作</a:t>
            </a:r>
          </a:p>
        </p:txBody>
      </p:sp>
      <p:sp>
        <p:nvSpPr>
          <p:cNvPr id="19" name="内容占位符 18"/>
          <p:cNvSpPr>
            <a:spLocks noGrp="1"/>
          </p:cNvSpPr>
          <p:nvPr>
            <p:ph sz="quarter" idx="10"/>
          </p:nvPr>
        </p:nvSpPr>
        <p:spPr/>
        <p:txBody>
          <a:bodyPr>
            <a:normAutofit fontScale="85000" lnSpcReduction="20000"/>
          </a:bodyPr>
          <a:lstStyle/>
          <a:p>
            <a:pPr>
              <a:defRPr/>
            </a:pPr>
            <a:r>
              <a:rPr lang="en-US" altLang="zh-CN" dirty="0" smtClean="0"/>
              <a:t>2</a:t>
            </a:r>
          </a:p>
          <a:p>
            <a:pPr>
              <a:defRPr/>
            </a:pPr>
            <a:endParaRPr lang="zh-CN" altLang="en-US" dirty="0"/>
          </a:p>
        </p:txBody>
      </p:sp>
      <p:sp>
        <p:nvSpPr>
          <p:cNvPr id="21" name="内容占位符 3"/>
          <p:cNvSpPr txBox="1">
            <a:spLocks/>
          </p:cNvSpPr>
          <p:nvPr/>
        </p:nvSpPr>
        <p:spPr bwMode="auto">
          <a:xfrm>
            <a:off x="361950" y="114300"/>
            <a:ext cx="544513" cy="525463"/>
          </a:xfrm>
          <a:prstGeom prst="rect">
            <a:avLst/>
          </a:prstGeom>
          <a:noFill/>
          <a:ln w="9525">
            <a:noFill/>
            <a:miter lim="800000"/>
            <a:headEnd/>
            <a:tailEnd/>
          </a:ln>
        </p:spPr>
        <p:txBody>
          <a:bodyPr lIns="91389" tIns="45694" rIns="91389" bIns="45694"/>
          <a:lstStyle/>
          <a:p>
            <a:pPr algn="ctr" eaLnBrk="0" fontAlgn="base" hangingPunct="0">
              <a:spcBef>
                <a:spcPct val="20000"/>
              </a:spcBef>
              <a:spcAft>
                <a:spcPct val="0"/>
              </a:spcAft>
              <a:defRPr/>
            </a:pPr>
            <a:endParaRPr lang="zh-CN" altLang="en-US" sz="3600" b="1" dirty="0">
              <a:solidFill>
                <a:prstClr val="white"/>
              </a:solidFill>
              <a:effectLst>
                <a:outerShdw blurRad="38100" dist="38100" dir="2700000" algn="tl">
                  <a:srgbClr val="000000">
                    <a:alpha val="43137"/>
                  </a:srgbClr>
                </a:outerShdw>
              </a:effectLst>
              <a:latin typeface="黑体" panose="02010609060101010101" pitchFamily="49" charset="-122"/>
              <a:ea typeface="黑体" panose="02010609060101010101" pitchFamily="49" charset="-122"/>
            </a:endParaRPr>
          </a:p>
        </p:txBody>
      </p:sp>
      <p:sp>
        <p:nvSpPr>
          <p:cNvPr id="122910" name="AutoShape 16" descr="http://img2.imgtn.bdimg.com/it/u=2560174535,624115299&amp;fm=21&amp;gp=0.jpg"/>
          <p:cNvSpPr>
            <a:spLocks noChangeAspect="1" noChangeArrowheads="1"/>
          </p:cNvSpPr>
          <p:nvPr/>
        </p:nvSpPr>
        <p:spPr bwMode="auto">
          <a:xfrm>
            <a:off x="63500" y="-144463"/>
            <a:ext cx="304800" cy="304801"/>
          </a:xfrm>
          <a:prstGeom prst="rect">
            <a:avLst/>
          </a:prstGeom>
          <a:noFill/>
          <a:ln w="9525">
            <a:noFill/>
            <a:miter lim="800000"/>
            <a:headEnd/>
            <a:tailEnd/>
          </a:ln>
        </p:spPr>
        <p:txBody>
          <a:bodyPr lIns="91389" tIns="45694" rIns="91389" bIns="45694"/>
          <a:lstStyle/>
          <a:p>
            <a:pPr fontAlgn="base">
              <a:spcBef>
                <a:spcPct val="0"/>
              </a:spcBef>
              <a:spcAft>
                <a:spcPct val="0"/>
              </a:spcAft>
              <a:defRPr/>
            </a:pPr>
            <a:endParaRPr lang="zh-CN" altLang="en-US">
              <a:solidFill>
                <a:prstClr val="black"/>
              </a:solidFill>
              <a:effectLst>
                <a:outerShdw blurRad="38100" dist="38100" dir="2700000" algn="tl">
                  <a:srgbClr val="000000">
                    <a:alpha val="43137"/>
                  </a:srgbClr>
                </a:outerShdw>
              </a:effectLst>
              <a:latin typeface="Times New Roman" pitchFamily="18" charset="0"/>
            </a:endParaRPr>
          </a:p>
        </p:txBody>
      </p:sp>
      <p:grpSp>
        <p:nvGrpSpPr>
          <p:cNvPr id="2" name="组合 2"/>
          <p:cNvGrpSpPr>
            <a:grpSpLocks/>
          </p:cNvGrpSpPr>
          <p:nvPr/>
        </p:nvGrpSpPr>
        <p:grpSpPr bwMode="auto">
          <a:xfrm>
            <a:off x="323528" y="1917030"/>
            <a:ext cx="3592513" cy="4282876"/>
            <a:chOff x="4881533" y="1325297"/>
            <a:chExt cx="3828418" cy="1960827"/>
          </a:xfrm>
        </p:grpSpPr>
        <p:sp>
          <p:nvSpPr>
            <p:cNvPr id="29" name="Rectangle 20"/>
            <p:cNvSpPr/>
            <p:nvPr>
              <p:custDataLst>
                <p:tags r:id="rId1"/>
              </p:custDataLst>
            </p:nvPr>
          </p:nvSpPr>
          <p:spPr bwMode="auto">
            <a:xfrm>
              <a:off x="4881533" y="1499639"/>
              <a:ext cx="3828418" cy="1786485"/>
            </a:xfrm>
            <a:prstGeom prst="rect">
              <a:avLst/>
            </a:prstGeom>
            <a:noFill/>
            <a:ln w="38100" cap="flat" cmpd="sng" algn="ctr">
              <a:solidFill>
                <a:schemeClr val="accent1">
                  <a:lumMod val="75000"/>
                </a:schemeClr>
              </a:solidFill>
              <a:prstDash val="solid"/>
              <a:round/>
              <a:headEnd type="none" w="med" len="med"/>
              <a:tailEnd type="none" w="med" len="med"/>
            </a:ln>
            <a:effectLst/>
          </p:spPr>
          <p:txBody>
            <a:bodyPr/>
            <a:lstStyle/>
            <a:p>
              <a:pPr algn="ctr" fontAlgn="base">
                <a:spcBef>
                  <a:spcPct val="0"/>
                </a:spcBef>
                <a:spcAft>
                  <a:spcPct val="0"/>
                </a:spcAft>
                <a:defRPr/>
              </a:pPr>
              <a:endParaRPr lang="zh-CN" altLang="en-US" b="1">
                <a:solidFill>
                  <a:prstClr val="black"/>
                </a:solidFill>
                <a:effectLst>
                  <a:outerShdw blurRad="38100" dist="38100" dir="2700000" algn="tl">
                    <a:srgbClr val="000000">
                      <a:alpha val="43137"/>
                    </a:srgbClr>
                  </a:outerShdw>
                </a:effectLst>
                <a:latin typeface="Times New Roman" pitchFamily="18" charset="0"/>
              </a:endParaRPr>
            </a:p>
          </p:txBody>
        </p:sp>
        <p:sp>
          <p:nvSpPr>
            <p:cNvPr id="32" name="AutoShape 5"/>
            <p:cNvSpPr>
              <a:spLocks noChangeArrowheads="1"/>
            </p:cNvSpPr>
            <p:nvPr>
              <p:custDataLst>
                <p:tags r:id="rId2"/>
              </p:custDataLst>
            </p:nvPr>
          </p:nvSpPr>
          <p:spPr bwMode="auto">
            <a:xfrm>
              <a:off x="5230032" y="1348464"/>
              <a:ext cx="3121269" cy="287815"/>
            </a:xfrm>
            <a:prstGeom prst="homePlate">
              <a:avLst>
                <a:gd name="adj" fmla="val 25328"/>
              </a:avLst>
            </a:prstGeom>
            <a:ln>
              <a:headEnd/>
              <a:tailEnd/>
            </a:ln>
          </p:spPr>
          <p:style>
            <a:lnRef idx="2">
              <a:schemeClr val="accent1">
                <a:shade val="50000"/>
              </a:schemeClr>
            </a:lnRef>
            <a:fillRef idx="1">
              <a:schemeClr val="accent1"/>
            </a:fillRef>
            <a:effectRef idx="0">
              <a:schemeClr val="accent1"/>
            </a:effectRef>
            <a:fontRef idx="minor">
              <a:schemeClr val="lt1"/>
            </a:fontRef>
          </p:style>
          <p:txBody>
            <a:bodyPr wrap="none" lIns="72000" tIns="0" rIns="0" bIns="0" anchor="ctr"/>
            <a:lstStyle/>
            <a:p>
              <a:pPr>
                <a:defRPr/>
              </a:pPr>
              <a:endParaRPr lang="zh-CN" altLang="en-US" dirty="0">
                <a:solidFill>
                  <a:prstClr val="white"/>
                </a:solidFill>
                <a:effectLst>
                  <a:outerShdw blurRad="38100" dist="38100" dir="2700000" algn="tl">
                    <a:srgbClr val="000000">
                      <a:alpha val="43137"/>
                    </a:srgbClr>
                  </a:outerShdw>
                </a:effectLst>
              </a:endParaRPr>
            </a:p>
          </p:txBody>
        </p:sp>
        <p:sp>
          <p:nvSpPr>
            <p:cNvPr id="33" name="Text Box 6"/>
            <p:cNvSpPr txBox="1">
              <a:spLocks noChangeArrowheads="1"/>
            </p:cNvSpPr>
            <p:nvPr>
              <p:custDataLst>
                <p:tags r:id="rId3"/>
              </p:custDataLst>
            </p:nvPr>
          </p:nvSpPr>
          <p:spPr bwMode="auto">
            <a:xfrm>
              <a:off x="5263867" y="1325297"/>
              <a:ext cx="3166945" cy="281818"/>
            </a:xfrm>
            <a:prstGeom prst="rect">
              <a:avLst/>
            </a:prstGeom>
            <a:noFill/>
            <a:ln w="6350">
              <a:noFill/>
              <a:miter lim="800000"/>
              <a:headEnd/>
              <a:tailEnd/>
            </a:ln>
          </p:spPr>
          <p:txBody>
            <a:bodyPr lIns="0" tIns="0" rIns="0" bIns="0" anchor="ctr">
              <a:spAutoFit/>
            </a:bodyPr>
            <a:lstStyle/>
            <a:p>
              <a:pPr fontAlgn="base">
                <a:spcBef>
                  <a:spcPct val="0"/>
                </a:spcBef>
                <a:spcAft>
                  <a:spcPct val="0"/>
                </a:spcAft>
                <a:defRPr/>
              </a:pPr>
              <a:r>
                <a:rPr lang="zh-CN" altLang="en-US" sz="2000" b="1" dirty="0" smtClean="0">
                  <a:solidFill>
                    <a:srgbClr val="002060"/>
                  </a:solidFill>
                  <a:latin typeface="黑体" pitchFamily="49" charset="-122"/>
                  <a:ea typeface="黑体" pitchFamily="49" charset="-122"/>
                </a:rPr>
                <a:t>合作是人类生存的基础</a:t>
              </a:r>
              <a:endParaRPr lang="en-US" altLang="zh-CN" sz="2000" b="1" dirty="0" smtClean="0">
                <a:solidFill>
                  <a:srgbClr val="002060"/>
                </a:solidFill>
                <a:latin typeface="黑体" pitchFamily="49" charset="-122"/>
                <a:ea typeface="黑体" pitchFamily="49" charset="-122"/>
              </a:endParaRPr>
            </a:p>
            <a:p>
              <a:pPr fontAlgn="base">
                <a:spcBef>
                  <a:spcPct val="0"/>
                </a:spcBef>
                <a:spcAft>
                  <a:spcPct val="0"/>
                </a:spcAft>
                <a:defRPr/>
              </a:pPr>
              <a:r>
                <a:rPr lang="zh-CN" altLang="en-US" sz="2000" b="1" dirty="0" smtClean="0">
                  <a:solidFill>
                    <a:srgbClr val="002060"/>
                  </a:solidFill>
                  <a:latin typeface="黑体" pitchFamily="49" charset="-122"/>
                  <a:ea typeface="黑体" pitchFamily="49" charset="-122"/>
                </a:rPr>
                <a:t>合作是人生力量的源泉</a:t>
              </a:r>
              <a:endParaRPr lang="en-US" altLang="zh-CN" sz="2000" b="1" dirty="0">
                <a:solidFill>
                  <a:srgbClr val="002060"/>
                </a:solidFill>
                <a:latin typeface="黑体" pitchFamily="49" charset="-122"/>
                <a:ea typeface="黑体" pitchFamily="49" charset="-122"/>
              </a:endParaRPr>
            </a:p>
          </p:txBody>
        </p:sp>
      </p:grpSp>
      <p:sp>
        <p:nvSpPr>
          <p:cNvPr id="38" name="TextBox 37"/>
          <p:cNvSpPr txBox="1">
            <a:spLocks noChangeArrowheads="1"/>
          </p:cNvSpPr>
          <p:nvPr/>
        </p:nvSpPr>
        <p:spPr bwMode="auto">
          <a:xfrm>
            <a:off x="251520" y="5733256"/>
            <a:ext cx="3657600" cy="476250"/>
          </a:xfrm>
          <a:prstGeom prst="rect">
            <a:avLst/>
          </a:prstGeom>
          <a:noFill/>
          <a:ln w="9525">
            <a:noFill/>
            <a:miter lim="800000"/>
            <a:headEnd/>
            <a:tailEnd/>
          </a:ln>
        </p:spPr>
        <p:txBody>
          <a:bodyPr lIns="91389" tIns="45694" rIns="91389" bIns="45694">
            <a:spAutoFit/>
          </a:bodyPr>
          <a:lstStyle/>
          <a:p>
            <a:pPr algn="ctr" fontAlgn="base">
              <a:spcBef>
                <a:spcPct val="0"/>
              </a:spcBef>
              <a:spcAft>
                <a:spcPct val="0"/>
              </a:spcAft>
              <a:defRPr/>
            </a:pPr>
            <a:r>
              <a:rPr lang="zh-CN" altLang="en-US" sz="2500" b="1" dirty="0">
                <a:solidFill>
                  <a:srgbClr val="002060"/>
                </a:solidFill>
                <a:effectLst>
                  <a:outerShdw blurRad="38100" dist="38100" dir="2700000" algn="tl">
                    <a:srgbClr val="000000">
                      <a:alpha val="43137"/>
                    </a:srgbClr>
                  </a:outerShdw>
                </a:effectLst>
                <a:latin typeface="楷体" pitchFamily="49" charset="-122"/>
              </a:rPr>
              <a:t>众人拾柴火焰高</a:t>
            </a:r>
          </a:p>
        </p:txBody>
      </p:sp>
      <p:pic>
        <p:nvPicPr>
          <p:cNvPr id="43" name="Picture 3" descr="合作">
            <a:hlinkClick r:id="rId5" action="ppaction://hlinksldjump"/>
          </p:cNvPr>
          <p:cNvPicPr>
            <a:picLocks noChangeAspect="1" noChangeArrowheads="1"/>
          </p:cNvPicPr>
          <p:nvPr/>
        </p:nvPicPr>
        <p:blipFill>
          <a:blip r:embed="rId6" cstate="print"/>
          <a:srcRect/>
          <a:stretch>
            <a:fillRect/>
          </a:stretch>
        </p:blipFill>
        <p:spPr bwMode="auto">
          <a:xfrm>
            <a:off x="4427984" y="2564904"/>
            <a:ext cx="4464496" cy="3456384"/>
          </a:xfrm>
          <a:prstGeom prst="rect">
            <a:avLst/>
          </a:prstGeom>
          <a:noFill/>
          <a:ln w="9525">
            <a:noFill/>
            <a:miter lim="800000"/>
            <a:headEnd/>
            <a:tailEnd/>
          </a:ln>
        </p:spPr>
      </p:pic>
      <p:graphicFrame>
        <p:nvGraphicFramePr>
          <p:cNvPr id="20" name="图示 19"/>
          <p:cNvGraphicFramePr/>
          <p:nvPr/>
        </p:nvGraphicFramePr>
        <p:xfrm>
          <a:off x="725760" y="1000108"/>
          <a:ext cx="7418140" cy="915603"/>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pic>
        <p:nvPicPr>
          <p:cNvPr id="62" name="Picture 16" descr="http://pic62.nipic.com/file/20150319/9578002_094313327000_2.jpg">
            <a:hlinkClick r:id="rId5" action="ppaction://hlinksldjump"/>
          </p:cNvPr>
          <p:cNvPicPr>
            <a:picLocks noChangeAspect="1" noChangeArrowheads="1"/>
          </p:cNvPicPr>
          <p:nvPr/>
        </p:nvPicPr>
        <p:blipFill>
          <a:blip r:embed="rId12" cstate="print"/>
          <a:srcRect/>
          <a:stretch>
            <a:fillRect/>
          </a:stretch>
        </p:blipFill>
        <p:spPr bwMode="auto">
          <a:xfrm>
            <a:off x="467544" y="4149080"/>
            <a:ext cx="3286148" cy="1656184"/>
          </a:xfrm>
          <a:prstGeom prst="rect">
            <a:avLst/>
          </a:prstGeom>
          <a:ln w="190500" cap="sq">
            <a:solidFill>
              <a:srgbClr val="C8C6BD"/>
            </a:solidFill>
            <a:prstDash val="solid"/>
            <a:miter lim="800000"/>
          </a:ln>
          <a:effectLst>
            <a:outerShdw blurRad="254000" algn="bl" rotWithShape="0">
              <a:srgbClr val="000000">
                <a:alpha val="43000"/>
              </a:srgbClr>
            </a:outerShdw>
          </a:effectLst>
          <a:scene3d>
            <a:camera prst="perspectiveFront" fov="5400000"/>
            <a:lightRig rig="threePt" dir="t">
              <a:rot lat="0" lon="0" rev="2100000"/>
            </a:lightRig>
          </a:scene3d>
          <a:sp3d extrusionH="25400">
            <a:bevelT w="304800" h="152400" prst="hardEdge"/>
            <a:extrusionClr>
              <a:srgbClr val="000000"/>
            </a:extrusionClr>
          </a:sp3d>
        </p:spPr>
      </p:pic>
      <p:sp>
        <p:nvSpPr>
          <p:cNvPr id="30" name="TextBox 29"/>
          <p:cNvSpPr txBox="1">
            <a:spLocks noChangeArrowheads="1"/>
          </p:cNvSpPr>
          <p:nvPr/>
        </p:nvSpPr>
        <p:spPr bwMode="auto">
          <a:xfrm>
            <a:off x="508248" y="2589932"/>
            <a:ext cx="3429000" cy="1631950"/>
          </a:xfrm>
          <a:prstGeom prst="rect">
            <a:avLst/>
          </a:prstGeom>
          <a:noFill/>
          <a:ln w="9525">
            <a:noFill/>
            <a:miter lim="800000"/>
            <a:headEnd/>
            <a:tailEnd/>
          </a:ln>
        </p:spPr>
        <p:txBody>
          <a:bodyPr lIns="91389" tIns="45694" rIns="91389" bIns="45694">
            <a:spAutoFit/>
          </a:bodyPr>
          <a:lstStyle/>
          <a:p>
            <a:pPr fontAlgn="base">
              <a:spcBef>
                <a:spcPct val="0"/>
              </a:spcBef>
              <a:spcAft>
                <a:spcPct val="0"/>
              </a:spcAft>
            </a:pPr>
            <a:r>
              <a:rPr lang="zh-CN" altLang="en-US" sz="2000" b="1" dirty="0" smtClean="0">
                <a:solidFill>
                  <a:prstClr val="black"/>
                </a:solidFill>
                <a:latin typeface="黑体" pitchFamily="49" charset="-122"/>
                <a:ea typeface="黑体" pitchFamily="49" charset="-122"/>
              </a:rPr>
              <a:t>如果一个大学生只知道学会掌握知识，而不懂得学习如何与人合作，那么，即使掌握的知识再多，也无法在今后的工作中有效应用。</a:t>
            </a:r>
          </a:p>
        </p:txBody>
      </p:sp>
      <p:pic>
        <p:nvPicPr>
          <p:cNvPr id="31" name="Picture 3"/>
          <p:cNvPicPr>
            <a:picLocks noChangeAspect="1" noChangeArrowheads="1"/>
          </p:cNvPicPr>
          <p:nvPr/>
        </p:nvPicPr>
        <p:blipFill>
          <a:blip r:embed="rId13" cstate="print"/>
          <a:srcRect/>
          <a:stretch>
            <a:fillRect/>
          </a:stretch>
        </p:blipFill>
        <p:spPr bwMode="auto">
          <a:xfrm>
            <a:off x="4283968" y="1772816"/>
            <a:ext cx="4482480" cy="792088"/>
          </a:xfrm>
          <a:prstGeom prst="rect">
            <a:avLst/>
          </a:prstGeom>
          <a:noFill/>
          <a:ln w="9525">
            <a:noFill/>
            <a:miter lim="800000"/>
            <a:headEnd/>
            <a:tailEnd/>
          </a:ln>
        </p:spPr>
      </p:pic>
      <p:sp>
        <p:nvSpPr>
          <p:cNvPr id="34" name="TextBox 33"/>
          <p:cNvSpPr txBox="1"/>
          <p:nvPr/>
        </p:nvSpPr>
        <p:spPr>
          <a:xfrm>
            <a:off x="4355976" y="2636912"/>
            <a:ext cx="4536504" cy="3528392"/>
          </a:xfrm>
          <a:prstGeom prst="rect">
            <a:avLst/>
          </a:prstGeom>
        </p:spPr>
        <p:style>
          <a:lnRef idx="2">
            <a:schemeClr val="accent2"/>
          </a:lnRef>
          <a:fillRef idx="1">
            <a:schemeClr val="lt1"/>
          </a:fillRef>
          <a:effectRef idx="0">
            <a:schemeClr val="accent2"/>
          </a:effectRef>
          <a:fontRef idx="minor">
            <a:schemeClr val="dk1"/>
          </a:fontRef>
        </p:style>
        <p:txBody>
          <a:bodyPr wrap="square" rtlCol="0">
            <a:spAutoFit/>
          </a:bodyPr>
          <a:lstStyle/>
          <a:p>
            <a:r>
              <a:rPr lang="zh-CN" altLang="en-US" dirty="0" smtClean="0">
                <a:solidFill>
                  <a:srgbClr val="002060"/>
                </a:solidFill>
                <a:latin typeface="黑体" pitchFamily="49" charset="-122"/>
                <a:ea typeface="黑体" pitchFamily="49" charset="-122"/>
              </a:rPr>
              <a:t>    三年多埋头苦读，两天考场疾书，约两个月煎熬的等待之后，</a:t>
            </a:r>
            <a:r>
              <a:rPr lang="zh-CN" altLang="en-US" u="sng" dirty="0" smtClean="0">
                <a:solidFill>
                  <a:srgbClr val="FF0000"/>
                </a:solidFill>
                <a:latin typeface="黑体" pitchFamily="49" charset="-122"/>
                <a:ea typeface="黑体" pitchFamily="49" charset="-122"/>
              </a:rPr>
              <a:t>一个宿舍的四名同学，一同考取华中科技大学新制度经济学专业的研究生，</a:t>
            </a:r>
            <a:r>
              <a:rPr lang="zh-CN" altLang="en-US" u="sng" dirty="0" smtClean="0">
                <a:solidFill>
                  <a:srgbClr val="002060"/>
                </a:solidFill>
                <a:latin typeface="黑体" pitchFamily="49" charset="-122"/>
                <a:ea typeface="黑体" pitchFamily="49" charset="-122"/>
              </a:rPr>
              <a:t>这</a:t>
            </a:r>
            <a:r>
              <a:rPr lang="zh-CN" altLang="en-US" dirty="0" smtClean="0">
                <a:solidFill>
                  <a:srgbClr val="002060"/>
                </a:solidFill>
                <a:latin typeface="黑体" pitchFamily="49" charset="-122"/>
                <a:ea typeface="黑体" pitchFamily="49" charset="-122"/>
              </a:rPr>
              <a:t>在武汉纺织大学经济学院学生中引起轰动。</a:t>
            </a:r>
            <a:endParaRPr lang="en-US" altLang="zh-CN" dirty="0" smtClean="0">
              <a:solidFill>
                <a:srgbClr val="002060"/>
              </a:solidFill>
              <a:latin typeface="黑体" pitchFamily="49" charset="-122"/>
              <a:ea typeface="黑体" pitchFamily="49" charset="-122"/>
            </a:endParaRPr>
          </a:p>
          <a:p>
            <a:r>
              <a:rPr lang="zh-CN" altLang="en-US" dirty="0" smtClean="0">
                <a:solidFill>
                  <a:srgbClr val="002060"/>
                </a:solidFill>
                <a:latin typeface="黑体" pitchFamily="49" charset="-122"/>
                <a:ea typeface="黑体" pitchFamily="49" charset="-122"/>
              </a:rPr>
              <a:t>    刘飞介绍，备考期间，他们制定了具体的作息时间，每天早出晚归，</a:t>
            </a:r>
            <a:r>
              <a:rPr lang="zh-CN" altLang="en-US" u="sng" dirty="0" smtClean="0">
                <a:solidFill>
                  <a:srgbClr val="FF0000"/>
                </a:solidFill>
                <a:latin typeface="黑体" pitchFamily="49" charset="-122"/>
                <a:ea typeface="黑体" pitchFamily="49" charset="-122"/>
              </a:rPr>
              <a:t>一起去图书馆学习，资源共享；遇到困难就相互鼓励、一起出谋划策。</a:t>
            </a:r>
            <a:r>
              <a:rPr lang="zh-CN" altLang="en-US" dirty="0" smtClean="0">
                <a:solidFill>
                  <a:srgbClr val="002060"/>
                </a:solidFill>
                <a:latin typeface="黑体" pitchFamily="49" charset="-122"/>
                <a:ea typeface="黑体" pitchFamily="49" charset="-122"/>
              </a:rPr>
              <a:t>如学累了就逛校园散散心，抑或</a:t>
            </a:r>
            <a:r>
              <a:rPr lang="zh-CN" altLang="en-US" u="sng" dirty="0" smtClean="0">
                <a:solidFill>
                  <a:srgbClr val="FF0000"/>
                </a:solidFill>
                <a:latin typeface="黑体" pitchFamily="49" charset="-122"/>
                <a:ea typeface="黑体" pitchFamily="49" charset="-122"/>
              </a:rPr>
              <a:t>一起打羽毛球、跑步</a:t>
            </a:r>
            <a:r>
              <a:rPr lang="zh-CN" altLang="en-US" dirty="0" smtClean="0">
                <a:solidFill>
                  <a:srgbClr val="002060"/>
                </a:solidFill>
                <a:latin typeface="黑体" pitchFamily="49" charset="-122"/>
                <a:ea typeface="黑体" pitchFamily="49" charset="-122"/>
              </a:rPr>
              <a:t>。卢海松说，四人中若有谁感到泄气时，其他小伙伴要么使用“激将法”刺激他，要么耐心安慰疏导。</a:t>
            </a:r>
            <a:endParaRPr lang="zh-CN" altLang="en-US" dirty="0">
              <a:solidFill>
                <a:srgbClr val="002060"/>
              </a:solidFill>
              <a:latin typeface="黑体" pitchFamily="49" charset="-122"/>
              <a:ea typeface="黑体" pitchFamily="49" charset="-122"/>
            </a:endParaRPr>
          </a:p>
        </p:txBody>
      </p:sp>
      <p:pic>
        <p:nvPicPr>
          <p:cNvPr id="35" name="Picture 2" descr="http://news.cnhubei.com/xw/kj/201703/W020170318277477609951.jpg">
            <a:hlinkClick r:id="rId14" action="ppaction://hlinksldjump"/>
          </p:cNvPr>
          <p:cNvPicPr>
            <a:picLocks noChangeAspect="1" noChangeArrowheads="1"/>
          </p:cNvPicPr>
          <p:nvPr/>
        </p:nvPicPr>
        <p:blipFill>
          <a:blip r:embed="rId15" cstate="print"/>
          <a:srcRect/>
          <a:stretch>
            <a:fillRect/>
          </a:stretch>
        </p:blipFill>
        <p:spPr bwMode="auto">
          <a:xfrm>
            <a:off x="251520" y="1988840"/>
            <a:ext cx="3672408" cy="4248472"/>
          </a:xfrm>
          <a:prstGeom prst="rect">
            <a:avLst/>
          </a:prstGeom>
          <a:noFill/>
        </p:spPr>
      </p:pic>
      <p:sp>
        <p:nvSpPr>
          <p:cNvPr id="36" name="矩形 35"/>
          <p:cNvSpPr/>
          <p:nvPr/>
        </p:nvSpPr>
        <p:spPr>
          <a:xfrm>
            <a:off x="395536" y="5517232"/>
            <a:ext cx="3788008" cy="646331"/>
          </a:xfrm>
          <a:prstGeom prst="rect">
            <a:avLst/>
          </a:prstGeom>
        </p:spPr>
        <p:txBody>
          <a:bodyPr wrap="square">
            <a:spAutoFit/>
          </a:bodyPr>
          <a:lstStyle/>
          <a:p>
            <a:r>
              <a:rPr lang="zh-CN" altLang="en-US" b="1" dirty="0" smtClean="0">
                <a:solidFill>
                  <a:srgbClr val="002060"/>
                </a:solidFill>
              </a:rPr>
              <a:t>刘飞、卢海松、付威威、杜科睿（从左到右）</a:t>
            </a:r>
            <a:endParaRPr lang="zh-CN" altLang="en-US" b="1" dirty="0">
              <a:solidFill>
                <a:srgbClr val="002060"/>
              </a:solidFill>
            </a:endParaRPr>
          </a:p>
        </p:txBody>
      </p:sp>
      <p:pic>
        <p:nvPicPr>
          <p:cNvPr id="22" name="Picture 2">
            <a:hlinkClick r:id="rId5" action="ppaction://hlinksldjump"/>
          </p:cNvPr>
          <p:cNvPicPr>
            <a:picLocks noChangeAspect="1" noChangeArrowheads="1"/>
          </p:cNvPicPr>
          <p:nvPr/>
        </p:nvPicPr>
        <p:blipFill>
          <a:blip r:embed="rId16" cstate="print"/>
          <a:srcRect/>
          <a:stretch>
            <a:fillRect/>
          </a:stretch>
        </p:blipFill>
        <p:spPr bwMode="auto">
          <a:xfrm>
            <a:off x="4283968" y="2204864"/>
            <a:ext cx="4392488" cy="3960440"/>
          </a:xfrm>
          <a:prstGeom prst="rect">
            <a:avLst/>
          </a:prstGeom>
          <a:noFill/>
          <a:ln w="9525">
            <a:noFill/>
            <a:miter lim="800000"/>
            <a:headEnd/>
            <a:tailEnd/>
          </a:ln>
        </p:spPr>
      </p:pic>
      <p:sp>
        <p:nvSpPr>
          <p:cNvPr id="23" name="圆角矩形 22"/>
          <p:cNvSpPr/>
          <p:nvPr/>
        </p:nvSpPr>
        <p:spPr>
          <a:xfrm>
            <a:off x="7236296" y="4221088"/>
            <a:ext cx="1512168" cy="1944216"/>
          </a:xfrm>
          <a:prstGeom prst="roundRect">
            <a:avLst>
              <a:gd name="adj" fmla="val 7198"/>
            </a:avLst>
          </a:prstGeom>
          <a:noFill/>
          <a:ln w="38100" cap="flat" cmpd="sng" algn="ctr">
            <a:solidFill>
              <a:srgbClr val="FF0000"/>
            </a:solidFill>
            <a:prstDash val="solid"/>
          </a:ln>
          <a:effectLst/>
        </p:spPr>
        <p:txBody>
          <a:bodyPr rtlCol="0" anchor="ctr"/>
          <a:lstStyle/>
          <a:p>
            <a:pPr algn="ctr">
              <a:defRPr/>
            </a:pPr>
            <a:endParaRPr lang="zh-CN" altLang="en-US" kern="0">
              <a:solidFill>
                <a:prstClr val="white"/>
              </a:solidFill>
              <a:ea typeface="宋体"/>
            </a:endParaRPr>
          </a:p>
        </p:txBody>
      </p:sp>
    </p:spTree>
  </p:cSld>
  <p:clrMapOvr>
    <a:masterClrMapping/>
  </p:clrMapOvr>
  <p:transition advTm="2160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1" fill="hold" grpId="0" nodeType="after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slide(fromTop)">
                                      <p:cBhvr>
                                        <p:cTn id="7" dur="500"/>
                                        <p:tgtEl>
                                          <p:spTgt spid="20"/>
                                        </p:tgtEl>
                                      </p:cBhvr>
                                    </p:animEffect>
                                  </p:childTnLst>
                                </p:cTn>
                              </p:par>
                            </p:childTnLst>
                          </p:cTn>
                        </p:par>
                        <p:par>
                          <p:cTn id="8" fill="hold">
                            <p:stCondLst>
                              <p:cond delay="500"/>
                            </p:stCondLst>
                            <p:childTnLst>
                              <p:par>
                                <p:cTn id="9" presetID="22" presetClass="entr" presetSubtype="4" fill="hold" nodeType="afterEffect">
                                  <p:stCondLst>
                                    <p:cond delay="0"/>
                                  </p:stCondLst>
                                  <p:childTnLst>
                                    <p:set>
                                      <p:cBhvr>
                                        <p:cTn id="10" dur="1" fill="hold">
                                          <p:stCondLst>
                                            <p:cond delay="0"/>
                                          </p:stCondLst>
                                        </p:cTn>
                                        <p:tgtEl>
                                          <p:spTgt spid="2"/>
                                        </p:tgtEl>
                                        <p:attrNameLst>
                                          <p:attrName>style.visibility</p:attrName>
                                        </p:attrNameLst>
                                      </p:cBhvr>
                                      <p:to>
                                        <p:strVal val="visible"/>
                                      </p:to>
                                    </p:set>
                                    <p:animEffect transition="in" filter="wipe(down)">
                                      <p:cBhvr>
                                        <p:cTn id="11" dur="2000"/>
                                        <p:tgtEl>
                                          <p:spTgt spid="2"/>
                                        </p:tgtEl>
                                      </p:cBhvr>
                                    </p:animEffect>
                                  </p:childTnLst>
                                </p:cTn>
                              </p:par>
                            </p:childTnLst>
                          </p:cTn>
                        </p:par>
                        <p:par>
                          <p:cTn id="12" fill="hold">
                            <p:stCondLst>
                              <p:cond delay="2500"/>
                            </p:stCondLst>
                            <p:childTnLst>
                              <p:par>
                                <p:cTn id="13" presetID="22" presetClass="entr" presetSubtype="4" fill="hold" grpId="0" nodeType="afterEffect">
                                  <p:stCondLst>
                                    <p:cond delay="0"/>
                                  </p:stCondLst>
                                  <p:childTnLst>
                                    <p:set>
                                      <p:cBhvr>
                                        <p:cTn id="14" dur="1" fill="hold">
                                          <p:stCondLst>
                                            <p:cond delay="0"/>
                                          </p:stCondLst>
                                        </p:cTn>
                                        <p:tgtEl>
                                          <p:spTgt spid="38"/>
                                        </p:tgtEl>
                                        <p:attrNameLst>
                                          <p:attrName>style.visibility</p:attrName>
                                        </p:attrNameLst>
                                      </p:cBhvr>
                                      <p:to>
                                        <p:strVal val="visible"/>
                                      </p:to>
                                    </p:set>
                                    <p:animEffect transition="in" filter="wipe(down)">
                                      <p:cBhvr>
                                        <p:cTn id="15" dur="1000"/>
                                        <p:tgtEl>
                                          <p:spTgt spid="38"/>
                                        </p:tgtEl>
                                      </p:cBhvr>
                                    </p:animEffect>
                                  </p:childTnLst>
                                </p:cTn>
                              </p:par>
                            </p:childTnLst>
                          </p:cTn>
                        </p:par>
                        <p:par>
                          <p:cTn id="16" fill="hold">
                            <p:stCondLst>
                              <p:cond delay="3500"/>
                            </p:stCondLst>
                            <p:childTnLst>
                              <p:par>
                                <p:cTn id="17" presetID="5" presetClass="entr" presetSubtype="10" fill="hold" nodeType="afterEffect">
                                  <p:stCondLst>
                                    <p:cond delay="0"/>
                                  </p:stCondLst>
                                  <p:childTnLst>
                                    <p:set>
                                      <p:cBhvr>
                                        <p:cTn id="18" dur="1" fill="hold">
                                          <p:stCondLst>
                                            <p:cond delay="0"/>
                                          </p:stCondLst>
                                        </p:cTn>
                                        <p:tgtEl>
                                          <p:spTgt spid="62"/>
                                        </p:tgtEl>
                                        <p:attrNameLst>
                                          <p:attrName>style.visibility</p:attrName>
                                        </p:attrNameLst>
                                      </p:cBhvr>
                                      <p:to>
                                        <p:strVal val="visible"/>
                                      </p:to>
                                    </p:set>
                                    <p:animEffect transition="in" filter="checkerboard(across)">
                                      <p:cBhvr>
                                        <p:cTn id="19" dur="500"/>
                                        <p:tgtEl>
                                          <p:spTgt spid="62"/>
                                        </p:tgtEl>
                                      </p:cBhvr>
                                    </p:animEffect>
                                  </p:childTnLst>
                                </p:cTn>
                              </p:par>
                            </p:childTnLst>
                          </p:cTn>
                        </p:par>
                        <p:par>
                          <p:cTn id="20" fill="hold">
                            <p:stCondLst>
                              <p:cond delay="4000"/>
                            </p:stCondLst>
                            <p:childTnLst>
                              <p:par>
                                <p:cTn id="21" presetID="12" presetClass="entr" presetSubtype="4" fill="hold" grpId="0" nodeType="afterEffect">
                                  <p:stCondLst>
                                    <p:cond delay="0"/>
                                  </p:stCondLst>
                                  <p:childTnLst>
                                    <p:set>
                                      <p:cBhvr>
                                        <p:cTn id="22" dur="1" fill="hold">
                                          <p:stCondLst>
                                            <p:cond delay="0"/>
                                          </p:stCondLst>
                                        </p:cTn>
                                        <p:tgtEl>
                                          <p:spTgt spid="30"/>
                                        </p:tgtEl>
                                        <p:attrNameLst>
                                          <p:attrName>style.visibility</p:attrName>
                                        </p:attrNameLst>
                                      </p:cBhvr>
                                      <p:to>
                                        <p:strVal val="visible"/>
                                      </p:to>
                                    </p:set>
                                    <p:animEffect transition="in" filter="slide(fromBottom)">
                                      <p:cBhvr>
                                        <p:cTn id="23" dur="1000"/>
                                        <p:tgtEl>
                                          <p:spTgt spid="30"/>
                                        </p:tgtEl>
                                      </p:cBhvr>
                                    </p:animEffect>
                                  </p:childTnLst>
                                </p:cTn>
                              </p:par>
                            </p:childTnLst>
                          </p:cTn>
                        </p:par>
                      </p:childTnLst>
                    </p:cTn>
                  </p:par>
                  <p:par>
                    <p:cTn id="24" fill="hold">
                      <p:stCondLst>
                        <p:cond delay="indefinite"/>
                      </p:stCondLst>
                      <p:childTnLst>
                        <p:par>
                          <p:cTn id="25" fill="hold">
                            <p:stCondLst>
                              <p:cond delay="0"/>
                            </p:stCondLst>
                            <p:childTnLst>
                              <p:par>
                                <p:cTn id="26" presetID="2" presetClass="entr" presetSubtype="4" fill="hold" nodeType="clickEffect">
                                  <p:stCondLst>
                                    <p:cond delay="0"/>
                                  </p:stCondLst>
                                  <p:childTnLst>
                                    <p:set>
                                      <p:cBhvr>
                                        <p:cTn id="27" dur="1" fill="hold">
                                          <p:stCondLst>
                                            <p:cond delay="0"/>
                                          </p:stCondLst>
                                        </p:cTn>
                                        <p:tgtEl>
                                          <p:spTgt spid="22"/>
                                        </p:tgtEl>
                                        <p:attrNameLst>
                                          <p:attrName>style.visibility</p:attrName>
                                        </p:attrNameLst>
                                      </p:cBhvr>
                                      <p:to>
                                        <p:strVal val="visible"/>
                                      </p:to>
                                    </p:set>
                                    <p:anim calcmode="lin" valueType="num">
                                      <p:cBhvr additive="base">
                                        <p:cTn id="28" dur="500" fill="hold"/>
                                        <p:tgtEl>
                                          <p:spTgt spid="22"/>
                                        </p:tgtEl>
                                        <p:attrNameLst>
                                          <p:attrName>ppt_x</p:attrName>
                                        </p:attrNameLst>
                                      </p:cBhvr>
                                      <p:tavLst>
                                        <p:tav tm="0">
                                          <p:val>
                                            <p:strVal val="#ppt_x"/>
                                          </p:val>
                                        </p:tav>
                                        <p:tav tm="100000">
                                          <p:val>
                                            <p:strVal val="#ppt_x"/>
                                          </p:val>
                                        </p:tav>
                                      </p:tavLst>
                                    </p:anim>
                                    <p:anim calcmode="lin" valueType="num">
                                      <p:cBhvr additive="base">
                                        <p:cTn id="29" dur="500" fill="hold"/>
                                        <p:tgtEl>
                                          <p:spTgt spid="22"/>
                                        </p:tgtEl>
                                        <p:attrNameLst>
                                          <p:attrName>ppt_y</p:attrName>
                                        </p:attrNameLst>
                                      </p:cBhvr>
                                      <p:tavLst>
                                        <p:tav tm="0">
                                          <p:val>
                                            <p:strVal val="1+#ppt_h/2"/>
                                          </p:val>
                                        </p:tav>
                                        <p:tav tm="100000">
                                          <p:val>
                                            <p:strVal val="#ppt_y"/>
                                          </p:val>
                                        </p:tav>
                                      </p:tavLst>
                                    </p:anim>
                                  </p:childTnLst>
                                </p:cTn>
                              </p:par>
                            </p:childTnLst>
                          </p:cTn>
                        </p:par>
                        <p:par>
                          <p:cTn id="30" fill="hold">
                            <p:stCondLst>
                              <p:cond delay="500"/>
                            </p:stCondLst>
                            <p:childTnLst>
                              <p:par>
                                <p:cTn id="31" presetID="53" presetClass="exit" presetSubtype="0" fill="hold" nodeType="afterEffect">
                                  <p:stCondLst>
                                    <p:cond delay="0"/>
                                  </p:stCondLst>
                                  <p:childTnLst>
                                    <p:anim calcmode="lin" valueType="num">
                                      <p:cBhvr>
                                        <p:cTn id="32" dur="500"/>
                                        <p:tgtEl>
                                          <p:spTgt spid="43"/>
                                        </p:tgtEl>
                                        <p:attrNameLst>
                                          <p:attrName>ppt_w</p:attrName>
                                        </p:attrNameLst>
                                      </p:cBhvr>
                                      <p:tavLst>
                                        <p:tav tm="0">
                                          <p:val>
                                            <p:strVal val="ppt_w"/>
                                          </p:val>
                                        </p:tav>
                                        <p:tav tm="100000">
                                          <p:val>
                                            <p:fltVal val="0"/>
                                          </p:val>
                                        </p:tav>
                                      </p:tavLst>
                                    </p:anim>
                                    <p:anim calcmode="lin" valueType="num">
                                      <p:cBhvr>
                                        <p:cTn id="33" dur="500"/>
                                        <p:tgtEl>
                                          <p:spTgt spid="43"/>
                                        </p:tgtEl>
                                        <p:attrNameLst>
                                          <p:attrName>ppt_h</p:attrName>
                                        </p:attrNameLst>
                                      </p:cBhvr>
                                      <p:tavLst>
                                        <p:tav tm="0">
                                          <p:val>
                                            <p:strVal val="ppt_h"/>
                                          </p:val>
                                        </p:tav>
                                        <p:tav tm="100000">
                                          <p:val>
                                            <p:fltVal val="0"/>
                                          </p:val>
                                        </p:tav>
                                      </p:tavLst>
                                    </p:anim>
                                    <p:animEffect transition="out" filter="fade">
                                      <p:cBhvr>
                                        <p:cTn id="34" dur="500"/>
                                        <p:tgtEl>
                                          <p:spTgt spid="43"/>
                                        </p:tgtEl>
                                      </p:cBhvr>
                                    </p:animEffect>
                                    <p:set>
                                      <p:cBhvr>
                                        <p:cTn id="35" dur="1" fill="hold">
                                          <p:stCondLst>
                                            <p:cond delay="499"/>
                                          </p:stCondLst>
                                        </p:cTn>
                                        <p:tgtEl>
                                          <p:spTgt spid="43"/>
                                        </p:tgtEl>
                                        <p:attrNameLst>
                                          <p:attrName>style.visibility</p:attrName>
                                        </p:attrNameLst>
                                      </p:cBhvr>
                                      <p:to>
                                        <p:strVal val="hidden"/>
                                      </p:to>
                                    </p:set>
                                  </p:childTnLst>
                                </p:cTn>
                              </p:par>
                            </p:childTnLst>
                          </p:cTn>
                        </p:par>
                        <p:par>
                          <p:cTn id="36" fill="hold">
                            <p:stCondLst>
                              <p:cond delay="1000"/>
                            </p:stCondLst>
                            <p:childTnLst>
                              <p:par>
                                <p:cTn id="37" presetID="23" presetClass="entr" presetSubtype="16" fill="hold" grpId="0" nodeType="afterEffect">
                                  <p:stCondLst>
                                    <p:cond delay="0"/>
                                  </p:stCondLst>
                                  <p:childTnLst>
                                    <p:set>
                                      <p:cBhvr>
                                        <p:cTn id="38" dur="1" fill="hold">
                                          <p:stCondLst>
                                            <p:cond delay="0"/>
                                          </p:stCondLst>
                                        </p:cTn>
                                        <p:tgtEl>
                                          <p:spTgt spid="23"/>
                                        </p:tgtEl>
                                        <p:attrNameLst>
                                          <p:attrName>style.visibility</p:attrName>
                                        </p:attrNameLst>
                                      </p:cBhvr>
                                      <p:to>
                                        <p:strVal val="visible"/>
                                      </p:to>
                                    </p:set>
                                    <p:anim calcmode="lin" valueType="num">
                                      <p:cBhvr>
                                        <p:cTn id="39" dur="500" fill="hold"/>
                                        <p:tgtEl>
                                          <p:spTgt spid="23"/>
                                        </p:tgtEl>
                                        <p:attrNameLst>
                                          <p:attrName>ppt_w</p:attrName>
                                        </p:attrNameLst>
                                      </p:cBhvr>
                                      <p:tavLst>
                                        <p:tav tm="0">
                                          <p:val>
                                            <p:fltVal val="0"/>
                                          </p:val>
                                        </p:tav>
                                        <p:tav tm="100000">
                                          <p:val>
                                            <p:strVal val="#ppt_w"/>
                                          </p:val>
                                        </p:tav>
                                      </p:tavLst>
                                    </p:anim>
                                    <p:anim calcmode="lin" valueType="num">
                                      <p:cBhvr>
                                        <p:cTn id="40" dur="500" fill="hold"/>
                                        <p:tgtEl>
                                          <p:spTgt spid="23"/>
                                        </p:tgtEl>
                                        <p:attrNameLst>
                                          <p:attrName>ppt_h</p:attrName>
                                        </p:attrNameLst>
                                      </p:cBhvr>
                                      <p:tavLst>
                                        <p:tav tm="0">
                                          <p:val>
                                            <p:fltVal val="0"/>
                                          </p:val>
                                        </p:tav>
                                        <p:tav tm="100000">
                                          <p:val>
                                            <p:strVal val="#ppt_h"/>
                                          </p:val>
                                        </p:tav>
                                      </p:tavLst>
                                    </p:anim>
                                  </p:childTnLst>
                                </p:cTn>
                              </p:par>
                            </p:childTnLst>
                          </p:cTn>
                        </p:par>
                      </p:childTnLst>
                    </p:cTn>
                  </p:par>
                  <p:par>
                    <p:cTn id="41" fill="hold">
                      <p:stCondLst>
                        <p:cond delay="indefinite"/>
                      </p:stCondLst>
                      <p:childTnLst>
                        <p:par>
                          <p:cTn id="42" fill="hold">
                            <p:stCondLst>
                              <p:cond delay="0"/>
                            </p:stCondLst>
                            <p:childTnLst>
                              <p:par>
                                <p:cTn id="43" presetID="53" presetClass="exit" presetSubtype="0" fill="hold" grpId="1" nodeType="clickEffect">
                                  <p:stCondLst>
                                    <p:cond delay="0"/>
                                  </p:stCondLst>
                                  <p:childTnLst>
                                    <p:anim calcmode="lin" valueType="num">
                                      <p:cBhvr>
                                        <p:cTn id="44" dur="500"/>
                                        <p:tgtEl>
                                          <p:spTgt spid="23"/>
                                        </p:tgtEl>
                                        <p:attrNameLst>
                                          <p:attrName>ppt_w</p:attrName>
                                        </p:attrNameLst>
                                      </p:cBhvr>
                                      <p:tavLst>
                                        <p:tav tm="0">
                                          <p:val>
                                            <p:strVal val="ppt_w"/>
                                          </p:val>
                                        </p:tav>
                                        <p:tav tm="100000">
                                          <p:val>
                                            <p:fltVal val="0"/>
                                          </p:val>
                                        </p:tav>
                                      </p:tavLst>
                                    </p:anim>
                                    <p:anim calcmode="lin" valueType="num">
                                      <p:cBhvr>
                                        <p:cTn id="45" dur="500"/>
                                        <p:tgtEl>
                                          <p:spTgt spid="23"/>
                                        </p:tgtEl>
                                        <p:attrNameLst>
                                          <p:attrName>ppt_h</p:attrName>
                                        </p:attrNameLst>
                                      </p:cBhvr>
                                      <p:tavLst>
                                        <p:tav tm="0">
                                          <p:val>
                                            <p:strVal val="ppt_h"/>
                                          </p:val>
                                        </p:tav>
                                        <p:tav tm="100000">
                                          <p:val>
                                            <p:fltVal val="0"/>
                                          </p:val>
                                        </p:tav>
                                      </p:tavLst>
                                    </p:anim>
                                    <p:animEffect transition="out" filter="fade">
                                      <p:cBhvr>
                                        <p:cTn id="46" dur="500"/>
                                        <p:tgtEl>
                                          <p:spTgt spid="23"/>
                                        </p:tgtEl>
                                      </p:cBhvr>
                                    </p:animEffect>
                                    <p:set>
                                      <p:cBhvr>
                                        <p:cTn id="47" dur="1" fill="hold">
                                          <p:stCondLst>
                                            <p:cond delay="499"/>
                                          </p:stCondLst>
                                        </p:cTn>
                                        <p:tgtEl>
                                          <p:spTgt spid="23"/>
                                        </p:tgtEl>
                                        <p:attrNameLst>
                                          <p:attrName>style.visibility</p:attrName>
                                        </p:attrNameLst>
                                      </p:cBhvr>
                                      <p:to>
                                        <p:strVal val="hidden"/>
                                      </p:to>
                                    </p:set>
                                  </p:childTnLst>
                                </p:cTn>
                              </p:par>
                            </p:childTnLst>
                          </p:cTn>
                        </p:par>
                        <p:par>
                          <p:cTn id="48" fill="hold">
                            <p:stCondLst>
                              <p:cond delay="500"/>
                            </p:stCondLst>
                            <p:childTnLst>
                              <p:par>
                                <p:cTn id="49" presetID="53" presetClass="exit" presetSubtype="0" fill="hold" nodeType="afterEffect">
                                  <p:stCondLst>
                                    <p:cond delay="0"/>
                                  </p:stCondLst>
                                  <p:childTnLst>
                                    <p:anim calcmode="lin" valueType="num">
                                      <p:cBhvr>
                                        <p:cTn id="50" dur="500"/>
                                        <p:tgtEl>
                                          <p:spTgt spid="22"/>
                                        </p:tgtEl>
                                        <p:attrNameLst>
                                          <p:attrName>ppt_w</p:attrName>
                                        </p:attrNameLst>
                                      </p:cBhvr>
                                      <p:tavLst>
                                        <p:tav tm="0">
                                          <p:val>
                                            <p:strVal val="ppt_w"/>
                                          </p:val>
                                        </p:tav>
                                        <p:tav tm="100000">
                                          <p:val>
                                            <p:fltVal val="0"/>
                                          </p:val>
                                        </p:tav>
                                      </p:tavLst>
                                    </p:anim>
                                    <p:anim calcmode="lin" valueType="num">
                                      <p:cBhvr>
                                        <p:cTn id="51" dur="500"/>
                                        <p:tgtEl>
                                          <p:spTgt spid="22"/>
                                        </p:tgtEl>
                                        <p:attrNameLst>
                                          <p:attrName>ppt_h</p:attrName>
                                        </p:attrNameLst>
                                      </p:cBhvr>
                                      <p:tavLst>
                                        <p:tav tm="0">
                                          <p:val>
                                            <p:strVal val="ppt_h"/>
                                          </p:val>
                                        </p:tav>
                                        <p:tav tm="100000">
                                          <p:val>
                                            <p:fltVal val="0"/>
                                          </p:val>
                                        </p:tav>
                                      </p:tavLst>
                                    </p:anim>
                                    <p:animEffect transition="out" filter="fade">
                                      <p:cBhvr>
                                        <p:cTn id="52" dur="500"/>
                                        <p:tgtEl>
                                          <p:spTgt spid="22"/>
                                        </p:tgtEl>
                                      </p:cBhvr>
                                    </p:animEffect>
                                    <p:set>
                                      <p:cBhvr>
                                        <p:cTn id="53" dur="1" fill="hold">
                                          <p:stCondLst>
                                            <p:cond delay="499"/>
                                          </p:stCondLst>
                                        </p:cTn>
                                        <p:tgtEl>
                                          <p:spTgt spid="22"/>
                                        </p:tgtEl>
                                        <p:attrNameLst>
                                          <p:attrName>style.visibility</p:attrName>
                                        </p:attrNameLst>
                                      </p:cBhvr>
                                      <p:to>
                                        <p:strVal val="hidden"/>
                                      </p:to>
                                    </p:set>
                                  </p:childTnLst>
                                </p:cTn>
                              </p:par>
                            </p:childTnLst>
                          </p:cTn>
                        </p:par>
                      </p:childTnLst>
                    </p:cTn>
                  </p:par>
                  <p:par>
                    <p:cTn id="54" fill="hold">
                      <p:stCondLst>
                        <p:cond delay="indefinite"/>
                      </p:stCondLst>
                      <p:childTnLst>
                        <p:par>
                          <p:cTn id="55" fill="hold">
                            <p:stCondLst>
                              <p:cond delay="0"/>
                            </p:stCondLst>
                            <p:childTnLst>
                              <p:par>
                                <p:cTn id="56" presetID="23" presetClass="entr" presetSubtype="16" fill="hold" nodeType="clickEffect">
                                  <p:stCondLst>
                                    <p:cond delay="0"/>
                                  </p:stCondLst>
                                  <p:childTnLst>
                                    <p:set>
                                      <p:cBhvr>
                                        <p:cTn id="57" dur="1" fill="hold">
                                          <p:stCondLst>
                                            <p:cond delay="0"/>
                                          </p:stCondLst>
                                        </p:cTn>
                                        <p:tgtEl>
                                          <p:spTgt spid="31"/>
                                        </p:tgtEl>
                                        <p:attrNameLst>
                                          <p:attrName>style.visibility</p:attrName>
                                        </p:attrNameLst>
                                      </p:cBhvr>
                                      <p:to>
                                        <p:strVal val="visible"/>
                                      </p:to>
                                    </p:set>
                                    <p:anim calcmode="lin" valueType="num">
                                      <p:cBhvr>
                                        <p:cTn id="58" dur="500" fill="hold"/>
                                        <p:tgtEl>
                                          <p:spTgt spid="31"/>
                                        </p:tgtEl>
                                        <p:attrNameLst>
                                          <p:attrName>ppt_w</p:attrName>
                                        </p:attrNameLst>
                                      </p:cBhvr>
                                      <p:tavLst>
                                        <p:tav tm="0">
                                          <p:val>
                                            <p:fltVal val="0"/>
                                          </p:val>
                                        </p:tav>
                                        <p:tav tm="100000">
                                          <p:val>
                                            <p:strVal val="#ppt_w"/>
                                          </p:val>
                                        </p:tav>
                                      </p:tavLst>
                                    </p:anim>
                                    <p:anim calcmode="lin" valueType="num">
                                      <p:cBhvr>
                                        <p:cTn id="59" dur="500" fill="hold"/>
                                        <p:tgtEl>
                                          <p:spTgt spid="31"/>
                                        </p:tgtEl>
                                        <p:attrNameLst>
                                          <p:attrName>ppt_h</p:attrName>
                                        </p:attrNameLst>
                                      </p:cBhvr>
                                      <p:tavLst>
                                        <p:tav tm="0">
                                          <p:val>
                                            <p:fltVal val="0"/>
                                          </p:val>
                                        </p:tav>
                                        <p:tav tm="100000">
                                          <p:val>
                                            <p:strVal val="#ppt_h"/>
                                          </p:val>
                                        </p:tav>
                                      </p:tavLst>
                                    </p:anim>
                                  </p:childTnLst>
                                </p:cTn>
                              </p:par>
                            </p:childTnLst>
                          </p:cTn>
                        </p:par>
                        <p:par>
                          <p:cTn id="60" fill="hold">
                            <p:stCondLst>
                              <p:cond delay="500"/>
                            </p:stCondLst>
                            <p:childTnLst>
                              <p:par>
                                <p:cTn id="61" presetID="23" presetClass="entr" presetSubtype="16" fill="hold" grpId="0" nodeType="afterEffect">
                                  <p:stCondLst>
                                    <p:cond delay="0"/>
                                  </p:stCondLst>
                                  <p:childTnLst>
                                    <p:set>
                                      <p:cBhvr>
                                        <p:cTn id="62" dur="1" fill="hold">
                                          <p:stCondLst>
                                            <p:cond delay="0"/>
                                          </p:stCondLst>
                                        </p:cTn>
                                        <p:tgtEl>
                                          <p:spTgt spid="34"/>
                                        </p:tgtEl>
                                        <p:attrNameLst>
                                          <p:attrName>style.visibility</p:attrName>
                                        </p:attrNameLst>
                                      </p:cBhvr>
                                      <p:to>
                                        <p:strVal val="visible"/>
                                      </p:to>
                                    </p:set>
                                    <p:anim calcmode="lin" valueType="num">
                                      <p:cBhvr>
                                        <p:cTn id="63" dur="500" fill="hold"/>
                                        <p:tgtEl>
                                          <p:spTgt spid="34"/>
                                        </p:tgtEl>
                                        <p:attrNameLst>
                                          <p:attrName>ppt_w</p:attrName>
                                        </p:attrNameLst>
                                      </p:cBhvr>
                                      <p:tavLst>
                                        <p:tav tm="0">
                                          <p:val>
                                            <p:fltVal val="0"/>
                                          </p:val>
                                        </p:tav>
                                        <p:tav tm="100000">
                                          <p:val>
                                            <p:strVal val="#ppt_w"/>
                                          </p:val>
                                        </p:tav>
                                      </p:tavLst>
                                    </p:anim>
                                    <p:anim calcmode="lin" valueType="num">
                                      <p:cBhvr>
                                        <p:cTn id="64" dur="500" fill="hold"/>
                                        <p:tgtEl>
                                          <p:spTgt spid="34"/>
                                        </p:tgtEl>
                                        <p:attrNameLst>
                                          <p:attrName>ppt_h</p:attrName>
                                        </p:attrNameLst>
                                      </p:cBhvr>
                                      <p:tavLst>
                                        <p:tav tm="0">
                                          <p:val>
                                            <p:fltVal val="0"/>
                                          </p:val>
                                        </p:tav>
                                        <p:tav tm="100000">
                                          <p:val>
                                            <p:strVal val="#ppt_h"/>
                                          </p:val>
                                        </p:tav>
                                      </p:tavLst>
                                    </p:anim>
                                  </p:childTnLst>
                                </p:cTn>
                              </p:par>
                            </p:childTnLst>
                          </p:cTn>
                        </p:par>
                        <p:par>
                          <p:cTn id="65" fill="hold">
                            <p:stCondLst>
                              <p:cond delay="1000"/>
                            </p:stCondLst>
                            <p:childTnLst>
                              <p:par>
                                <p:cTn id="66" presetID="12" presetClass="entr" presetSubtype="4" fill="hold" nodeType="afterEffect">
                                  <p:stCondLst>
                                    <p:cond delay="0"/>
                                  </p:stCondLst>
                                  <p:childTnLst>
                                    <p:set>
                                      <p:cBhvr>
                                        <p:cTn id="67" dur="1" fill="hold">
                                          <p:stCondLst>
                                            <p:cond delay="0"/>
                                          </p:stCondLst>
                                        </p:cTn>
                                        <p:tgtEl>
                                          <p:spTgt spid="35"/>
                                        </p:tgtEl>
                                        <p:attrNameLst>
                                          <p:attrName>style.visibility</p:attrName>
                                        </p:attrNameLst>
                                      </p:cBhvr>
                                      <p:to>
                                        <p:strVal val="visible"/>
                                      </p:to>
                                    </p:set>
                                    <p:animEffect transition="in" filter="slide(fromBottom)">
                                      <p:cBhvr>
                                        <p:cTn id="68" dur="500"/>
                                        <p:tgtEl>
                                          <p:spTgt spid="35"/>
                                        </p:tgtEl>
                                      </p:cBhvr>
                                    </p:animEffect>
                                  </p:childTnLst>
                                </p:cTn>
                              </p:par>
                            </p:childTnLst>
                          </p:cTn>
                        </p:par>
                        <p:par>
                          <p:cTn id="69" fill="hold">
                            <p:stCondLst>
                              <p:cond delay="1500"/>
                            </p:stCondLst>
                            <p:childTnLst>
                              <p:par>
                                <p:cTn id="70" presetID="12" presetClass="entr" presetSubtype="4" fill="hold" grpId="0" nodeType="afterEffect">
                                  <p:stCondLst>
                                    <p:cond delay="0"/>
                                  </p:stCondLst>
                                  <p:childTnLst>
                                    <p:set>
                                      <p:cBhvr>
                                        <p:cTn id="71" dur="1" fill="hold">
                                          <p:stCondLst>
                                            <p:cond delay="0"/>
                                          </p:stCondLst>
                                        </p:cTn>
                                        <p:tgtEl>
                                          <p:spTgt spid="36"/>
                                        </p:tgtEl>
                                        <p:attrNameLst>
                                          <p:attrName>style.visibility</p:attrName>
                                        </p:attrNameLst>
                                      </p:cBhvr>
                                      <p:to>
                                        <p:strVal val="visible"/>
                                      </p:to>
                                    </p:set>
                                    <p:animEffect transition="in" filter="slide(fromBottom)">
                                      <p:cBhvr>
                                        <p:cTn id="72" dur="500"/>
                                        <p:tgtEl>
                                          <p:spTgt spid="36"/>
                                        </p:tgtEl>
                                      </p:cBhvr>
                                    </p:animEffect>
                                  </p:childTnLst>
                                </p:cTn>
                              </p:par>
                            </p:childTnLst>
                          </p:cTn>
                        </p:par>
                      </p:childTnLst>
                    </p:cTn>
                  </p:par>
                  <p:par>
                    <p:cTn id="73" fill="hold">
                      <p:stCondLst>
                        <p:cond delay="indefinite"/>
                      </p:stCondLst>
                      <p:childTnLst>
                        <p:par>
                          <p:cTn id="74" fill="hold">
                            <p:stCondLst>
                              <p:cond delay="0"/>
                            </p:stCondLst>
                            <p:childTnLst>
                              <p:par>
                                <p:cTn id="75" presetID="53" presetClass="exit" presetSubtype="0" fill="hold" grpId="1" nodeType="clickEffect">
                                  <p:stCondLst>
                                    <p:cond delay="0"/>
                                  </p:stCondLst>
                                  <p:childTnLst>
                                    <p:anim calcmode="lin" valueType="num">
                                      <p:cBhvr>
                                        <p:cTn id="76" dur="500"/>
                                        <p:tgtEl>
                                          <p:spTgt spid="36"/>
                                        </p:tgtEl>
                                        <p:attrNameLst>
                                          <p:attrName>ppt_w</p:attrName>
                                        </p:attrNameLst>
                                      </p:cBhvr>
                                      <p:tavLst>
                                        <p:tav tm="0">
                                          <p:val>
                                            <p:strVal val="ppt_w"/>
                                          </p:val>
                                        </p:tav>
                                        <p:tav tm="100000">
                                          <p:val>
                                            <p:fltVal val="0"/>
                                          </p:val>
                                        </p:tav>
                                      </p:tavLst>
                                    </p:anim>
                                    <p:anim calcmode="lin" valueType="num">
                                      <p:cBhvr>
                                        <p:cTn id="77" dur="500"/>
                                        <p:tgtEl>
                                          <p:spTgt spid="36"/>
                                        </p:tgtEl>
                                        <p:attrNameLst>
                                          <p:attrName>ppt_h</p:attrName>
                                        </p:attrNameLst>
                                      </p:cBhvr>
                                      <p:tavLst>
                                        <p:tav tm="0">
                                          <p:val>
                                            <p:strVal val="ppt_h"/>
                                          </p:val>
                                        </p:tav>
                                        <p:tav tm="100000">
                                          <p:val>
                                            <p:fltVal val="0"/>
                                          </p:val>
                                        </p:tav>
                                      </p:tavLst>
                                    </p:anim>
                                    <p:animEffect transition="out" filter="fade">
                                      <p:cBhvr>
                                        <p:cTn id="78" dur="500"/>
                                        <p:tgtEl>
                                          <p:spTgt spid="36"/>
                                        </p:tgtEl>
                                      </p:cBhvr>
                                    </p:animEffect>
                                    <p:set>
                                      <p:cBhvr>
                                        <p:cTn id="79" dur="1" fill="hold">
                                          <p:stCondLst>
                                            <p:cond delay="499"/>
                                          </p:stCondLst>
                                        </p:cTn>
                                        <p:tgtEl>
                                          <p:spTgt spid="36"/>
                                        </p:tgtEl>
                                        <p:attrNameLst>
                                          <p:attrName>style.visibility</p:attrName>
                                        </p:attrNameLst>
                                      </p:cBhvr>
                                      <p:to>
                                        <p:strVal val="hidden"/>
                                      </p:to>
                                    </p:set>
                                  </p:childTnLst>
                                </p:cTn>
                              </p:par>
                            </p:childTnLst>
                          </p:cTn>
                        </p:par>
                        <p:par>
                          <p:cTn id="80" fill="hold">
                            <p:stCondLst>
                              <p:cond delay="500"/>
                            </p:stCondLst>
                            <p:childTnLst>
                              <p:par>
                                <p:cTn id="81" presetID="53" presetClass="exit" presetSubtype="0" fill="hold" nodeType="afterEffect">
                                  <p:stCondLst>
                                    <p:cond delay="0"/>
                                  </p:stCondLst>
                                  <p:childTnLst>
                                    <p:anim calcmode="lin" valueType="num">
                                      <p:cBhvr>
                                        <p:cTn id="82" dur="500"/>
                                        <p:tgtEl>
                                          <p:spTgt spid="35"/>
                                        </p:tgtEl>
                                        <p:attrNameLst>
                                          <p:attrName>ppt_w</p:attrName>
                                        </p:attrNameLst>
                                      </p:cBhvr>
                                      <p:tavLst>
                                        <p:tav tm="0">
                                          <p:val>
                                            <p:strVal val="ppt_w"/>
                                          </p:val>
                                        </p:tav>
                                        <p:tav tm="100000">
                                          <p:val>
                                            <p:fltVal val="0"/>
                                          </p:val>
                                        </p:tav>
                                      </p:tavLst>
                                    </p:anim>
                                    <p:anim calcmode="lin" valueType="num">
                                      <p:cBhvr>
                                        <p:cTn id="83" dur="500"/>
                                        <p:tgtEl>
                                          <p:spTgt spid="35"/>
                                        </p:tgtEl>
                                        <p:attrNameLst>
                                          <p:attrName>ppt_h</p:attrName>
                                        </p:attrNameLst>
                                      </p:cBhvr>
                                      <p:tavLst>
                                        <p:tav tm="0">
                                          <p:val>
                                            <p:strVal val="ppt_h"/>
                                          </p:val>
                                        </p:tav>
                                        <p:tav tm="100000">
                                          <p:val>
                                            <p:fltVal val="0"/>
                                          </p:val>
                                        </p:tav>
                                      </p:tavLst>
                                    </p:anim>
                                    <p:animEffect transition="out" filter="fade">
                                      <p:cBhvr>
                                        <p:cTn id="84" dur="500"/>
                                        <p:tgtEl>
                                          <p:spTgt spid="35"/>
                                        </p:tgtEl>
                                      </p:cBhvr>
                                    </p:animEffect>
                                    <p:set>
                                      <p:cBhvr>
                                        <p:cTn id="85" dur="1" fill="hold">
                                          <p:stCondLst>
                                            <p:cond delay="499"/>
                                          </p:stCondLst>
                                        </p:cTn>
                                        <p:tgtEl>
                                          <p:spTgt spid="35"/>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8" grpId="0"/>
      <p:bldGraphic spid="20" grpId="0">
        <p:bldAsOne/>
      </p:bldGraphic>
      <p:bldP spid="30" grpId="0"/>
      <p:bldP spid="34" grpId="0" animBg="1"/>
      <p:bldP spid="36" grpId="0"/>
      <p:bldP spid="36" grpId="1"/>
      <p:bldP spid="23" grpId="0" animBg="1"/>
      <p:bldP spid="23" grpId="1" animBg="1"/>
    </p:bldLst>
  </p:timing>
</p:sld>
</file>

<file path=ppt/slides/slide25.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309250" name="Rectangle 2"/>
          <p:cNvSpPr>
            <a:spLocks noGrp="1" noChangeArrowheads="1"/>
          </p:cNvSpPr>
          <p:nvPr>
            <p:ph type="title"/>
          </p:nvPr>
        </p:nvSpPr>
        <p:spPr>
          <a:xfrm>
            <a:off x="457200" y="277813"/>
            <a:ext cx="8229600" cy="712787"/>
          </a:xfrm>
        </p:spPr>
        <p:txBody>
          <a:bodyPr/>
          <a:lstStyle/>
          <a:p>
            <a:pPr eaLnBrk="1" hangingPunct="1">
              <a:defRPr/>
            </a:pPr>
            <a:endParaRPr lang="zh-CN" altLang="en-US" sz="3200" dirty="0" smtClean="0">
              <a:solidFill>
                <a:schemeClr val="hlink"/>
              </a:solidFill>
            </a:endParaRPr>
          </a:p>
        </p:txBody>
      </p:sp>
      <p:sp>
        <p:nvSpPr>
          <p:cNvPr id="5" name="TextBox 4"/>
          <p:cNvSpPr txBox="1"/>
          <p:nvPr/>
        </p:nvSpPr>
        <p:spPr>
          <a:xfrm>
            <a:off x="4191000" y="1600200"/>
            <a:ext cx="4343400" cy="3324225"/>
          </a:xfrm>
          <a:prstGeom prst="rect">
            <a:avLst/>
          </a:prstGeom>
          <a:blipFill>
            <a:blip r:embed="rId2" cstate="print"/>
            <a:tile tx="0" ty="0" sx="100000" sy="100000" flip="none" algn="tl"/>
          </a:blipFill>
          <a:ln>
            <a:solidFill>
              <a:srgbClr val="FF0000"/>
            </a:solidFill>
          </a:ln>
        </p:spPr>
        <p:txBody>
          <a:bodyPr lIns="91389" tIns="45694" rIns="91389" bIns="45694">
            <a:spAutoFit/>
          </a:bodyPr>
          <a:lstStyle/>
          <a:p>
            <a:pPr marL="342708" indent="-342708" fontAlgn="base">
              <a:spcBef>
                <a:spcPct val="20000"/>
              </a:spcBef>
              <a:spcAft>
                <a:spcPct val="0"/>
              </a:spcAft>
              <a:buClr>
                <a:srgbClr val="0000FF"/>
              </a:buClr>
              <a:buSzPct val="60000"/>
              <a:buFont typeface="Wingdings" pitchFamily="2" charset="2"/>
              <a:buChar char="n"/>
              <a:defRPr/>
            </a:pPr>
            <a:r>
              <a:rPr lang="en-US" altLang="zh-CN" sz="3200" b="1" kern="0" dirty="0">
                <a:solidFill>
                  <a:srgbClr val="000000"/>
                </a:solidFill>
                <a:effectLst>
                  <a:outerShdw blurRad="38100" dist="38100" dir="2700000" algn="tl">
                    <a:srgbClr val="FFFFFF"/>
                  </a:outerShdw>
                </a:effectLst>
                <a:latin typeface="黑体" pitchFamily="49" charset="-122"/>
              </a:rPr>
              <a:t>【</a:t>
            </a:r>
            <a:r>
              <a:rPr lang="zh-CN" altLang="en-US" sz="3200" b="1" kern="0" dirty="0">
                <a:solidFill>
                  <a:srgbClr val="000000"/>
                </a:solidFill>
                <a:effectLst>
                  <a:outerShdw blurRad="38100" dist="38100" dir="2700000" algn="tl">
                    <a:srgbClr val="FFFFFF"/>
                  </a:outerShdw>
                </a:effectLst>
                <a:latin typeface="黑体" pitchFamily="49" charset="-122"/>
              </a:rPr>
              <a:t>案例点评</a:t>
            </a:r>
            <a:r>
              <a:rPr lang="en-US" altLang="zh-CN" sz="3200" b="1" kern="0" dirty="0">
                <a:solidFill>
                  <a:srgbClr val="000000"/>
                </a:solidFill>
                <a:effectLst>
                  <a:outerShdw blurRad="38100" dist="38100" dir="2700000" algn="tl">
                    <a:srgbClr val="FFFFFF"/>
                  </a:outerShdw>
                </a:effectLst>
                <a:latin typeface="黑体" pitchFamily="49" charset="-122"/>
              </a:rPr>
              <a:t>】</a:t>
            </a:r>
            <a:r>
              <a:rPr lang="zh-CN" altLang="en-US" sz="3200" b="1" kern="0" dirty="0">
                <a:solidFill>
                  <a:srgbClr val="000000"/>
                </a:solidFill>
                <a:latin typeface="黑体" pitchFamily="49" charset="-122"/>
                <a:ea typeface="楷体_GB2312" pitchFamily="49" charset="-122"/>
              </a:rPr>
              <a:t>一个人、一个群体的力量总是有限的。</a:t>
            </a:r>
            <a:r>
              <a:rPr lang="zh-CN" altLang="en-US" sz="3200" b="1" kern="0" dirty="0">
                <a:solidFill>
                  <a:srgbClr val="000000"/>
                </a:solidFill>
                <a:latin typeface="Arial"/>
                <a:ea typeface="楷体_GB2312" pitchFamily="49" charset="-122"/>
              </a:rPr>
              <a:t>“</a:t>
            </a:r>
            <a:r>
              <a:rPr lang="zh-CN" altLang="en-US" sz="3200" b="1" kern="0" dirty="0">
                <a:solidFill>
                  <a:srgbClr val="000000"/>
                </a:solidFill>
                <a:latin typeface="黑体" pitchFamily="49" charset="-122"/>
                <a:ea typeface="楷体_GB2312" pitchFamily="49" charset="-122"/>
              </a:rPr>
              <a:t>众人拾柴火焰高</a:t>
            </a:r>
            <a:r>
              <a:rPr lang="zh-CN" altLang="en-US" sz="3200" b="1" kern="0" dirty="0">
                <a:solidFill>
                  <a:srgbClr val="000000"/>
                </a:solidFill>
                <a:latin typeface="Arial"/>
                <a:ea typeface="楷体_GB2312" pitchFamily="49" charset="-122"/>
              </a:rPr>
              <a:t>”</a:t>
            </a:r>
            <a:r>
              <a:rPr lang="zh-CN" altLang="en-US" sz="3200" b="1" kern="0" dirty="0">
                <a:solidFill>
                  <a:srgbClr val="000000"/>
                </a:solidFill>
                <a:latin typeface="黑体" pitchFamily="49" charset="-122"/>
                <a:ea typeface="楷体_GB2312" pitchFamily="49" charset="-122"/>
              </a:rPr>
              <a:t>，真正伟大的力量在于团结协作，团结就是力量。</a:t>
            </a:r>
            <a:r>
              <a:rPr lang="zh-CN" altLang="en-US" sz="3200" b="1" kern="0" dirty="0">
                <a:solidFill>
                  <a:srgbClr val="000000"/>
                </a:solidFill>
                <a:latin typeface="黑体" pitchFamily="49" charset="-122"/>
              </a:rPr>
              <a:t> </a:t>
            </a:r>
          </a:p>
          <a:p>
            <a:pPr fontAlgn="base">
              <a:spcBef>
                <a:spcPct val="0"/>
              </a:spcBef>
              <a:spcAft>
                <a:spcPct val="0"/>
              </a:spcAft>
              <a:defRPr/>
            </a:pPr>
            <a:endParaRPr lang="zh-CN" altLang="en-US" dirty="0">
              <a:solidFill>
                <a:srgbClr val="FFFFFF"/>
              </a:solidFill>
              <a:effectLst>
                <a:outerShdw blurRad="38100" dist="38100" dir="2700000" algn="tl">
                  <a:srgbClr val="000000">
                    <a:alpha val="43137"/>
                  </a:srgbClr>
                </a:outerShdw>
              </a:effectLst>
              <a:latin typeface="黑体" pitchFamily="49" charset="-122"/>
            </a:endParaRPr>
          </a:p>
        </p:txBody>
      </p:sp>
      <p:pic>
        <p:nvPicPr>
          <p:cNvPr id="372740" name="Picture 29" descr="运动边框"/>
          <p:cNvPicPr>
            <a:picLocks noChangeAspect="1" noChangeArrowheads="1" noCrop="1"/>
          </p:cNvPicPr>
          <p:nvPr/>
        </p:nvPicPr>
        <p:blipFill>
          <a:blip r:embed="rId3" cstate="print"/>
          <a:srcRect/>
          <a:stretch>
            <a:fillRect/>
          </a:stretch>
        </p:blipFill>
        <p:spPr bwMode="auto">
          <a:xfrm>
            <a:off x="5867400" y="6399213"/>
            <a:ext cx="3276600" cy="458787"/>
          </a:xfrm>
          <a:prstGeom prst="rect">
            <a:avLst/>
          </a:prstGeom>
          <a:noFill/>
          <a:ln w="9525">
            <a:noFill/>
            <a:miter lim="800000"/>
            <a:headEnd/>
            <a:tailEnd/>
          </a:ln>
        </p:spPr>
      </p:pic>
      <p:sp>
        <p:nvSpPr>
          <p:cNvPr id="126981" name="TextBox 6"/>
          <p:cNvSpPr txBox="1">
            <a:spLocks noChangeArrowheads="1"/>
          </p:cNvSpPr>
          <p:nvPr/>
        </p:nvSpPr>
        <p:spPr bwMode="auto">
          <a:xfrm>
            <a:off x="5518150" y="6400800"/>
            <a:ext cx="3581400" cy="646278"/>
          </a:xfrm>
          <a:prstGeom prst="rect">
            <a:avLst/>
          </a:prstGeom>
          <a:noFill/>
          <a:ln w="9525">
            <a:noFill/>
            <a:miter lim="800000"/>
            <a:headEnd/>
            <a:tailEnd/>
          </a:ln>
        </p:spPr>
        <p:txBody>
          <a:bodyPr lIns="91389" tIns="45694" rIns="91389" bIns="45694">
            <a:spAutoFit/>
          </a:bodyPr>
          <a:lstStyle/>
          <a:p>
            <a:pPr fontAlgn="base">
              <a:spcBef>
                <a:spcPct val="0"/>
              </a:spcBef>
              <a:spcAft>
                <a:spcPct val="0"/>
              </a:spcAft>
              <a:defRPr/>
            </a:pPr>
            <a:r>
              <a:rPr lang="zh-CN" altLang="en-US" b="1" dirty="0">
                <a:solidFill>
                  <a:srgbClr val="B3D1DF"/>
                </a:solidFill>
                <a:effectLst>
                  <a:outerShdw blurRad="38100" dist="38100" dir="2700000" algn="tl">
                    <a:srgbClr val="000000">
                      <a:alpha val="43137"/>
                    </a:srgbClr>
                  </a:outerShdw>
                </a:effectLst>
                <a:latin typeface="黑体" pitchFamily="49" charset="-122"/>
              </a:rPr>
              <a:t>      第三节      科学对待人生环境</a:t>
            </a:r>
          </a:p>
        </p:txBody>
      </p:sp>
      <p:pic>
        <p:nvPicPr>
          <p:cNvPr id="125961" name="Picture 9"/>
          <p:cNvPicPr>
            <a:picLocks noChangeAspect="1" noChangeArrowheads="1"/>
          </p:cNvPicPr>
          <p:nvPr/>
        </p:nvPicPr>
        <p:blipFill>
          <a:blip r:embed="rId4" cstate="print"/>
          <a:srcRect/>
          <a:stretch>
            <a:fillRect/>
          </a:stretch>
        </p:blipFill>
        <p:spPr bwMode="auto">
          <a:xfrm>
            <a:off x="152407" y="990600"/>
            <a:ext cx="3810001" cy="3048000"/>
          </a:xfrm>
          <a:prstGeom prst="rect">
            <a:avLst/>
          </a:prstGeom>
          <a:ln w="88900" cap="sq" cmpd="thickThin">
            <a:solidFill>
              <a:srgbClr val="000000"/>
            </a:solidFill>
            <a:prstDash val="solid"/>
            <a:miter lim="800000"/>
          </a:ln>
          <a:effectLst>
            <a:innerShdw blurRad="76200">
              <a:srgbClr val="000000"/>
            </a:innerShdw>
          </a:effectLst>
        </p:spPr>
      </p:pic>
      <p:pic>
        <p:nvPicPr>
          <p:cNvPr id="125963" name="Picture 11" descr="http://img.bimg.126.net/photo/vmEH1D6h-CK-1FK1lz4cHw==/304555924801706466.jpg"/>
          <p:cNvPicPr>
            <a:picLocks noChangeAspect="1" noChangeArrowheads="1"/>
          </p:cNvPicPr>
          <p:nvPr/>
        </p:nvPicPr>
        <p:blipFill>
          <a:blip r:embed="rId5" cstate="print"/>
          <a:srcRect/>
          <a:stretch>
            <a:fillRect/>
          </a:stretch>
        </p:blipFill>
        <p:spPr bwMode="auto">
          <a:xfrm>
            <a:off x="228600" y="4114800"/>
            <a:ext cx="3810000" cy="2743200"/>
          </a:xfrm>
          <a:prstGeom prst="rect">
            <a:avLst/>
          </a:prstGeom>
          <a:ln>
            <a:noFill/>
          </a:ln>
          <a:effectLst>
            <a:outerShdw blurRad="190500" algn="tl" rotWithShape="0">
              <a:srgbClr val="000000">
                <a:alpha val="70000"/>
              </a:srgbClr>
            </a:outerShdw>
          </a:effectLst>
        </p:spPr>
      </p:pic>
      <p:sp>
        <p:nvSpPr>
          <p:cNvPr id="11" name="矩形 10"/>
          <p:cNvSpPr/>
          <p:nvPr/>
        </p:nvSpPr>
        <p:spPr>
          <a:xfrm>
            <a:off x="381000" y="228601"/>
            <a:ext cx="6934200" cy="523168"/>
          </a:xfrm>
          <a:prstGeom prst="rect">
            <a:avLst/>
          </a:prstGeom>
          <a:solidFill>
            <a:srgbClr val="00B050">
              <a:alpha val="71000"/>
            </a:srgbClr>
          </a:solidFill>
        </p:spPr>
        <p:txBody>
          <a:bodyPr lIns="91389" tIns="45694" rIns="91389" bIns="45694">
            <a:spAutoFit/>
          </a:bodyPr>
          <a:lstStyle/>
          <a:p>
            <a:pPr algn="ctr" fontAlgn="base">
              <a:spcBef>
                <a:spcPct val="0"/>
              </a:spcBef>
              <a:spcAft>
                <a:spcPct val="0"/>
              </a:spcAft>
              <a:defRPr/>
            </a:pPr>
            <a:r>
              <a:rPr lang="en-US" altLang="zh-CN" sz="2800" b="1" dirty="0">
                <a:ln w="10541" cmpd="sng">
                  <a:solidFill>
                    <a:srgbClr val="5089A8">
                      <a:shade val="88000"/>
                      <a:satMod val="110000"/>
                    </a:srgbClr>
                  </a:solidFill>
                  <a:prstDash val="solid"/>
                </a:ln>
                <a:solidFill>
                  <a:srgbClr val="FF0000"/>
                </a:solidFill>
                <a:effectLst>
                  <a:outerShdw blurRad="38100" dist="38100" dir="2700000" algn="tl">
                    <a:srgbClr val="000000">
                      <a:alpha val="43137"/>
                    </a:srgbClr>
                  </a:outerShdw>
                </a:effectLst>
                <a:latin typeface="黑体" pitchFamily="49" charset="-122"/>
                <a:ea typeface="黑体" pitchFamily="49" charset="-122"/>
              </a:rPr>
              <a:t>【</a:t>
            </a:r>
            <a:r>
              <a:rPr lang="zh-CN" altLang="en-US" sz="2800" b="1" dirty="0">
                <a:ln w="10541" cmpd="sng">
                  <a:solidFill>
                    <a:srgbClr val="5089A8">
                      <a:shade val="88000"/>
                      <a:satMod val="110000"/>
                    </a:srgbClr>
                  </a:solidFill>
                  <a:prstDash val="solid"/>
                </a:ln>
                <a:solidFill>
                  <a:srgbClr val="FF0000"/>
                </a:solidFill>
                <a:effectLst>
                  <a:outerShdw blurRad="38100" dist="38100" dir="2700000" algn="tl">
                    <a:srgbClr val="000000">
                      <a:alpha val="43137"/>
                    </a:srgbClr>
                  </a:outerShdw>
                </a:effectLst>
                <a:latin typeface="黑体" pitchFamily="49" charset="-122"/>
                <a:ea typeface="黑体" pitchFamily="49" charset="-122"/>
              </a:rPr>
              <a:t>案例</a:t>
            </a:r>
            <a:r>
              <a:rPr lang="en-US" altLang="zh-CN" sz="2800" b="1" dirty="0">
                <a:ln w="10541" cmpd="sng">
                  <a:solidFill>
                    <a:srgbClr val="5089A8">
                      <a:shade val="88000"/>
                      <a:satMod val="110000"/>
                    </a:srgbClr>
                  </a:solidFill>
                  <a:prstDash val="solid"/>
                </a:ln>
                <a:solidFill>
                  <a:srgbClr val="FF0000"/>
                </a:solidFill>
                <a:effectLst>
                  <a:outerShdw blurRad="38100" dist="38100" dir="2700000" algn="tl">
                    <a:srgbClr val="000000">
                      <a:alpha val="43137"/>
                    </a:srgbClr>
                  </a:outerShdw>
                </a:effectLst>
                <a:latin typeface="黑体" pitchFamily="49" charset="-122"/>
                <a:ea typeface="黑体" pitchFamily="49" charset="-122"/>
              </a:rPr>
              <a:t>】</a:t>
            </a:r>
            <a:r>
              <a:rPr lang="zh-CN" altLang="en-US" sz="2800" b="1" dirty="0">
                <a:ln w="10541" cmpd="sng">
                  <a:solidFill>
                    <a:srgbClr val="5089A8">
                      <a:shade val="88000"/>
                      <a:satMod val="110000"/>
                    </a:srgbClr>
                  </a:solidFill>
                  <a:prstDash val="solid"/>
                </a:ln>
                <a:solidFill>
                  <a:srgbClr val="FF0000"/>
                </a:solidFill>
                <a:effectLst>
                  <a:outerShdw blurRad="38100" dist="38100" dir="2700000" algn="tl">
                    <a:srgbClr val="000000">
                      <a:alpha val="43137"/>
                    </a:srgbClr>
                  </a:outerShdw>
                </a:effectLst>
                <a:latin typeface="黑体" pitchFamily="49" charset="-122"/>
                <a:ea typeface="黑体" pitchFamily="49" charset="-122"/>
              </a:rPr>
              <a:t>两个饥饿的人</a:t>
            </a:r>
            <a:r>
              <a:rPr lang="en-US" altLang="zh-CN" sz="2800" b="1" dirty="0">
                <a:ln w="10541" cmpd="sng">
                  <a:solidFill>
                    <a:srgbClr val="5089A8">
                      <a:shade val="88000"/>
                      <a:satMod val="110000"/>
                    </a:srgbClr>
                  </a:solidFill>
                  <a:prstDash val="solid"/>
                </a:ln>
                <a:solidFill>
                  <a:srgbClr val="FF0000"/>
                </a:solidFill>
                <a:effectLst>
                  <a:outerShdw blurRad="38100" dist="38100" dir="2700000" algn="tl">
                    <a:srgbClr val="000000">
                      <a:alpha val="43137"/>
                    </a:srgbClr>
                  </a:outerShdw>
                </a:effectLst>
                <a:latin typeface="黑体" pitchFamily="49" charset="-122"/>
                <a:ea typeface="黑体" pitchFamily="49" charset="-122"/>
              </a:rPr>
              <a:t>——</a:t>
            </a:r>
            <a:r>
              <a:rPr lang="zh-CN" altLang="en-US" sz="2800" b="1" dirty="0">
                <a:ln w="10541" cmpd="sng">
                  <a:solidFill>
                    <a:srgbClr val="5089A8">
                      <a:shade val="88000"/>
                      <a:satMod val="110000"/>
                    </a:srgbClr>
                  </a:solidFill>
                  <a:prstDash val="solid"/>
                </a:ln>
                <a:solidFill>
                  <a:srgbClr val="FF0000"/>
                </a:solidFill>
                <a:effectLst>
                  <a:outerShdw blurRad="38100" dist="38100" dir="2700000" algn="tl">
                    <a:srgbClr val="000000">
                      <a:alpha val="43137"/>
                    </a:srgbClr>
                  </a:outerShdw>
                </a:effectLst>
                <a:latin typeface="黑体" pitchFamily="49" charset="-122"/>
                <a:ea typeface="黑体" pitchFamily="49" charset="-122"/>
              </a:rPr>
              <a:t>合作胜于单干</a:t>
            </a:r>
          </a:p>
        </p:txBody>
      </p:sp>
    </p:spTree>
  </p:cSld>
  <p:clrMapOvr>
    <a:masterClrMapping/>
  </p:clrMapOvr>
  <p:transition spd="slow">
    <p:plus/>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 presetClass="entr" presetSubtype="10" fill="hold" grpId="0" nodeType="afterEffect" nodePh="1">
                                  <p:stCondLst>
                                    <p:cond delay="0"/>
                                  </p:stCondLst>
                                  <p:endCondLst>
                                    <p:cond evt="begin" delay="0">
                                      <p:tn val="5"/>
                                    </p:cond>
                                  </p:endCondLst>
                                  <p:childTnLst>
                                    <p:set>
                                      <p:cBhvr>
                                        <p:cTn id="6" dur="1" fill="hold">
                                          <p:stCondLst>
                                            <p:cond delay="0"/>
                                          </p:stCondLst>
                                        </p:cTn>
                                        <p:tgtEl>
                                          <p:spTgt spid="309250"/>
                                        </p:tgtEl>
                                        <p:attrNameLst>
                                          <p:attrName>style.visibility</p:attrName>
                                        </p:attrNameLst>
                                      </p:cBhvr>
                                      <p:to>
                                        <p:strVal val="visible"/>
                                      </p:to>
                                    </p:set>
                                    <p:animEffect transition="in" filter="checkerboard(across)">
                                      <p:cBhvr>
                                        <p:cTn id="7" dur="500"/>
                                        <p:tgtEl>
                                          <p:spTgt spid="309250"/>
                                        </p:tgtEl>
                                      </p:cBhvr>
                                    </p:animEffect>
                                  </p:childTnLst>
                                </p:cTn>
                              </p:par>
                            </p:childTnLst>
                          </p:cTn>
                        </p:par>
                        <p:par>
                          <p:cTn id="8" fill="hold">
                            <p:stCondLst>
                              <p:cond delay="500"/>
                            </p:stCondLst>
                            <p:childTnLst>
                              <p:par>
                                <p:cTn id="9" presetID="8" presetClass="entr" presetSubtype="16" fill="hold" nodeType="afterEffect">
                                  <p:stCondLst>
                                    <p:cond delay="0"/>
                                  </p:stCondLst>
                                  <p:childTnLst>
                                    <p:set>
                                      <p:cBhvr>
                                        <p:cTn id="10" dur="1" fill="hold">
                                          <p:stCondLst>
                                            <p:cond delay="0"/>
                                          </p:stCondLst>
                                        </p:cTn>
                                        <p:tgtEl>
                                          <p:spTgt spid="125961"/>
                                        </p:tgtEl>
                                        <p:attrNameLst>
                                          <p:attrName>style.visibility</p:attrName>
                                        </p:attrNameLst>
                                      </p:cBhvr>
                                      <p:to>
                                        <p:strVal val="visible"/>
                                      </p:to>
                                    </p:set>
                                    <p:animEffect transition="in" filter="diamond(in)">
                                      <p:cBhvr>
                                        <p:cTn id="11" dur="2000"/>
                                        <p:tgtEl>
                                          <p:spTgt spid="125961"/>
                                        </p:tgtEl>
                                      </p:cBhvr>
                                    </p:animEffect>
                                  </p:childTnLst>
                                </p:cTn>
                              </p:par>
                            </p:childTnLst>
                          </p:cTn>
                        </p:par>
                        <p:par>
                          <p:cTn id="12" fill="hold">
                            <p:stCondLst>
                              <p:cond delay="2500"/>
                            </p:stCondLst>
                            <p:childTnLst>
                              <p:par>
                                <p:cTn id="13" presetID="5" presetClass="entr" presetSubtype="10" fill="hold" nodeType="afterEffect">
                                  <p:stCondLst>
                                    <p:cond delay="3000"/>
                                  </p:stCondLst>
                                  <p:childTnLst>
                                    <p:set>
                                      <p:cBhvr>
                                        <p:cTn id="14" dur="1" fill="hold">
                                          <p:stCondLst>
                                            <p:cond delay="0"/>
                                          </p:stCondLst>
                                        </p:cTn>
                                        <p:tgtEl>
                                          <p:spTgt spid="125963"/>
                                        </p:tgtEl>
                                        <p:attrNameLst>
                                          <p:attrName>style.visibility</p:attrName>
                                        </p:attrNameLst>
                                      </p:cBhvr>
                                      <p:to>
                                        <p:strVal val="visible"/>
                                      </p:to>
                                    </p:set>
                                    <p:animEffect transition="in" filter="checkerboard(across)">
                                      <p:cBhvr>
                                        <p:cTn id="15" dur="500"/>
                                        <p:tgtEl>
                                          <p:spTgt spid="125963"/>
                                        </p:tgtEl>
                                      </p:cBhvr>
                                    </p:animEffect>
                                  </p:childTnLst>
                                </p:cTn>
                              </p:par>
                            </p:childTnLst>
                          </p:cTn>
                        </p:par>
                        <p:par>
                          <p:cTn id="16" fill="hold">
                            <p:stCondLst>
                              <p:cond delay="6000"/>
                            </p:stCondLst>
                            <p:childTnLst>
                              <p:par>
                                <p:cTn id="17" presetID="1" presetClass="entr" presetSubtype="0" fill="hold" grpId="0" nodeType="afterEffect">
                                  <p:stCondLst>
                                    <p:cond delay="2000"/>
                                  </p:stCondLst>
                                  <p:childTnLst>
                                    <p:set>
                                      <p:cBhvr>
                                        <p:cTn id="18" dur="1" fill="hold">
                                          <p:stCondLst>
                                            <p:cond delay="499"/>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9250" grpId="0" autoUpdateAnimBg="0"/>
      <p:bldP spid="5" grpId="0" animBg="1" autoUpdateAnimBg="0"/>
    </p:bldLst>
  </p:timing>
</p:sld>
</file>

<file path=ppt/slides/slide26.xml><?xml version="1.0" encoding="utf-8"?>
<p:sld xmlns:a="http://schemas.openxmlformats.org/drawingml/2006/main" xmlns:r="http://schemas.openxmlformats.org/officeDocument/2006/relationships" xmlns:p="http://schemas.openxmlformats.org/presentationml/2006/main">
  <p:cSld>
    <p:bg>
      <p:bgPr>
        <a:solidFill>
          <a:schemeClr val="bg1">
            <a:alpha val="58038"/>
          </a:schemeClr>
        </a:solidFill>
        <a:effectLst/>
      </p:bgPr>
    </p:bg>
    <p:spTree>
      <p:nvGrpSpPr>
        <p:cNvPr id="1" name=""/>
        <p:cNvGrpSpPr/>
        <p:nvPr/>
      </p:nvGrpSpPr>
      <p:grpSpPr>
        <a:xfrm>
          <a:off x="0" y="0"/>
          <a:ext cx="0" cy="0"/>
          <a:chOff x="0" y="0"/>
          <a:chExt cx="0" cy="0"/>
        </a:xfrm>
      </p:grpSpPr>
      <p:sp>
        <p:nvSpPr>
          <p:cNvPr id="18" name="标题 17"/>
          <p:cNvSpPr>
            <a:spLocks noGrp="1"/>
          </p:cNvSpPr>
          <p:nvPr>
            <p:ph type="title"/>
          </p:nvPr>
        </p:nvSpPr>
        <p:spPr/>
        <p:txBody>
          <a:bodyPr>
            <a:noAutofit/>
          </a:bodyPr>
          <a:lstStyle/>
          <a:p>
            <a:pPr>
              <a:defRPr/>
            </a:pPr>
            <a:r>
              <a:rPr lang="zh-CN" altLang="en-US" sz="4000" kern="100" dirty="0" smtClean="0">
                <a:solidFill>
                  <a:srgbClr val="FFFF00"/>
                </a:solidFill>
                <a:effectLst/>
                <a:cs typeface="+mn-cs"/>
              </a:rPr>
              <a:t>正确处理竞争与合作的关系</a:t>
            </a:r>
          </a:p>
        </p:txBody>
      </p:sp>
      <p:sp>
        <p:nvSpPr>
          <p:cNvPr id="19" name="内容占位符 18"/>
          <p:cNvSpPr>
            <a:spLocks noGrp="1"/>
          </p:cNvSpPr>
          <p:nvPr>
            <p:ph sz="quarter" idx="10"/>
          </p:nvPr>
        </p:nvSpPr>
        <p:spPr/>
        <p:txBody>
          <a:bodyPr>
            <a:normAutofit fontScale="85000" lnSpcReduction="20000"/>
          </a:bodyPr>
          <a:lstStyle/>
          <a:p>
            <a:pPr>
              <a:defRPr/>
            </a:pPr>
            <a:r>
              <a:rPr lang="en-US" altLang="zh-CN" dirty="0" smtClean="0"/>
              <a:t>3</a:t>
            </a:r>
          </a:p>
          <a:p>
            <a:pPr>
              <a:defRPr/>
            </a:pPr>
            <a:endParaRPr lang="zh-CN" altLang="en-US" dirty="0"/>
          </a:p>
        </p:txBody>
      </p:sp>
      <p:sp>
        <p:nvSpPr>
          <p:cNvPr id="21" name="内容占位符 3"/>
          <p:cNvSpPr txBox="1">
            <a:spLocks/>
          </p:cNvSpPr>
          <p:nvPr/>
        </p:nvSpPr>
        <p:spPr bwMode="auto">
          <a:xfrm>
            <a:off x="361950" y="114300"/>
            <a:ext cx="544513" cy="525463"/>
          </a:xfrm>
          <a:prstGeom prst="rect">
            <a:avLst/>
          </a:prstGeom>
          <a:noFill/>
          <a:ln w="9525">
            <a:noFill/>
            <a:miter lim="800000"/>
            <a:headEnd/>
            <a:tailEnd/>
          </a:ln>
        </p:spPr>
        <p:txBody>
          <a:bodyPr lIns="91389" tIns="45694" rIns="91389" bIns="45694"/>
          <a:lstStyle/>
          <a:p>
            <a:pPr algn="ctr" eaLnBrk="0" fontAlgn="base" hangingPunct="0">
              <a:spcBef>
                <a:spcPct val="20000"/>
              </a:spcBef>
              <a:spcAft>
                <a:spcPct val="0"/>
              </a:spcAft>
              <a:defRPr/>
            </a:pPr>
            <a:endParaRPr lang="zh-CN" altLang="en-US" sz="3600" b="1" dirty="0">
              <a:solidFill>
                <a:prstClr val="white"/>
              </a:solidFill>
              <a:effectLst>
                <a:outerShdw blurRad="38100" dist="38100" dir="2700000" algn="tl">
                  <a:srgbClr val="000000">
                    <a:alpha val="43137"/>
                  </a:srgbClr>
                </a:outerShdw>
              </a:effectLst>
              <a:latin typeface="黑体" panose="02010609060101010101" pitchFamily="49" charset="-122"/>
              <a:ea typeface="黑体" panose="02010609060101010101" pitchFamily="49" charset="-122"/>
            </a:endParaRPr>
          </a:p>
        </p:txBody>
      </p:sp>
      <p:sp>
        <p:nvSpPr>
          <p:cNvPr id="122910" name="AutoShape 16" descr="http://img2.imgtn.bdimg.com/it/u=2560174535,624115299&amp;fm=21&amp;gp=0.jpg"/>
          <p:cNvSpPr>
            <a:spLocks noChangeAspect="1" noChangeArrowheads="1"/>
          </p:cNvSpPr>
          <p:nvPr/>
        </p:nvSpPr>
        <p:spPr bwMode="auto">
          <a:xfrm>
            <a:off x="63500" y="-144463"/>
            <a:ext cx="304800" cy="304801"/>
          </a:xfrm>
          <a:prstGeom prst="rect">
            <a:avLst/>
          </a:prstGeom>
          <a:noFill/>
          <a:ln w="9525">
            <a:noFill/>
            <a:miter lim="800000"/>
            <a:headEnd/>
            <a:tailEnd/>
          </a:ln>
        </p:spPr>
        <p:txBody>
          <a:bodyPr lIns="91389" tIns="45694" rIns="91389" bIns="45694"/>
          <a:lstStyle/>
          <a:p>
            <a:pPr fontAlgn="base">
              <a:spcBef>
                <a:spcPct val="0"/>
              </a:spcBef>
              <a:spcAft>
                <a:spcPct val="0"/>
              </a:spcAft>
              <a:defRPr/>
            </a:pPr>
            <a:endParaRPr lang="zh-CN" altLang="en-US">
              <a:solidFill>
                <a:prstClr val="black"/>
              </a:solidFill>
              <a:effectLst>
                <a:outerShdw blurRad="38100" dist="38100" dir="2700000" algn="tl">
                  <a:srgbClr val="000000">
                    <a:alpha val="43137"/>
                  </a:srgbClr>
                </a:outerShdw>
              </a:effectLst>
              <a:latin typeface="Times New Roman" pitchFamily="18" charset="0"/>
            </a:endParaRPr>
          </a:p>
        </p:txBody>
      </p:sp>
      <p:grpSp>
        <p:nvGrpSpPr>
          <p:cNvPr id="2" name="组合 17"/>
          <p:cNvGrpSpPr>
            <a:grpSpLocks/>
          </p:cNvGrpSpPr>
          <p:nvPr/>
        </p:nvGrpSpPr>
        <p:grpSpPr bwMode="auto">
          <a:xfrm>
            <a:off x="65088" y="1124744"/>
            <a:ext cx="4638675" cy="1216025"/>
            <a:chOff x="3060699" y="4772315"/>
            <a:chExt cx="4415706" cy="990214"/>
          </a:xfrm>
        </p:grpSpPr>
        <p:sp>
          <p:nvSpPr>
            <p:cNvPr id="22" name="圆角矩形 21"/>
            <p:cNvSpPr/>
            <p:nvPr/>
          </p:nvSpPr>
          <p:spPr>
            <a:xfrm>
              <a:off x="3060699" y="4896415"/>
              <a:ext cx="4060575" cy="742014"/>
            </a:xfrm>
            <a:prstGeom prst="roundRect">
              <a:avLst>
                <a:gd name="adj" fmla="val 50000"/>
              </a:avLst>
            </a:prstGeom>
            <a:solidFill>
              <a:schemeClr val="accent1">
                <a:lumMod val="60000"/>
                <a:lumOff val="40000"/>
              </a:schemeClr>
            </a:solidFill>
          </p:spPr>
          <p:txBody>
            <a:bodyPr anchor="ctr"/>
            <a:lstStyle/>
            <a:p>
              <a:pPr algn="ctr">
                <a:defRPr/>
              </a:pPr>
              <a:r>
                <a:rPr lang="zh-CN" altLang="en-US" sz="2000" dirty="0">
                  <a:solidFill>
                    <a:srgbClr val="FF0000"/>
                  </a:solidFill>
                  <a:latin typeface="黑体" charset="0"/>
                  <a:ea typeface="黑体" charset="0"/>
                  <a:sym typeface="Arial" pitchFamily="34" charset="0"/>
                </a:rPr>
                <a:t>从形式上看，竞争与合作是对立的</a:t>
              </a:r>
              <a:endParaRPr lang="zh-CN" altLang="da-DK" sz="2000" dirty="0">
                <a:solidFill>
                  <a:srgbClr val="FF0000"/>
                </a:solidFill>
                <a:latin typeface="黑体" charset="0"/>
                <a:ea typeface="黑体" charset="0"/>
                <a:sym typeface="Arial" pitchFamily="34" charset="0"/>
              </a:endParaRPr>
            </a:p>
          </p:txBody>
        </p:sp>
        <p:sp>
          <p:nvSpPr>
            <p:cNvPr id="23" name="任意多边形 14"/>
            <p:cNvSpPr>
              <a:spLocks noChangeArrowheads="1"/>
            </p:cNvSpPr>
            <p:nvPr/>
          </p:nvSpPr>
          <p:spPr bwMode="auto">
            <a:xfrm>
              <a:off x="6829614" y="4772315"/>
              <a:ext cx="646791" cy="990214"/>
            </a:xfrm>
            <a:custGeom>
              <a:avLst/>
              <a:gdLst>
                <a:gd name="T0" fmla="*/ 151381 w 646488"/>
                <a:gd name="T1" fmla="*/ 0 h 990214"/>
                <a:gd name="T2" fmla="*/ 646488 w 646488"/>
                <a:gd name="T3" fmla="*/ 495107 h 990214"/>
                <a:gd name="T4" fmla="*/ 151381 w 646488"/>
                <a:gd name="T5" fmla="*/ 990214 h 990214"/>
                <a:gd name="T6" fmla="*/ 51600 w 646488"/>
                <a:gd name="T7" fmla="*/ 980155 h 990214"/>
                <a:gd name="T8" fmla="*/ 0 w 646488"/>
                <a:gd name="T9" fmla="*/ 964138 h 990214"/>
                <a:gd name="T10" fmla="*/ 88175 w 646488"/>
                <a:gd name="T11" fmla="*/ 936767 h 990214"/>
                <a:gd name="T12" fmla="*/ 380926 w 646488"/>
                <a:gd name="T13" fmla="*/ 495107 h 990214"/>
                <a:gd name="T14" fmla="*/ 88175 w 646488"/>
                <a:gd name="T15" fmla="*/ 53447 h 990214"/>
                <a:gd name="T16" fmla="*/ 0 w 646488"/>
                <a:gd name="T17" fmla="*/ 26076 h 990214"/>
                <a:gd name="T18" fmla="*/ 51600 w 646488"/>
                <a:gd name="T19" fmla="*/ 10059 h 990214"/>
                <a:gd name="T20" fmla="*/ 151381 w 646488"/>
                <a:gd name="T21" fmla="*/ 0 h 99021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46488"/>
                <a:gd name="T34" fmla="*/ 0 h 990214"/>
                <a:gd name="T35" fmla="*/ 646488 w 646488"/>
                <a:gd name="T36" fmla="*/ 990214 h 99021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46488" h="990214">
                  <a:moveTo>
                    <a:pt x="151381" y="0"/>
                  </a:moveTo>
                  <a:cubicBezTo>
                    <a:pt x="424821" y="0"/>
                    <a:pt x="646488" y="221667"/>
                    <a:pt x="646488" y="495107"/>
                  </a:cubicBezTo>
                  <a:cubicBezTo>
                    <a:pt x="646488" y="768547"/>
                    <a:pt x="424821" y="990214"/>
                    <a:pt x="151381" y="990214"/>
                  </a:cubicBezTo>
                  <a:cubicBezTo>
                    <a:pt x="117201" y="990214"/>
                    <a:pt x="83830" y="986751"/>
                    <a:pt x="51600" y="980155"/>
                  </a:cubicBezTo>
                  <a:lnTo>
                    <a:pt x="0" y="964138"/>
                  </a:lnTo>
                  <a:lnTo>
                    <a:pt x="88175" y="936767"/>
                  </a:lnTo>
                  <a:cubicBezTo>
                    <a:pt x="260213" y="864002"/>
                    <a:pt x="380926" y="693652"/>
                    <a:pt x="380926" y="495107"/>
                  </a:cubicBezTo>
                  <a:cubicBezTo>
                    <a:pt x="380926" y="296563"/>
                    <a:pt x="260213" y="126213"/>
                    <a:pt x="88175" y="53447"/>
                  </a:cubicBezTo>
                  <a:lnTo>
                    <a:pt x="0" y="26076"/>
                  </a:lnTo>
                  <a:lnTo>
                    <a:pt x="51600" y="10059"/>
                  </a:lnTo>
                  <a:cubicBezTo>
                    <a:pt x="83830" y="3464"/>
                    <a:pt x="117201" y="0"/>
                    <a:pt x="151381" y="0"/>
                  </a:cubicBezTo>
                  <a:close/>
                </a:path>
              </a:pathLst>
            </a:custGeom>
            <a:solidFill>
              <a:schemeClr val="accent1"/>
            </a:solidFill>
            <a:ln w="9525">
              <a:noFill/>
              <a:miter lim="800000"/>
              <a:headEnd/>
              <a:tailEnd/>
            </a:ln>
          </p:spPr>
          <p:txBody>
            <a:bodyPr anchor="ctr"/>
            <a:lstStyle/>
            <a:p>
              <a:pPr algn="just" fontAlgn="base">
                <a:lnSpc>
                  <a:spcPct val="130000"/>
                </a:lnSpc>
                <a:spcBef>
                  <a:spcPct val="0"/>
                </a:spcBef>
                <a:spcAft>
                  <a:spcPct val="0"/>
                </a:spcAft>
                <a:defRPr/>
              </a:pPr>
              <a:endParaRPr lang="zh-CN" altLang="en-US">
                <a:solidFill>
                  <a:prstClr val="white"/>
                </a:solidFill>
                <a:effectLst>
                  <a:outerShdw blurRad="38100" dist="38100" dir="2700000" algn="tl">
                    <a:srgbClr val="000000">
                      <a:alpha val="43137"/>
                    </a:srgbClr>
                  </a:outerShdw>
                </a:effectLst>
                <a:sym typeface="Arial" pitchFamily="34" charset="0"/>
              </a:endParaRPr>
            </a:p>
          </p:txBody>
        </p:sp>
      </p:grpSp>
      <p:grpSp>
        <p:nvGrpSpPr>
          <p:cNvPr id="3" name="组合 18"/>
          <p:cNvGrpSpPr>
            <a:grpSpLocks/>
          </p:cNvGrpSpPr>
          <p:nvPr/>
        </p:nvGrpSpPr>
        <p:grpSpPr bwMode="auto">
          <a:xfrm>
            <a:off x="103188" y="3840957"/>
            <a:ext cx="5053012" cy="1216025"/>
            <a:chOff x="2578286" y="4772315"/>
            <a:chExt cx="4809624" cy="990214"/>
          </a:xfrm>
        </p:grpSpPr>
        <p:sp>
          <p:nvSpPr>
            <p:cNvPr id="25" name="任意多边形 24"/>
            <p:cNvSpPr/>
            <p:nvPr/>
          </p:nvSpPr>
          <p:spPr>
            <a:xfrm>
              <a:off x="6741187" y="4772315"/>
              <a:ext cx="646723" cy="990214"/>
            </a:xfrm>
            <a:custGeom>
              <a:avLst/>
              <a:gdLst>
                <a:gd name="connsiteX0" fmla="*/ 151381 w 646488"/>
                <a:gd name="connsiteY0" fmla="*/ 0 h 990214"/>
                <a:gd name="connsiteX1" fmla="*/ 646488 w 646488"/>
                <a:gd name="connsiteY1" fmla="*/ 495107 h 990214"/>
                <a:gd name="connsiteX2" fmla="*/ 151381 w 646488"/>
                <a:gd name="connsiteY2" fmla="*/ 990214 h 990214"/>
                <a:gd name="connsiteX3" fmla="*/ 51600 w 646488"/>
                <a:gd name="connsiteY3" fmla="*/ 980155 h 990214"/>
                <a:gd name="connsiteX4" fmla="*/ 0 w 646488"/>
                <a:gd name="connsiteY4" fmla="*/ 964138 h 990214"/>
                <a:gd name="connsiteX5" fmla="*/ 88175 w 646488"/>
                <a:gd name="connsiteY5" fmla="*/ 936767 h 990214"/>
                <a:gd name="connsiteX6" fmla="*/ 380926 w 646488"/>
                <a:gd name="connsiteY6" fmla="*/ 495107 h 990214"/>
                <a:gd name="connsiteX7" fmla="*/ 88175 w 646488"/>
                <a:gd name="connsiteY7" fmla="*/ 53447 h 990214"/>
                <a:gd name="connsiteX8" fmla="*/ 0 w 646488"/>
                <a:gd name="connsiteY8" fmla="*/ 26076 h 990214"/>
                <a:gd name="connsiteX9" fmla="*/ 51600 w 646488"/>
                <a:gd name="connsiteY9" fmla="*/ 10059 h 990214"/>
                <a:gd name="connsiteX10" fmla="*/ 151381 w 646488"/>
                <a:gd name="connsiteY10" fmla="*/ 0 h 990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46488" h="990214">
                  <a:moveTo>
                    <a:pt x="151381" y="0"/>
                  </a:moveTo>
                  <a:cubicBezTo>
                    <a:pt x="424821" y="0"/>
                    <a:pt x="646488" y="221667"/>
                    <a:pt x="646488" y="495107"/>
                  </a:cubicBezTo>
                  <a:cubicBezTo>
                    <a:pt x="646488" y="768547"/>
                    <a:pt x="424821" y="990214"/>
                    <a:pt x="151381" y="990214"/>
                  </a:cubicBezTo>
                  <a:cubicBezTo>
                    <a:pt x="117201" y="990214"/>
                    <a:pt x="83830" y="986751"/>
                    <a:pt x="51600" y="980155"/>
                  </a:cubicBezTo>
                  <a:lnTo>
                    <a:pt x="0" y="964138"/>
                  </a:lnTo>
                  <a:lnTo>
                    <a:pt x="88175" y="936767"/>
                  </a:lnTo>
                  <a:cubicBezTo>
                    <a:pt x="260213" y="864002"/>
                    <a:pt x="380926" y="693652"/>
                    <a:pt x="380926" y="495107"/>
                  </a:cubicBezTo>
                  <a:cubicBezTo>
                    <a:pt x="380926" y="296563"/>
                    <a:pt x="260213" y="126213"/>
                    <a:pt x="88175" y="53447"/>
                  </a:cubicBezTo>
                  <a:lnTo>
                    <a:pt x="0" y="26076"/>
                  </a:lnTo>
                  <a:lnTo>
                    <a:pt x="51600" y="10059"/>
                  </a:lnTo>
                  <a:cubicBezTo>
                    <a:pt x="83830" y="3464"/>
                    <a:pt x="117201" y="0"/>
                    <a:pt x="151381" y="0"/>
                  </a:cubicBezTo>
                  <a:close/>
                </a:path>
              </a:pathLst>
            </a:custGeom>
            <a:solidFill>
              <a:schemeClr val="accent3"/>
            </a:solidFill>
          </p:spPr>
          <p:txBody>
            <a:bodyPr anchor="ctr"/>
            <a:lstStyle/>
            <a:p>
              <a:pPr algn="just">
                <a:lnSpc>
                  <a:spcPct val="130000"/>
                </a:lnSpc>
                <a:defRPr/>
              </a:pPr>
              <a:endParaRPr lang="zh-CN" altLang="en-US" dirty="0" err="1">
                <a:solidFill>
                  <a:prstClr val="white"/>
                </a:solidFill>
                <a:effectLst>
                  <a:outerShdw blurRad="38100" dist="38100" dir="2700000" algn="tl">
                    <a:srgbClr val="000000">
                      <a:alpha val="43137"/>
                    </a:srgbClr>
                  </a:outerShdw>
                </a:effectLst>
                <a:sym typeface="Arial" pitchFamily="34" charset="0"/>
              </a:endParaRPr>
            </a:p>
          </p:txBody>
        </p:sp>
        <p:sp>
          <p:nvSpPr>
            <p:cNvPr id="26" name="圆角矩形 25"/>
            <p:cNvSpPr/>
            <p:nvPr/>
          </p:nvSpPr>
          <p:spPr>
            <a:xfrm>
              <a:off x="2578286" y="4897707"/>
              <a:ext cx="4424311" cy="740722"/>
            </a:xfrm>
            <a:prstGeom prst="roundRect">
              <a:avLst>
                <a:gd name="adj" fmla="val 50000"/>
              </a:avLst>
            </a:prstGeom>
            <a:solidFill>
              <a:schemeClr val="accent3">
                <a:lumMod val="60000"/>
                <a:lumOff val="40000"/>
              </a:schemeClr>
            </a:solidFill>
          </p:spPr>
          <p:txBody>
            <a:bodyPr anchor="ctr"/>
            <a:lstStyle/>
            <a:p>
              <a:pPr algn="ctr">
                <a:defRPr/>
              </a:pPr>
              <a:r>
                <a:rPr lang="zh-CN" altLang="en-US" sz="2000" b="1" dirty="0">
                  <a:solidFill>
                    <a:prstClr val="black">
                      <a:lumMod val="95000"/>
                      <a:lumOff val="5000"/>
                    </a:prstClr>
                  </a:solidFill>
                  <a:latin typeface="黑体" charset="0"/>
                  <a:ea typeface="黑体" charset="0"/>
                  <a:sym typeface="Arial" pitchFamily="34" charset="0"/>
                </a:rPr>
                <a:t>竞争离不开合作，合作也离不开竞争</a:t>
              </a:r>
              <a:endParaRPr lang="zh-CN" altLang="da-DK" sz="2000" b="1" dirty="0">
                <a:solidFill>
                  <a:prstClr val="black">
                    <a:lumMod val="95000"/>
                    <a:lumOff val="5000"/>
                  </a:prstClr>
                </a:solidFill>
                <a:latin typeface="黑体" charset="0"/>
                <a:ea typeface="黑体" charset="0"/>
                <a:sym typeface="Arial" pitchFamily="34" charset="0"/>
              </a:endParaRPr>
            </a:p>
          </p:txBody>
        </p:sp>
      </p:grpSp>
      <p:grpSp>
        <p:nvGrpSpPr>
          <p:cNvPr id="4" name="组合 24"/>
          <p:cNvGrpSpPr>
            <a:grpSpLocks/>
          </p:cNvGrpSpPr>
          <p:nvPr/>
        </p:nvGrpSpPr>
        <p:grpSpPr bwMode="auto">
          <a:xfrm flipH="1">
            <a:off x="3868738" y="2492896"/>
            <a:ext cx="5275262" cy="1216025"/>
            <a:chOff x="2539567" y="4772315"/>
            <a:chExt cx="5021243" cy="990214"/>
          </a:xfrm>
        </p:grpSpPr>
        <p:sp>
          <p:nvSpPr>
            <p:cNvPr id="28" name="任意多边形 25"/>
            <p:cNvSpPr>
              <a:spLocks noChangeArrowheads="1"/>
            </p:cNvSpPr>
            <p:nvPr/>
          </p:nvSpPr>
          <p:spPr bwMode="auto">
            <a:xfrm>
              <a:off x="6914077" y="4772315"/>
              <a:ext cx="646733" cy="990214"/>
            </a:xfrm>
            <a:custGeom>
              <a:avLst/>
              <a:gdLst>
                <a:gd name="T0" fmla="*/ 151381 w 646488"/>
                <a:gd name="T1" fmla="*/ 0 h 990214"/>
                <a:gd name="T2" fmla="*/ 646488 w 646488"/>
                <a:gd name="T3" fmla="*/ 495107 h 990214"/>
                <a:gd name="T4" fmla="*/ 151381 w 646488"/>
                <a:gd name="T5" fmla="*/ 990214 h 990214"/>
                <a:gd name="T6" fmla="*/ 51600 w 646488"/>
                <a:gd name="T7" fmla="*/ 980155 h 990214"/>
                <a:gd name="T8" fmla="*/ 0 w 646488"/>
                <a:gd name="T9" fmla="*/ 964138 h 990214"/>
                <a:gd name="T10" fmla="*/ 88175 w 646488"/>
                <a:gd name="T11" fmla="*/ 936767 h 990214"/>
                <a:gd name="T12" fmla="*/ 380926 w 646488"/>
                <a:gd name="T13" fmla="*/ 495107 h 990214"/>
                <a:gd name="T14" fmla="*/ 88175 w 646488"/>
                <a:gd name="T15" fmla="*/ 53447 h 990214"/>
                <a:gd name="T16" fmla="*/ 0 w 646488"/>
                <a:gd name="T17" fmla="*/ 26076 h 990214"/>
                <a:gd name="T18" fmla="*/ 51600 w 646488"/>
                <a:gd name="T19" fmla="*/ 10059 h 990214"/>
                <a:gd name="T20" fmla="*/ 151381 w 646488"/>
                <a:gd name="T21" fmla="*/ 0 h 99021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46488"/>
                <a:gd name="T34" fmla="*/ 0 h 990214"/>
                <a:gd name="T35" fmla="*/ 646488 w 646488"/>
                <a:gd name="T36" fmla="*/ 990214 h 99021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46488" h="990214">
                  <a:moveTo>
                    <a:pt x="151381" y="0"/>
                  </a:moveTo>
                  <a:cubicBezTo>
                    <a:pt x="424821" y="0"/>
                    <a:pt x="646488" y="221667"/>
                    <a:pt x="646488" y="495107"/>
                  </a:cubicBezTo>
                  <a:cubicBezTo>
                    <a:pt x="646488" y="768547"/>
                    <a:pt x="424821" y="990214"/>
                    <a:pt x="151381" y="990214"/>
                  </a:cubicBezTo>
                  <a:cubicBezTo>
                    <a:pt x="117201" y="990214"/>
                    <a:pt x="83830" y="986751"/>
                    <a:pt x="51600" y="980155"/>
                  </a:cubicBezTo>
                  <a:lnTo>
                    <a:pt x="0" y="964138"/>
                  </a:lnTo>
                  <a:lnTo>
                    <a:pt x="88175" y="936767"/>
                  </a:lnTo>
                  <a:cubicBezTo>
                    <a:pt x="260213" y="864002"/>
                    <a:pt x="380926" y="693652"/>
                    <a:pt x="380926" y="495107"/>
                  </a:cubicBezTo>
                  <a:cubicBezTo>
                    <a:pt x="380926" y="296563"/>
                    <a:pt x="260213" y="126213"/>
                    <a:pt x="88175" y="53447"/>
                  </a:cubicBezTo>
                  <a:lnTo>
                    <a:pt x="0" y="26076"/>
                  </a:lnTo>
                  <a:lnTo>
                    <a:pt x="51600" y="10059"/>
                  </a:lnTo>
                  <a:cubicBezTo>
                    <a:pt x="83830" y="3464"/>
                    <a:pt x="117201" y="0"/>
                    <a:pt x="151381" y="0"/>
                  </a:cubicBezTo>
                  <a:close/>
                </a:path>
              </a:pathLst>
            </a:custGeom>
            <a:solidFill>
              <a:schemeClr val="accent2"/>
            </a:solidFill>
            <a:ln w="9525">
              <a:noFill/>
              <a:miter lim="800000"/>
              <a:headEnd/>
              <a:tailEnd/>
            </a:ln>
          </p:spPr>
          <p:txBody>
            <a:bodyPr anchor="ctr"/>
            <a:lstStyle/>
            <a:p>
              <a:pPr algn="just" fontAlgn="base">
                <a:lnSpc>
                  <a:spcPct val="130000"/>
                </a:lnSpc>
                <a:spcBef>
                  <a:spcPct val="0"/>
                </a:spcBef>
                <a:spcAft>
                  <a:spcPct val="0"/>
                </a:spcAft>
                <a:defRPr/>
              </a:pPr>
              <a:endParaRPr lang="zh-CN" altLang="en-US">
                <a:solidFill>
                  <a:prstClr val="white"/>
                </a:solidFill>
                <a:effectLst>
                  <a:outerShdw blurRad="38100" dist="38100" dir="2700000" algn="tl">
                    <a:srgbClr val="000000">
                      <a:alpha val="43137"/>
                    </a:srgbClr>
                  </a:outerShdw>
                </a:effectLst>
                <a:sym typeface="Arial" pitchFamily="34" charset="0"/>
              </a:endParaRPr>
            </a:p>
          </p:txBody>
        </p:sp>
        <p:sp>
          <p:nvSpPr>
            <p:cNvPr id="30" name="圆角矩形 29"/>
            <p:cNvSpPr/>
            <p:nvPr/>
          </p:nvSpPr>
          <p:spPr>
            <a:xfrm>
              <a:off x="2539567" y="4901586"/>
              <a:ext cx="4575482" cy="740722"/>
            </a:xfrm>
            <a:prstGeom prst="roundRect">
              <a:avLst>
                <a:gd name="adj" fmla="val 50000"/>
              </a:avLst>
            </a:prstGeom>
            <a:solidFill>
              <a:schemeClr val="accent2">
                <a:lumMod val="60000"/>
                <a:lumOff val="40000"/>
              </a:schemeClr>
            </a:solidFill>
          </p:spPr>
          <p:txBody>
            <a:bodyPr anchor="ctr"/>
            <a:lstStyle/>
            <a:p>
              <a:pPr algn="ctr">
                <a:defRPr/>
              </a:pPr>
              <a:r>
                <a:rPr lang="zh-CN" altLang="en-US" sz="2000" b="1" dirty="0">
                  <a:solidFill>
                    <a:prstClr val="black">
                      <a:lumMod val="95000"/>
                      <a:lumOff val="5000"/>
                    </a:prstClr>
                  </a:solidFill>
                  <a:latin typeface="黑体" charset="0"/>
                  <a:ea typeface="黑体" charset="0"/>
                  <a:sym typeface="Arial" pitchFamily="34" charset="0"/>
                </a:rPr>
                <a:t>而从本质上看，二者又是相互伴随、相互统一的</a:t>
              </a:r>
              <a:r>
                <a:rPr lang="zh-CN" altLang="da-DK" sz="2000" b="1" dirty="0">
                  <a:solidFill>
                    <a:prstClr val="black">
                      <a:lumMod val="95000"/>
                      <a:lumOff val="5000"/>
                    </a:prstClr>
                  </a:solidFill>
                  <a:latin typeface="黑体" charset="0"/>
                  <a:ea typeface="黑体" charset="0"/>
                  <a:sym typeface="Arial" pitchFamily="34" charset="0"/>
                </a:rPr>
                <a:t>。</a:t>
              </a:r>
            </a:p>
          </p:txBody>
        </p:sp>
      </p:grpSp>
      <p:grpSp>
        <p:nvGrpSpPr>
          <p:cNvPr id="5" name="组合 4"/>
          <p:cNvGrpSpPr>
            <a:grpSpLocks/>
          </p:cNvGrpSpPr>
          <p:nvPr/>
        </p:nvGrpSpPr>
        <p:grpSpPr bwMode="auto">
          <a:xfrm flipH="1">
            <a:off x="4062413" y="5229200"/>
            <a:ext cx="5081587" cy="1216025"/>
            <a:chOff x="3060699" y="4840571"/>
            <a:chExt cx="4327211" cy="990214"/>
          </a:xfrm>
        </p:grpSpPr>
        <p:sp>
          <p:nvSpPr>
            <p:cNvPr id="34" name="任意多边形 28"/>
            <p:cNvSpPr>
              <a:spLocks noChangeArrowheads="1"/>
            </p:cNvSpPr>
            <p:nvPr/>
          </p:nvSpPr>
          <p:spPr bwMode="auto">
            <a:xfrm>
              <a:off x="6741735" y="4840571"/>
              <a:ext cx="646175" cy="990214"/>
            </a:xfrm>
            <a:custGeom>
              <a:avLst/>
              <a:gdLst>
                <a:gd name="T0" fmla="*/ 151381 w 646488"/>
                <a:gd name="T1" fmla="*/ 0 h 990214"/>
                <a:gd name="T2" fmla="*/ 646488 w 646488"/>
                <a:gd name="T3" fmla="*/ 495107 h 990214"/>
                <a:gd name="T4" fmla="*/ 151381 w 646488"/>
                <a:gd name="T5" fmla="*/ 990214 h 990214"/>
                <a:gd name="T6" fmla="*/ 51600 w 646488"/>
                <a:gd name="T7" fmla="*/ 980155 h 990214"/>
                <a:gd name="T8" fmla="*/ 0 w 646488"/>
                <a:gd name="T9" fmla="*/ 964138 h 990214"/>
                <a:gd name="T10" fmla="*/ 88175 w 646488"/>
                <a:gd name="T11" fmla="*/ 936767 h 990214"/>
                <a:gd name="T12" fmla="*/ 380926 w 646488"/>
                <a:gd name="T13" fmla="*/ 495107 h 990214"/>
                <a:gd name="T14" fmla="*/ 88175 w 646488"/>
                <a:gd name="T15" fmla="*/ 53447 h 990214"/>
                <a:gd name="T16" fmla="*/ 0 w 646488"/>
                <a:gd name="T17" fmla="*/ 26076 h 990214"/>
                <a:gd name="T18" fmla="*/ 51600 w 646488"/>
                <a:gd name="T19" fmla="*/ 10059 h 990214"/>
                <a:gd name="T20" fmla="*/ 151381 w 646488"/>
                <a:gd name="T21" fmla="*/ 0 h 99021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46488"/>
                <a:gd name="T34" fmla="*/ 0 h 990214"/>
                <a:gd name="T35" fmla="*/ 646488 w 646488"/>
                <a:gd name="T36" fmla="*/ 990214 h 99021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46488" h="990214">
                  <a:moveTo>
                    <a:pt x="151381" y="0"/>
                  </a:moveTo>
                  <a:cubicBezTo>
                    <a:pt x="424821" y="0"/>
                    <a:pt x="646488" y="221667"/>
                    <a:pt x="646488" y="495107"/>
                  </a:cubicBezTo>
                  <a:cubicBezTo>
                    <a:pt x="646488" y="768547"/>
                    <a:pt x="424821" y="990214"/>
                    <a:pt x="151381" y="990214"/>
                  </a:cubicBezTo>
                  <a:cubicBezTo>
                    <a:pt x="117201" y="990214"/>
                    <a:pt x="83830" y="986751"/>
                    <a:pt x="51600" y="980155"/>
                  </a:cubicBezTo>
                  <a:lnTo>
                    <a:pt x="0" y="964138"/>
                  </a:lnTo>
                  <a:lnTo>
                    <a:pt x="88175" y="936767"/>
                  </a:lnTo>
                  <a:cubicBezTo>
                    <a:pt x="260213" y="864002"/>
                    <a:pt x="380926" y="693652"/>
                    <a:pt x="380926" y="495107"/>
                  </a:cubicBezTo>
                  <a:cubicBezTo>
                    <a:pt x="380926" y="296563"/>
                    <a:pt x="260213" y="126213"/>
                    <a:pt x="88175" y="53447"/>
                  </a:cubicBezTo>
                  <a:lnTo>
                    <a:pt x="0" y="26076"/>
                  </a:lnTo>
                  <a:lnTo>
                    <a:pt x="51600" y="10059"/>
                  </a:lnTo>
                  <a:cubicBezTo>
                    <a:pt x="83830" y="3464"/>
                    <a:pt x="117201" y="0"/>
                    <a:pt x="151381" y="0"/>
                  </a:cubicBezTo>
                  <a:close/>
                </a:path>
              </a:pathLst>
            </a:custGeom>
            <a:solidFill>
              <a:schemeClr val="accent1"/>
            </a:solidFill>
            <a:ln w="9525">
              <a:noFill/>
              <a:miter lim="800000"/>
              <a:headEnd/>
              <a:tailEnd/>
            </a:ln>
          </p:spPr>
          <p:txBody>
            <a:bodyPr anchor="ctr"/>
            <a:lstStyle/>
            <a:p>
              <a:pPr algn="just" fontAlgn="base">
                <a:lnSpc>
                  <a:spcPct val="130000"/>
                </a:lnSpc>
                <a:spcBef>
                  <a:spcPct val="0"/>
                </a:spcBef>
                <a:spcAft>
                  <a:spcPct val="0"/>
                </a:spcAft>
                <a:defRPr/>
              </a:pPr>
              <a:endParaRPr lang="zh-CN" altLang="en-US">
                <a:solidFill>
                  <a:prstClr val="white"/>
                </a:solidFill>
                <a:effectLst>
                  <a:outerShdw blurRad="38100" dist="38100" dir="2700000" algn="tl">
                    <a:srgbClr val="000000">
                      <a:alpha val="43137"/>
                    </a:srgbClr>
                  </a:outerShdw>
                </a:effectLst>
                <a:sym typeface="Arial" pitchFamily="34" charset="0"/>
              </a:endParaRPr>
            </a:p>
          </p:txBody>
        </p:sp>
        <p:sp>
          <p:nvSpPr>
            <p:cNvPr id="44" name="圆角矩形 43"/>
            <p:cNvSpPr/>
            <p:nvPr/>
          </p:nvSpPr>
          <p:spPr>
            <a:xfrm>
              <a:off x="3060699" y="4987940"/>
              <a:ext cx="3941940" cy="740722"/>
            </a:xfrm>
            <a:prstGeom prst="roundRect">
              <a:avLst>
                <a:gd name="adj" fmla="val 50000"/>
              </a:avLst>
            </a:prstGeom>
            <a:solidFill>
              <a:schemeClr val="accent1">
                <a:lumMod val="60000"/>
                <a:lumOff val="40000"/>
              </a:schemeClr>
            </a:solidFill>
          </p:spPr>
          <p:txBody>
            <a:bodyPr anchor="ctr"/>
            <a:lstStyle/>
            <a:p>
              <a:pPr algn="ctr">
                <a:defRPr/>
              </a:pPr>
              <a:r>
                <a:rPr lang="zh-CN" altLang="en-US" sz="2000" b="1" dirty="0">
                  <a:solidFill>
                    <a:srgbClr val="FF0000"/>
                  </a:solidFill>
                  <a:latin typeface="黑体" charset="0"/>
                  <a:ea typeface="黑体" charset="0"/>
                  <a:sym typeface="Arial" pitchFamily="34" charset="0"/>
                </a:rPr>
                <a:t>竞争促进了合作的广度和深度，合作又增强了竞争的实力。</a:t>
              </a:r>
              <a:endParaRPr lang="zh-CN" altLang="da-DK" sz="2000" b="1" dirty="0">
                <a:solidFill>
                  <a:srgbClr val="FF0000"/>
                </a:solidFill>
                <a:latin typeface="黑体" charset="0"/>
                <a:ea typeface="黑体" charset="0"/>
                <a:sym typeface="Arial" pitchFamily="34" charset="0"/>
              </a:endParaRPr>
            </a:p>
          </p:txBody>
        </p:sp>
      </p:grpSp>
      <p:pic>
        <p:nvPicPr>
          <p:cNvPr id="45" name="Picture 6" descr="http://www.20xk.com/xzftp/ownb1/20080309f/2014030616571057fboxhz20xk/1.jpg"/>
          <p:cNvPicPr>
            <a:picLocks noChangeAspect="1" noChangeArrowheads="1"/>
          </p:cNvPicPr>
          <p:nvPr/>
        </p:nvPicPr>
        <p:blipFill>
          <a:blip r:embed="rId2" cstate="print"/>
          <a:srcRect/>
          <a:stretch>
            <a:fillRect/>
          </a:stretch>
        </p:blipFill>
        <p:spPr bwMode="auto">
          <a:xfrm>
            <a:off x="5436096" y="3573017"/>
            <a:ext cx="2507298" cy="1800200"/>
          </a:xfrm>
          <a:prstGeom prst="ellipse">
            <a:avLst/>
          </a:prstGeom>
          <a:ln w="63500"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pic>
        <p:nvPicPr>
          <p:cNvPr id="46" name="Picture 8" descr="http://imgsrc.baidu.com/forum/w%3D580/sign=973e89a6194c510faec4e21250582528/aac004dbb6fd5266c06c6b7aa818972bd4073627.jpg"/>
          <p:cNvPicPr>
            <a:picLocks noChangeAspect="1" noChangeArrowheads="1"/>
          </p:cNvPicPr>
          <p:nvPr/>
        </p:nvPicPr>
        <p:blipFill>
          <a:blip r:embed="rId3" cstate="print"/>
          <a:srcRect/>
          <a:stretch>
            <a:fillRect/>
          </a:stretch>
        </p:blipFill>
        <p:spPr bwMode="auto">
          <a:xfrm>
            <a:off x="609600" y="4937922"/>
            <a:ext cx="2762250" cy="1752600"/>
          </a:xfrm>
          <a:prstGeom prst="ellipse">
            <a:avLst/>
          </a:prstGeom>
          <a:ln w="63500"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pic>
        <p:nvPicPr>
          <p:cNvPr id="47" name="Picture 10" descr="http://pic34.nipic.com/20131014/8952533_165829717000_2.jpg"/>
          <p:cNvPicPr>
            <a:picLocks noChangeAspect="1" noChangeArrowheads="1"/>
          </p:cNvPicPr>
          <p:nvPr/>
        </p:nvPicPr>
        <p:blipFill>
          <a:blip r:embed="rId4" cstate="print"/>
          <a:srcRect/>
          <a:stretch>
            <a:fillRect/>
          </a:stretch>
        </p:blipFill>
        <p:spPr bwMode="auto">
          <a:xfrm>
            <a:off x="5508104" y="836712"/>
            <a:ext cx="1820672" cy="1735328"/>
          </a:xfrm>
          <a:prstGeom prst="ellipse">
            <a:avLst/>
          </a:prstGeom>
          <a:ln w="63500"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pic>
        <p:nvPicPr>
          <p:cNvPr id="48" name="Picture 14" descr="http://xx.taozhi.cn/_Upload/CKFiles/images/20140403160102320.jpg"/>
          <p:cNvPicPr>
            <a:picLocks noChangeAspect="1" noChangeArrowheads="1"/>
          </p:cNvPicPr>
          <p:nvPr/>
        </p:nvPicPr>
        <p:blipFill>
          <a:blip r:embed="rId5" cstate="print"/>
          <a:srcRect/>
          <a:stretch>
            <a:fillRect/>
          </a:stretch>
        </p:blipFill>
        <p:spPr bwMode="auto">
          <a:xfrm>
            <a:off x="1187624" y="2348880"/>
            <a:ext cx="2308225" cy="1500198"/>
          </a:xfrm>
          <a:prstGeom prst="rect">
            <a:avLst/>
          </a:prstGeom>
          <a:noFill/>
          <a:ln w="9525">
            <a:noFill/>
            <a:miter lim="800000"/>
            <a:headEnd/>
            <a:tailEnd/>
          </a:ln>
        </p:spPr>
      </p:pic>
    </p:spTree>
  </p:cSld>
  <p:clrMapOvr>
    <a:masterClrMapping/>
  </p:clrMapOvr>
  <p:transition advTm="63602"/>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1000"/>
                                        <p:tgtEl>
                                          <p:spTgt spid="2"/>
                                        </p:tgtEl>
                                      </p:cBhvr>
                                    </p:animEffect>
                                  </p:childTnLst>
                                </p:cTn>
                              </p:par>
                            </p:childTnLst>
                          </p:cTn>
                        </p:par>
                        <p:par>
                          <p:cTn id="8" fill="hold">
                            <p:stCondLst>
                              <p:cond delay="1000"/>
                            </p:stCondLst>
                            <p:childTnLst>
                              <p:par>
                                <p:cTn id="9" presetID="5" presetClass="entr" presetSubtype="10" fill="hold" nodeType="afterEffect">
                                  <p:stCondLst>
                                    <p:cond delay="0"/>
                                  </p:stCondLst>
                                  <p:childTnLst>
                                    <p:set>
                                      <p:cBhvr>
                                        <p:cTn id="10" dur="1" fill="hold">
                                          <p:stCondLst>
                                            <p:cond delay="0"/>
                                          </p:stCondLst>
                                        </p:cTn>
                                        <p:tgtEl>
                                          <p:spTgt spid="47"/>
                                        </p:tgtEl>
                                        <p:attrNameLst>
                                          <p:attrName>style.visibility</p:attrName>
                                        </p:attrNameLst>
                                      </p:cBhvr>
                                      <p:to>
                                        <p:strVal val="visible"/>
                                      </p:to>
                                    </p:set>
                                    <p:animEffect transition="in" filter="checkerboard(across)">
                                      <p:cBhvr>
                                        <p:cTn id="11" dur="500"/>
                                        <p:tgtEl>
                                          <p:spTgt spid="47"/>
                                        </p:tgtEl>
                                      </p:cBhvr>
                                    </p:animEffect>
                                  </p:childTnLst>
                                </p:cTn>
                              </p:par>
                              <p:par>
                                <p:cTn id="12" presetID="5" presetClass="entr" presetSubtype="10" fill="hold" nodeType="withEffect">
                                  <p:stCondLst>
                                    <p:cond delay="0"/>
                                  </p:stCondLst>
                                  <p:childTnLst>
                                    <p:set>
                                      <p:cBhvr>
                                        <p:cTn id="13" dur="1" fill="hold">
                                          <p:stCondLst>
                                            <p:cond delay="0"/>
                                          </p:stCondLst>
                                        </p:cTn>
                                        <p:tgtEl>
                                          <p:spTgt spid="48"/>
                                        </p:tgtEl>
                                        <p:attrNameLst>
                                          <p:attrName>style.visibility</p:attrName>
                                        </p:attrNameLst>
                                      </p:cBhvr>
                                      <p:to>
                                        <p:strVal val="visible"/>
                                      </p:to>
                                    </p:set>
                                    <p:animEffect transition="in" filter="checkerboard(across)">
                                      <p:cBhvr>
                                        <p:cTn id="14" dur="500"/>
                                        <p:tgtEl>
                                          <p:spTgt spid="48"/>
                                        </p:tgtEl>
                                      </p:cBhvr>
                                    </p:animEffect>
                                  </p:childTnLst>
                                </p:cTn>
                              </p:par>
                            </p:childTnLst>
                          </p:cTn>
                        </p:par>
                        <p:par>
                          <p:cTn id="15" fill="hold">
                            <p:stCondLst>
                              <p:cond delay="1500"/>
                            </p:stCondLst>
                            <p:childTnLst>
                              <p:par>
                                <p:cTn id="16" presetID="22" presetClass="entr" presetSubtype="2" fill="hold" nodeType="afterEffect">
                                  <p:stCondLst>
                                    <p:cond delay="0"/>
                                  </p:stCondLst>
                                  <p:childTnLst>
                                    <p:set>
                                      <p:cBhvr>
                                        <p:cTn id="17" dur="1" fill="hold">
                                          <p:stCondLst>
                                            <p:cond delay="0"/>
                                          </p:stCondLst>
                                        </p:cTn>
                                        <p:tgtEl>
                                          <p:spTgt spid="4"/>
                                        </p:tgtEl>
                                        <p:attrNameLst>
                                          <p:attrName>style.visibility</p:attrName>
                                        </p:attrNameLst>
                                      </p:cBhvr>
                                      <p:to>
                                        <p:strVal val="visible"/>
                                      </p:to>
                                    </p:set>
                                    <p:animEffect transition="in" filter="wipe(right)">
                                      <p:cBhvr>
                                        <p:cTn id="18" dur="1000"/>
                                        <p:tgtEl>
                                          <p:spTgt spid="4"/>
                                        </p:tgtEl>
                                      </p:cBhvr>
                                    </p:animEffect>
                                  </p:childTnLst>
                                </p:cTn>
                              </p:par>
                            </p:childTnLst>
                          </p:cTn>
                        </p:par>
                        <p:par>
                          <p:cTn id="19" fill="hold">
                            <p:stCondLst>
                              <p:cond delay="2500"/>
                            </p:stCondLst>
                            <p:childTnLst>
                              <p:par>
                                <p:cTn id="20" presetID="8" presetClass="entr" presetSubtype="16" fill="hold" nodeType="afterEffect">
                                  <p:stCondLst>
                                    <p:cond delay="0"/>
                                  </p:stCondLst>
                                  <p:childTnLst>
                                    <p:set>
                                      <p:cBhvr>
                                        <p:cTn id="21" dur="1" fill="hold">
                                          <p:stCondLst>
                                            <p:cond delay="0"/>
                                          </p:stCondLst>
                                        </p:cTn>
                                        <p:tgtEl>
                                          <p:spTgt spid="45"/>
                                        </p:tgtEl>
                                        <p:attrNameLst>
                                          <p:attrName>style.visibility</p:attrName>
                                        </p:attrNameLst>
                                      </p:cBhvr>
                                      <p:to>
                                        <p:strVal val="visible"/>
                                      </p:to>
                                    </p:set>
                                    <p:animEffect transition="in" filter="diamond(in)">
                                      <p:cBhvr>
                                        <p:cTn id="22" dur="2000"/>
                                        <p:tgtEl>
                                          <p:spTgt spid="45"/>
                                        </p:tgtEl>
                                      </p:cBhvr>
                                    </p:animEffect>
                                  </p:childTnLst>
                                </p:cTn>
                              </p:par>
                            </p:childTnLst>
                          </p:cTn>
                        </p:par>
                        <p:par>
                          <p:cTn id="23" fill="hold">
                            <p:stCondLst>
                              <p:cond delay="4500"/>
                            </p:stCondLst>
                            <p:childTnLst>
                              <p:par>
                                <p:cTn id="24" presetID="22" presetClass="entr" presetSubtype="8" fill="hold" nodeType="afterEffect">
                                  <p:stCondLst>
                                    <p:cond delay="0"/>
                                  </p:stCondLst>
                                  <p:childTnLst>
                                    <p:set>
                                      <p:cBhvr>
                                        <p:cTn id="25" dur="1" fill="hold">
                                          <p:stCondLst>
                                            <p:cond delay="0"/>
                                          </p:stCondLst>
                                        </p:cTn>
                                        <p:tgtEl>
                                          <p:spTgt spid="3"/>
                                        </p:tgtEl>
                                        <p:attrNameLst>
                                          <p:attrName>style.visibility</p:attrName>
                                        </p:attrNameLst>
                                      </p:cBhvr>
                                      <p:to>
                                        <p:strVal val="visible"/>
                                      </p:to>
                                    </p:set>
                                    <p:animEffect transition="in" filter="wipe(left)">
                                      <p:cBhvr>
                                        <p:cTn id="26" dur="1000"/>
                                        <p:tgtEl>
                                          <p:spTgt spid="3"/>
                                        </p:tgtEl>
                                      </p:cBhvr>
                                    </p:animEffect>
                                  </p:childTnLst>
                                </p:cTn>
                              </p:par>
                            </p:childTnLst>
                          </p:cTn>
                        </p:par>
                        <p:par>
                          <p:cTn id="27" fill="hold">
                            <p:stCondLst>
                              <p:cond delay="5500"/>
                            </p:stCondLst>
                            <p:childTnLst>
                              <p:par>
                                <p:cTn id="28" presetID="12" presetClass="entr" presetSubtype="4" fill="hold" nodeType="afterEffect">
                                  <p:stCondLst>
                                    <p:cond delay="0"/>
                                  </p:stCondLst>
                                  <p:childTnLst>
                                    <p:set>
                                      <p:cBhvr>
                                        <p:cTn id="29" dur="1" fill="hold">
                                          <p:stCondLst>
                                            <p:cond delay="0"/>
                                          </p:stCondLst>
                                        </p:cTn>
                                        <p:tgtEl>
                                          <p:spTgt spid="46"/>
                                        </p:tgtEl>
                                        <p:attrNameLst>
                                          <p:attrName>style.visibility</p:attrName>
                                        </p:attrNameLst>
                                      </p:cBhvr>
                                      <p:to>
                                        <p:strVal val="visible"/>
                                      </p:to>
                                    </p:set>
                                    <p:animEffect transition="in" filter="slide(fromBottom)">
                                      <p:cBhvr>
                                        <p:cTn id="30" dur="500"/>
                                        <p:tgtEl>
                                          <p:spTgt spid="46"/>
                                        </p:tgtEl>
                                      </p:cBhvr>
                                    </p:animEffect>
                                  </p:childTnLst>
                                </p:cTn>
                              </p:par>
                            </p:childTnLst>
                          </p:cTn>
                        </p:par>
                        <p:par>
                          <p:cTn id="31" fill="hold">
                            <p:stCondLst>
                              <p:cond delay="6000"/>
                            </p:stCondLst>
                            <p:childTnLst>
                              <p:par>
                                <p:cTn id="32" presetID="22" presetClass="entr" presetSubtype="2" fill="hold" nodeType="afterEffect">
                                  <p:stCondLst>
                                    <p:cond delay="0"/>
                                  </p:stCondLst>
                                  <p:childTnLst>
                                    <p:set>
                                      <p:cBhvr>
                                        <p:cTn id="33" dur="1" fill="hold">
                                          <p:stCondLst>
                                            <p:cond delay="0"/>
                                          </p:stCondLst>
                                        </p:cTn>
                                        <p:tgtEl>
                                          <p:spTgt spid="5"/>
                                        </p:tgtEl>
                                        <p:attrNameLst>
                                          <p:attrName>style.visibility</p:attrName>
                                        </p:attrNameLst>
                                      </p:cBhvr>
                                      <p:to>
                                        <p:strVal val="visible"/>
                                      </p:to>
                                    </p:set>
                                    <p:animEffect transition="in" filter="wipe(right)">
                                      <p:cBhvr>
                                        <p:cTn id="34" dur="10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bg>
      <p:bgPr>
        <a:solidFill>
          <a:schemeClr val="bg1">
            <a:alpha val="58038"/>
          </a:schemeClr>
        </a:solidFill>
        <a:effectLst/>
      </p:bgPr>
    </p:bg>
    <p:spTree>
      <p:nvGrpSpPr>
        <p:cNvPr id="1" name=""/>
        <p:cNvGrpSpPr/>
        <p:nvPr/>
      </p:nvGrpSpPr>
      <p:grpSpPr>
        <a:xfrm>
          <a:off x="0" y="0"/>
          <a:ext cx="0" cy="0"/>
          <a:chOff x="0" y="0"/>
          <a:chExt cx="0" cy="0"/>
        </a:xfrm>
      </p:grpSpPr>
      <p:sp>
        <p:nvSpPr>
          <p:cNvPr id="18" name="标题 17"/>
          <p:cNvSpPr>
            <a:spLocks noGrp="1"/>
          </p:cNvSpPr>
          <p:nvPr>
            <p:ph type="title"/>
          </p:nvPr>
        </p:nvSpPr>
        <p:spPr/>
        <p:txBody>
          <a:bodyPr>
            <a:noAutofit/>
          </a:bodyPr>
          <a:lstStyle/>
          <a:p>
            <a:pPr>
              <a:defRPr/>
            </a:pPr>
            <a:r>
              <a:rPr lang="zh-CN" altLang="en-US" sz="4000" kern="100" dirty="0" smtClean="0">
                <a:solidFill>
                  <a:srgbClr val="FFFF00"/>
                </a:solidFill>
                <a:effectLst/>
                <a:cs typeface="+mn-cs"/>
              </a:rPr>
              <a:t>正确处理竞争与合作的关系</a:t>
            </a:r>
          </a:p>
        </p:txBody>
      </p:sp>
      <p:sp>
        <p:nvSpPr>
          <p:cNvPr id="19" name="内容占位符 18"/>
          <p:cNvSpPr>
            <a:spLocks noGrp="1"/>
          </p:cNvSpPr>
          <p:nvPr>
            <p:ph sz="quarter" idx="10"/>
          </p:nvPr>
        </p:nvSpPr>
        <p:spPr/>
        <p:txBody>
          <a:bodyPr>
            <a:normAutofit fontScale="85000" lnSpcReduction="20000"/>
          </a:bodyPr>
          <a:lstStyle/>
          <a:p>
            <a:pPr>
              <a:defRPr/>
            </a:pPr>
            <a:r>
              <a:rPr lang="en-US" altLang="zh-CN" dirty="0" smtClean="0"/>
              <a:t>3</a:t>
            </a:r>
          </a:p>
          <a:p>
            <a:pPr>
              <a:defRPr/>
            </a:pPr>
            <a:endParaRPr lang="zh-CN" altLang="en-US" dirty="0"/>
          </a:p>
        </p:txBody>
      </p:sp>
      <p:sp>
        <p:nvSpPr>
          <p:cNvPr id="21" name="内容占位符 3"/>
          <p:cNvSpPr txBox="1">
            <a:spLocks/>
          </p:cNvSpPr>
          <p:nvPr/>
        </p:nvSpPr>
        <p:spPr bwMode="auto">
          <a:xfrm>
            <a:off x="361950" y="114300"/>
            <a:ext cx="544513" cy="525463"/>
          </a:xfrm>
          <a:prstGeom prst="rect">
            <a:avLst/>
          </a:prstGeom>
          <a:noFill/>
          <a:ln w="9525">
            <a:noFill/>
            <a:miter lim="800000"/>
            <a:headEnd/>
            <a:tailEnd/>
          </a:ln>
        </p:spPr>
        <p:txBody>
          <a:bodyPr lIns="91389" tIns="45694" rIns="91389" bIns="45694"/>
          <a:lstStyle/>
          <a:p>
            <a:pPr algn="ctr" eaLnBrk="0" fontAlgn="base" hangingPunct="0">
              <a:spcBef>
                <a:spcPct val="20000"/>
              </a:spcBef>
              <a:spcAft>
                <a:spcPct val="0"/>
              </a:spcAft>
              <a:defRPr/>
            </a:pPr>
            <a:endParaRPr lang="zh-CN" altLang="en-US" sz="3600" b="1" dirty="0">
              <a:solidFill>
                <a:prstClr val="white"/>
              </a:solidFill>
              <a:effectLst>
                <a:outerShdw blurRad="38100" dist="38100" dir="2700000" algn="tl">
                  <a:srgbClr val="000000">
                    <a:alpha val="43137"/>
                  </a:srgbClr>
                </a:outerShdw>
              </a:effectLst>
              <a:latin typeface="黑体" panose="02010609060101010101" pitchFamily="49" charset="-122"/>
              <a:ea typeface="黑体" panose="02010609060101010101" pitchFamily="49" charset="-122"/>
            </a:endParaRPr>
          </a:p>
        </p:txBody>
      </p:sp>
      <p:sp>
        <p:nvSpPr>
          <p:cNvPr id="122910" name="AutoShape 16" descr="http://img2.imgtn.bdimg.com/it/u=2560174535,624115299&amp;fm=21&amp;gp=0.jpg"/>
          <p:cNvSpPr>
            <a:spLocks noChangeAspect="1" noChangeArrowheads="1"/>
          </p:cNvSpPr>
          <p:nvPr/>
        </p:nvSpPr>
        <p:spPr bwMode="auto">
          <a:xfrm>
            <a:off x="63500" y="-144463"/>
            <a:ext cx="304800" cy="304801"/>
          </a:xfrm>
          <a:prstGeom prst="rect">
            <a:avLst/>
          </a:prstGeom>
          <a:noFill/>
          <a:ln w="9525">
            <a:noFill/>
            <a:miter lim="800000"/>
            <a:headEnd/>
            <a:tailEnd/>
          </a:ln>
        </p:spPr>
        <p:txBody>
          <a:bodyPr lIns="91389" tIns="45694" rIns="91389" bIns="45694"/>
          <a:lstStyle/>
          <a:p>
            <a:pPr fontAlgn="base">
              <a:spcBef>
                <a:spcPct val="0"/>
              </a:spcBef>
              <a:spcAft>
                <a:spcPct val="0"/>
              </a:spcAft>
              <a:defRPr/>
            </a:pPr>
            <a:endParaRPr lang="zh-CN" altLang="en-US">
              <a:solidFill>
                <a:prstClr val="black"/>
              </a:solidFill>
              <a:effectLst>
                <a:outerShdw blurRad="38100" dist="38100" dir="2700000" algn="tl">
                  <a:srgbClr val="000000">
                    <a:alpha val="43137"/>
                  </a:srgbClr>
                </a:outerShdw>
              </a:effectLst>
              <a:latin typeface="Times New Roman" pitchFamily="18" charset="0"/>
            </a:endParaRPr>
          </a:p>
        </p:txBody>
      </p:sp>
      <p:pic>
        <p:nvPicPr>
          <p:cNvPr id="24" name="Picture 4" descr="FR2001"/>
          <p:cNvPicPr>
            <a:picLocks noChangeAspect="1" noChangeArrowheads="1"/>
          </p:cNvPicPr>
          <p:nvPr/>
        </p:nvPicPr>
        <p:blipFill>
          <a:blip r:embed="rId3" cstate="print">
            <a:clrChange>
              <a:clrFrom>
                <a:srgbClr val="FFFFFF"/>
              </a:clrFrom>
              <a:clrTo>
                <a:srgbClr val="FFFFFF">
                  <a:alpha val="0"/>
                </a:srgbClr>
              </a:clrTo>
            </a:clrChange>
          </a:blip>
          <a:srcRect/>
          <a:stretch>
            <a:fillRect/>
          </a:stretch>
        </p:blipFill>
        <p:spPr>
          <a:xfrm>
            <a:off x="0" y="764704"/>
            <a:ext cx="9011123" cy="5616624"/>
          </a:xfrm>
          <a:prstGeom prst="rect">
            <a:avLst/>
          </a:prstGeom>
          <a:noFill/>
        </p:spPr>
      </p:pic>
      <p:sp>
        <p:nvSpPr>
          <p:cNvPr id="29" name="TextBox 9"/>
          <p:cNvSpPr txBox="1">
            <a:spLocks noChangeArrowheads="1"/>
          </p:cNvSpPr>
          <p:nvPr/>
        </p:nvSpPr>
        <p:spPr bwMode="auto">
          <a:xfrm>
            <a:off x="914400" y="1828800"/>
            <a:ext cx="4876800" cy="2308225"/>
          </a:xfrm>
          <a:prstGeom prst="rect">
            <a:avLst/>
          </a:prstGeom>
          <a:noFill/>
          <a:ln w="9525">
            <a:noFill/>
            <a:miter lim="800000"/>
            <a:headEnd/>
            <a:tailEnd/>
          </a:ln>
        </p:spPr>
        <p:txBody>
          <a:bodyPr lIns="91389" tIns="45694" rIns="91389" bIns="45694">
            <a:spAutoFit/>
          </a:bodyPr>
          <a:lstStyle/>
          <a:p>
            <a:pPr fontAlgn="base">
              <a:spcBef>
                <a:spcPct val="0"/>
              </a:spcBef>
              <a:spcAft>
                <a:spcPct val="0"/>
              </a:spcAft>
            </a:pPr>
            <a:r>
              <a:rPr lang="zh-CN" altLang="en-US" sz="2400" b="1" dirty="0" smtClean="0">
                <a:solidFill>
                  <a:srgbClr val="660066"/>
                </a:solidFill>
                <a:latin typeface="黑体" pitchFamily="49" charset="-122"/>
                <a:ea typeface="黑体" pitchFamily="49" charset="-122"/>
              </a:rPr>
              <a:t>    美国南部的一个州，每年都举办南瓜品种大赛。有一个农夫的成绩相当优异，经常是首奖及优等奖的得主。他在得奖之后，毫不吝惜地将得奖的种子分给街坊邻居。 </a:t>
            </a:r>
            <a:br>
              <a:rPr lang="zh-CN" altLang="en-US" sz="2400" b="1" dirty="0" smtClean="0">
                <a:solidFill>
                  <a:srgbClr val="660066"/>
                </a:solidFill>
                <a:latin typeface="黑体" pitchFamily="49" charset="-122"/>
                <a:ea typeface="黑体" pitchFamily="49" charset="-122"/>
              </a:rPr>
            </a:br>
            <a:r>
              <a:rPr lang="zh-CN" altLang="en-US" sz="2400" b="1" dirty="0" smtClean="0">
                <a:solidFill>
                  <a:srgbClr val="660066"/>
                </a:solidFill>
                <a:latin typeface="黑体" pitchFamily="49" charset="-122"/>
                <a:ea typeface="黑体" pitchFamily="49" charset="-122"/>
              </a:rPr>
              <a:t>　　</a:t>
            </a:r>
            <a:endParaRPr lang="zh-CN" altLang="en-US" sz="2400" dirty="0" smtClean="0">
              <a:solidFill>
                <a:srgbClr val="FFFFFF"/>
              </a:solidFill>
              <a:latin typeface="黑体" pitchFamily="49" charset="-122"/>
              <a:ea typeface="黑体" pitchFamily="49" charset="-122"/>
            </a:endParaRPr>
          </a:p>
        </p:txBody>
      </p:sp>
      <p:pic>
        <p:nvPicPr>
          <p:cNvPr id="31" name="Picture 4" descr="农夫"/>
          <p:cNvPicPr>
            <a:picLocks noChangeAspect="1" noChangeArrowheads="1"/>
          </p:cNvPicPr>
          <p:nvPr/>
        </p:nvPicPr>
        <p:blipFill>
          <a:blip r:embed="rId4" cstate="print"/>
          <a:srcRect/>
          <a:stretch>
            <a:fillRect/>
          </a:stretch>
        </p:blipFill>
        <p:spPr bwMode="auto">
          <a:xfrm>
            <a:off x="3779912" y="4725144"/>
            <a:ext cx="1440160" cy="1499444"/>
          </a:xfrm>
          <a:prstGeom prst="rect">
            <a:avLst/>
          </a:prstGeom>
          <a:noFill/>
          <a:ln w="9525">
            <a:noFill/>
            <a:miter lim="800000"/>
            <a:headEnd/>
            <a:tailEnd/>
          </a:ln>
        </p:spPr>
      </p:pic>
      <p:sp>
        <p:nvSpPr>
          <p:cNvPr id="10" name="圆角矩形 9"/>
          <p:cNvSpPr/>
          <p:nvPr/>
        </p:nvSpPr>
        <p:spPr>
          <a:xfrm>
            <a:off x="827584" y="4005064"/>
            <a:ext cx="5904656" cy="720080"/>
          </a:xfrm>
          <a:prstGeom prst="roundRect">
            <a:avLst>
              <a:gd name="adj" fmla="val 4305"/>
            </a:avLst>
          </a:prstGeom>
          <a:solidFill>
            <a:srgbClr val="FF0000"/>
          </a:solidFill>
          <a:ln w="25400" cap="flat" cmpd="sng" algn="ctr">
            <a:noFill/>
            <a:prstDash val="solid"/>
          </a:ln>
          <a:effectLst/>
        </p:spPr>
        <p:txBody>
          <a:bodyPr rtlCol="0" anchor="ctr"/>
          <a:lstStyle/>
          <a:p>
            <a:pPr indent="266553" algn="just" fontAlgn="base">
              <a:spcBef>
                <a:spcPct val="0"/>
              </a:spcBef>
              <a:defRPr/>
            </a:pPr>
            <a:r>
              <a:rPr lang="en-US" altLang="zh-CN" sz="2000" kern="100" dirty="0" smtClean="0">
                <a:solidFill>
                  <a:srgbClr val="FFFFFF">
                    <a:lumMod val="95000"/>
                  </a:srgbClr>
                </a:solidFill>
                <a:latin typeface="黑体" pitchFamily="49" charset="-122"/>
                <a:ea typeface="黑体" pitchFamily="49" charset="-122"/>
                <a:cs typeface="Arial"/>
              </a:rPr>
              <a:t>【</a:t>
            </a:r>
            <a:r>
              <a:rPr lang="zh-CN" altLang="en-US" sz="2000" kern="100" dirty="0" smtClean="0">
                <a:solidFill>
                  <a:srgbClr val="FFFFFF">
                    <a:lumMod val="95000"/>
                  </a:srgbClr>
                </a:solidFill>
                <a:latin typeface="黑体" pitchFamily="49" charset="-122"/>
                <a:ea typeface="黑体" pitchFamily="49" charset="-122"/>
                <a:cs typeface="Arial"/>
              </a:rPr>
              <a:t>课堂讨论</a:t>
            </a:r>
            <a:r>
              <a:rPr lang="en-US" altLang="zh-CN" sz="2000" kern="100" dirty="0" smtClean="0">
                <a:solidFill>
                  <a:srgbClr val="FFFFFF">
                    <a:lumMod val="95000"/>
                  </a:srgbClr>
                </a:solidFill>
                <a:latin typeface="黑体" pitchFamily="49" charset="-122"/>
                <a:ea typeface="黑体" pitchFamily="49" charset="-122"/>
                <a:cs typeface="Arial"/>
              </a:rPr>
              <a:t>】</a:t>
            </a:r>
            <a:r>
              <a:rPr lang="zh-CN" altLang="en-US" sz="2000" kern="100" dirty="0" smtClean="0">
                <a:solidFill>
                  <a:srgbClr val="FFFFFF">
                    <a:lumMod val="95000"/>
                  </a:srgbClr>
                </a:solidFill>
                <a:latin typeface="黑体" pitchFamily="49" charset="-122"/>
                <a:ea typeface="黑体" pitchFamily="49" charset="-122"/>
                <a:cs typeface="Arial"/>
              </a:rPr>
              <a:t>你认为这个农民为什么要这么做？</a:t>
            </a:r>
            <a:endParaRPr lang="zh-CN" altLang="en-US" sz="2000" kern="100" dirty="0">
              <a:solidFill>
                <a:srgbClr val="FFFFFF">
                  <a:lumMod val="95000"/>
                </a:srgbClr>
              </a:solidFill>
              <a:latin typeface="黑体" pitchFamily="49" charset="-122"/>
              <a:ea typeface="黑体" pitchFamily="49" charset="-122"/>
            </a:endParaRPr>
          </a:p>
        </p:txBody>
      </p:sp>
    </p:spTree>
    <p:custDataLst>
      <p:tags r:id="rId1"/>
    </p:custDataLst>
  </p:cSld>
  <p:clrMapOvr>
    <a:masterClrMapping/>
  </p:clrMapOvr>
  <p:transition advTm="143678"/>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1" presetClass="entr" presetSubtype="0" fill="hold" nodeType="afterEffect">
                                  <p:stCondLst>
                                    <p:cond delay="0"/>
                                  </p:stCondLst>
                                  <p:iterate type="wd">
                                    <p:tmPct val="10000"/>
                                  </p:iterate>
                                  <p:childTnLst>
                                    <p:set>
                                      <p:cBhvr>
                                        <p:cTn id="6" dur="1" fill="hold">
                                          <p:stCondLst>
                                            <p:cond delay="0"/>
                                          </p:stCondLst>
                                        </p:cTn>
                                        <p:tgtEl>
                                          <p:spTgt spid="29">
                                            <p:txEl>
                                              <p:pRg st="0" end="0"/>
                                            </p:txEl>
                                          </p:spTgt>
                                        </p:tgtEl>
                                        <p:attrNameLst>
                                          <p:attrName>style.visibility</p:attrName>
                                        </p:attrNameLst>
                                      </p:cBhvr>
                                      <p:to>
                                        <p:strVal val="visible"/>
                                      </p:to>
                                    </p:set>
                                    <p:animEffect transition="in" filter="fade">
                                      <p:cBhvr>
                                        <p:cTn id="7" dur="770" decel="100000"/>
                                        <p:tgtEl>
                                          <p:spTgt spid="29">
                                            <p:txEl>
                                              <p:pRg st="0" end="0"/>
                                            </p:txEl>
                                          </p:spTgt>
                                        </p:tgtEl>
                                      </p:cBhvr>
                                    </p:animEffect>
                                    <p:animScale>
                                      <p:cBhvr>
                                        <p:cTn id="8" dur="770" decel="100000"/>
                                        <p:tgtEl>
                                          <p:spTgt spid="29">
                                            <p:txEl>
                                              <p:pRg st="0" end="0"/>
                                            </p:txEl>
                                          </p:spTgt>
                                        </p:tgtEl>
                                      </p:cBhvr>
                                      <p:from x="10000" y="10000"/>
                                      <p:to x="200000" y="450000"/>
                                    </p:animScale>
                                    <p:animScale>
                                      <p:cBhvr>
                                        <p:cTn id="9" dur="1230" accel="100000" fill="hold">
                                          <p:stCondLst>
                                            <p:cond delay="770"/>
                                          </p:stCondLst>
                                        </p:cTn>
                                        <p:tgtEl>
                                          <p:spTgt spid="29">
                                            <p:txEl>
                                              <p:pRg st="0" end="0"/>
                                            </p:txEl>
                                          </p:spTgt>
                                        </p:tgtEl>
                                      </p:cBhvr>
                                      <p:from x="200000" y="450000"/>
                                      <p:to x="100000" y="100000"/>
                                    </p:animScale>
                                    <p:set>
                                      <p:cBhvr>
                                        <p:cTn id="10" dur="770" fill="hold"/>
                                        <p:tgtEl>
                                          <p:spTgt spid="29">
                                            <p:txEl>
                                              <p:pRg st="0" end="0"/>
                                            </p:txEl>
                                          </p:spTgt>
                                        </p:tgtEl>
                                        <p:attrNameLst>
                                          <p:attrName>ppt_x</p:attrName>
                                        </p:attrNameLst>
                                      </p:cBhvr>
                                      <p:to>
                                        <p:strVal val="(0.5)"/>
                                      </p:to>
                                    </p:set>
                                    <p:anim from="(0.5)" to="(#ppt_x)" calcmode="lin" valueType="num">
                                      <p:cBhvr>
                                        <p:cTn id="11" dur="1230" accel="100000" fill="hold">
                                          <p:stCondLst>
                                            <p:cond delay="770"/>
                                          </p:stCondLst>
                                        </p:cTn>
                                        <p:tgtEl>
                                          <p:spTgt spid="29">
                                            <p:txEl>
                                              <p:pRg st="0" end="0"/>
                                            </p:txEl>
                                          </p:spTgt>
                                        </p:tgtEl>
                                        <p:attrNameLst>
                                          <p:attrName>ppt_x</p:attrName>
                                        </p:attrNameLst>
                                      </p:cBhvr>
                                    </p:anim>
                                    <p:set>
                                      <p:cBhvr>
                                        <p:cTn id="12" dur="770" fill="hold"/>
                                        <p:tgtEl>
                                          <p:spTgt spid="29">
                                            <p:txEl>
                                              <p:pRg st="0" end="0"/>
                                            </p:txEl>
                                          </p:spTgt>
                                        </p:tgtEl>
                                        <p:attrNameLst>
                                          <p:attrName>ppt_y</p:attrName>
                                        </p:attrNameLst>
                                      </p:cBhvr>
                                      <p:to>
                                        <p:strVal val="(#ppt_y+0.4)"/>
                                      </p:to>
                                    </p:set>
                                    <p:anim from="(#ppt_y+0.4)" to="(#ppt_y)" calcmode="lin" valueType="num">
                                      <p:cBhvr>
                                        <p:cTn id="13" dur="1230" accel="100000" fill="hold">
                                          <p:stCondLst>
                                            <p:cond delay="770"/>
                                          </p:stCondLst>
                                        </p:cTn>
                                        <p:tgtEl>
                                          <p:spTgt spid="29">
                                            <p:txEl>
                                              <p:pRg st="0" end="0"/>
                                            </p:txEl>
                                          </p:spTgt>
                                        </p:tgtEl>
                                        <p:attrNameLst>
                                          <p:attrName>ppt_y</p:attrName>
                                        </p:attrNameLst>
                                      </p:cBhvr>
                                    </p:anim>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1" nodeType="clickEffect">
                                  <p:stCondLst>
                                    <p:cond delay="0"/>
                                  </p:stCondLst>
                                  <p:childTnLst>
                                    <p:set>
                                      <p:cBhvr>
                                        <p:cTn id="17" dur="1" fill="hold">
                                          <p:stCondLst>
                                            <p:cond delay="0"/>
                                          </p:stCondLst>
                                        </p:cTn>
                                        <p:tgtEl>
                                          <p:spTgt spid="10"/>
                                        </p:tgtEl>
                                        <p:attrNameLst>
                                          <p:attrName>style.visibility</p:attrName>
                                        </p:attrNameLst>
                                      </p:cBhvr>
                                      <p:to>
                                        <p:strVal val="visible"/>
                                      </p:to>
                                    </p:set>
                                    <p:animEffect transition="in" filter="fade">
                                      <p:cBhvr>
                                        <p:cTn id="18" dur="500"/>
                                        <p:tgtEl>
                                          <p:spTgt spid="10"/>
                                        </p:tgtEl>
                                      </p:cBhvr>
                                    </p:animEffect>
                                  </p:childTnLst>
                                </p:cTn>
                              </p:par>
                              <p:par>
                                <p:cTn id="19" presetID="35" presetClass="path" presetSubtype="0" repeatCount="indefinite" autoRev="1" fill="hold" grpId="0" nodeType="withEffect">
                                  <p:stCondLst>
                                    <p:cond delay="0"/>
                                  </p:stCondLst>
                                  <p:childTnLst>
                                    <p:animMotion origin="layout" path="M -1.94444E-6 2.53165E-6 L -0.05243 2.53165E-6 " pathEditMode="relative" rAng="0" ptsTypes="AA">
                                      <p:cBhvr>
                                        <p:cTn id="20" dur="1500" fill="hold"/>
                                        <p:tgtEl>
                                          <p:spTgt spid="10"/>
                                        </p:tgtEl>
                                        <p:attrNameLst>
                                          <p:attrName>ppt_x</p:attrName>
                                          <p:attrName>ppt_y</p:attrName>
                                        </p:attrNameLst>
                                      </p:cBhvr>
                                      <p:rCtr x="-2622"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0" grpId="1" animBg="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endParaRPr lang="zh-CN" altLang="en-US" dirty="0"/>
          </a:p>
        </p:txBody>
      </p:sp>
      <p:sp>
        <p:nvSpPr>
          <p:cNvPr id="3" name="图片占位符 2"/>
          <p:cNvSpPr>
            <a:spLocks noGrp="1"/>
          </p:cNvSpPr>
          <p:nvPr>
            <p:ph type="pic" idx="1"/>
          </p:nvPr>
        </p:nvSpPr>
        <p:spPr/>
      </p:sp>
      <p:sp>
        <p:nvSpPr>
          <p:cNvPr id="4" name="文本占位符 3"/>
          <p:cNvSpPr>
            <a:spLocks noGrp="1"/>
          </p:cNvSpPr>
          <p:nvPr>
            <p:ph type="body" sz="half" idx="2"/>
          </p:nvPr>
        </p:nvSpPr>
        <p:spPr/>
        <p:txBody>
          <a:bodyPr/>
          <a:lstStyle/>
          <a:p>
            <a:endParaRPr lang="zh-CN" altLang="en-US"/>
          </a:p>
        </p:txBody>
      </p:sp>
      <p:pic>
        <p:nvPicPr>
          <p:cNvPr id="1026" name="Picture 2" descr="http://resource.gbxx123.com/site/image/editorupload/2017/10/10/17391507615843163.jpg"/>
          <p:cNvPicPr>
            <a:picLocks noChangeAspect="1" noChangeArrowheads="1"/>
          </p:cNvPicPr>
          <p:nvPr/>
        </p:nvPicPr>
        <p:blipFill>
          <a:blip r:embed="rId2" cstate="print"/>
          <a:srcRect/>
          <a:stretch>
            <a:fillRect/>
          </a:stretch>
        </p:blipFill>
        <p:spPr bwMode="auto">
          <a:xfrm>
            <a:off x="4067944" y="836712"/>
            <a:ext cx="4032448" cy="3312368"/>
          </a:xfrm>
          <a:prstGeom prst="rect">
            <a:avLst/>
          </a:prstGeom>
          <a:noFill/>
        </p:spPr>
      </p:pic>
      <p:pic>
        <p:nvPicPr>
          <p:cNvPr id="1030" name="Picture 6" descr="http://wx2.sinaimg.cn/orj360/6cfea0adly1fkmst5c5w2j20ty17cqdu.jpg"/>
          <p:cNvPicPr>
            <a:picLocks noChangeAspect="1" noChangeArrowheads="1"/>
          </p:cNvPicPr>
          <p:nvPr/>
        </p:nvPicPr>
        <p:blipFill>
          <a:blip r:embed="rId3" cstate="print"/>
          <a:srcRect/>
          <a:stretch>
            <a:fillRect/>
          </a:stretch>
        </p:blipFill>
        <p:spPr bwMode="auto">
          <a:xfrm>
            <a:off x="395536" y="764704"/>
            <a:ext cx="3429000" cy="4962526"/>
          </a:xfrm>
          <a:prstGeom prst="rect">
            <a:avLst/>
          </a:prstGeom>
          <a:noFill/>
        </p:spPr>
      </p:pic>
      <p:sp>
        <p:nvSpPr>
          <p:cNvPr id="8" name="TextBox 7"/>
          <p:cNvSpPr txBox="1"/>
          <p:nvPr/>
        </p:nvSpPr>
        <p:spPr>
          <a:xfrm>
            <a:off x="3995936" y="4221088"/>
            <a:ext cx="4464496" cy="2031325"/>
          </a:xfrm>
          <a:prstGeom prst="rect">
            <a:avLst/>
          </a:prstGeom>
          <a:noFill/>
        </p:spPr>
        <p:txBody>
          <a:bodyPr wrap="square" rtlCol="0">
            <a:spAutoFit/>
          </a:bodyPr>
          <a:lstStyle/>
          <a:p>
            <a:r>
              <a:rPr lang="zh-CN" altLang="en-US" b="1" dirty="0" smtClean="0">
                <a:solidFill>
                  <a:srgbClr val="002060"/>
                </a:solidFill>
                <a:latin typeface="黑体" pitchFamily="49" charset="-122"/>
                <a:ea typeface="黑体" pitchFamily="49" charset="-122"/>
              </a:rPr>
              <a:t>    人是社会性的动物，在社会中生存就免不了人际交往，而和谐的人际关系能给个人的成长和进步创造更大更有利的发展空间，只有在坚持人际交往原则的基础上正确处理好处理竞争与合作的关系，才能实现个人与他人的和谐，才能为人生价值的实现创造良好的人际环境。</a:t>
            </a:r>
            <a:endParaRPr lang="zh-CN" altLang="en-US" dirty="0">
              <a:solidFill>
                <a:srgbClr val="5F5F5F"/>
              </a:solidFill>
            </a:endParaRPr>
          </a:p>
        </p:txBody>
      </p:sp>
      <p:sp>
        <p:nvSpPr>
          <p:cNvPr id="9" name="TextBox 8"/>
          <p:cNvSpPr txBox="1"/>
          <p:nvPr/>
        </p:nvSpPr>
        <p:spPr>
          <a:xfrm>
            <a:off x="3491880" y="116632"/>
            <a:ext cx="3384376" cy="646331"/>
          </a:xfrm>
          <a:prstGeom prst="rect">
            <a:avLst/>
          </a:prstGeom>
          <a:noFill/>
        </p:spPr>
        <p:txBody>
          <a:bodyPr wrap="square" rtlCol="0">
            <a:spAutoFit/>
          </a:bodyPr>
          <a:lstStyle/>
          <a:p>
            <a:r>
              <a:rPr lang="zh-CN" altLang="en-US" sz="3600" dirty="0" smtClean="0">
                <a:solidFill>
                  <a:srgbClr val="FF0000"/>
                </a:solidFill>
                <a:latin typeface="黑体" pitchFamily="49" charset="-122"/>
                <a:ea typeface="黑体" pitchFamily="49" charset="-122"/>
              </a:rPr>
              <a:t>小结</a:t>
            </a:r>
            <a:endParaRPr lang="zh-CN" altLang="en-US" sz="3600" dirty="0">
              <a:solidFill>
                <a:srgbClr val="FF0000"/>
              </a:solidFill>
              <a:latin typeface="黑体" pitchFamily="49" charset="-122"/>
              <a:ea typeface="黑体" pitchFamily="49" charset="-122"/>
            </a:endParaRPr>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7" presetClass="entr" presetSubtype="0" fill="hold" nodeType="clickEffect">
                                  <p:stCondLst>
                                    <p:cond delay="0"/>
                                  </p:stCondLst>
                                  <p:iterate type="lt">
                                    <p:tmPct val="50000"/>
                                  </p:iterate>
                                  <p:childTnLst>
                                    <p:set>
                                      <p:cBhvr>
                                        <p:cTn id="6" dur="1" fill="hold">
                                          <p:stCondLst>
                                            <p:cond delay="0"/>
                                          </p:stCondLst>
                                        </p:cTn>
                                        <p:tgtEl>
                                          <p:spTgt spid="8">
                                            <p:txEl>
                                              <p:pRg st="0" end="0"/>
                                            </p:txEl>
                                          </p:spTgt>
                                        </p:tgtEl>
                                        <p:attrNameLst>
                                          <p:attrName>style.visibility</p:attrName>
                                        </p:attrNameLst>
                                      </p:cBhvr>
                                      <p:to>
                                        <p:strVal val="visible"/>
                                      </p:to>
                                    </p:set>
                                    <p:anim calcmode="discrete" valueType="clr">
                                      <p:cBhvr override="childStyle">
                                        <p:cTn id="7" dur="80"/>
                                        <p:tgtEl>
                                          <p:spTgt spid="8">
                                            <p:txEl>
                                              <p:pRg st="0" end="0"/>
                                            </p:txEl>
                                          </p:spTgt>
                                        </p:tgtEl>
                                        <p:attrNameLst>
                                          <p:attrName>style.color</p:attrName>
                                        </p:attrNameLst>
                                      </p:cBhvr>
                                      <p:tavLst>
                                        <p:tav tm="0">
                                          <p:val>
                                            <p:clrVal>
                                              <a:schemeClr val="accent2"/>
                                            </p:clrVal>
                                          </p:val>
                                        </p:tav>
                                        <p:tav tm="50000">
                                          <p:val>
                                            <p:clrVal>
                                              <a:schemeClr val="hlink"/>
                                            </p:clrVal>
                                          </p:val>
                                        </p:tav>
                                      </p:tavLst>
                                    </p:anim>
                                    <p:anim calcmode="discrete" valueType="clr">
                                      <p:cBhvr>
                                        <p:cTn id="8" dur="80"/>
                                        <p:tgtEl>
                                          <p:spTgt spid="8">
                                            <p:txEl>
                                              <p:pRg st="0" end="0"/>
                                            </p:txEl>
                                          </p:spTgt>
                                        </p:tgtEl>
                                        <p:attrNameLst>
                                          <p:attrName>fillcolor</p:attrName>
                                        </p:attrNameLst>
                                      </p:cBhvr>
                                      <p:tavLst>
                                        <p:tav tm="0">
                                          <p:val>
                                            <p:clrVal>
                                              <a:schemeClr val="accent2"/>
                                            </p:clrVal>
                                          </p:val>
                                        </p:tav>
                                        <p:tav tm="50000">
                                          <p:val>
                                            <p:clrVal>
                                              <a:schemeClr val="hlink"/>
                                            </p:clrVal>
                                          </p:val>
                                        </p:tav>
                                      </p:tavLst>
                                    </p:anim>
                                    <p:set>
                                      <p:cBhvr>
                                        <p:cTn id="9" dur="80"/>
                                        <p:tgtEl>
                                          <p:spTgt spid="8">
                                            <p:txEl>
                                              <p:pRg st="0" end="0"/>
                                            </p:txEl>
                                          </p:spTgt>
                                        </p:tgtEl>
                                        <p:attrNameLst>
                                          <p:attrName>fill.type</p:attrName>
                                        </p:attrNameLst>
                                      </p:cBhvr>
                                      <p:to>
                                        <p:strVal val="solid"/>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1403648" y="908720"/>
            <a:ext cx="7306490" cy="740790"/>
          </a:xfrm>
        </p:spPr>
        <p:txBody>
          <a:bodyPr>
            <a:normAutofit/>
          </a:bodyPr>
          <a:lstStyle/>
          <a:p>
            <a:r>
              <a:rPr lang="zh-CN" altLang="en-US" sz="3600" dirty="0" smtClean="0"/>
              <a:t>思考题：</a:t>
            </a:r>
            <a:endParaRPr lang="zh-CN" altLang="en-US" sz="3600" dirty="0"/>
          </a:p>
        </p:txBody>
      </p:sp>
      <p:sp>
        <p:nvSpPr>
          <p:cNvPr id="3" name="TextBox 2"/>
          <p:cNvSpPr txBox="1"/>
          <p:nvPr/>
        </p:nvSpPr>
        <p:spPr>
          <a:xfrm>
            <a:off x="611560" y="2276872"/>
            <a:ext cx="7858180" cy="707886"/>
          </a:xfrm>
          <a:prstGeom prst="rect">
            <a:avLst/>
          </a:prstGeom>
          <a:noFill/>
        </p:spPr>
        <p:txBody>
          <a:bodyPr wrap="square" rtlCol="0">
            <a:spAutoFit/>
          </a:bodyPr>
          <a:lstStyle/>
          <a:p>
            <a:r>
              <a:rPr lang="zh-CN" altLang="en-US" sz="4000" b="1" dirty="0" smtClean="0">
                <a:solidFill>
                  <a:srgbClr val="002060"/>
                </a:solidFill>
              </a:rPr>
              <a:t>如何正确处理好竞争与合作的关系？</a:t>
            </a:r>
          </a:p>
        </p:txBody>
      </p:sp>
    </p:spTree>
  </p:cSld>
  <p:clrMapOvr>
    <a:masterClrMapping/>
  </p:clrMapOvr>
  <p:transition advTm="10515"/>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矩形 36"/>
          <p:cNvSpPr>
            <a:spLocks noChangeArrowheads="1"/>
          </p:cNvSpPr>
          <p:nvPr/>
        </p:nvSpPr>
        <p:spPr bwMode="auto">
          <a:xfrm>
            <a:off x="228600" y="685800"/>
            <a:ext cx="8686800" cy="762000"/>
          </a:xfrm>
          <a:prstGeom prst="rect">
            <a:avLst/>
          </a:prstGeom>
          <a:solidFill>
            <a:srgbClr val="358CC1">
              <a:lumMod val="75000"/>
            </a:srgbClr>
          </a:solidFill>
          <a:ln w="25400" cap="flat" cmpd="sng">
            <a:noFill/>
            <a:bevel/>
          </a:ln>
        </p:spPr>
        <p:txBody>
          <a:bodyPr lIns="91389" tIns="45694" rIns="91389" bIns="45694" anchor="ctr"/>
          <a:lstStyle/>
          <a:p>
            <a:pPr algn="ctr">
              <a:defRPr/>
            </a:pPr>
            <a:r>
              <a:rPr lang="zh-CN" altLang="en-US" sz="2500" kern="0" dirty="0">
                <a:solidFill>
                  <a:srgbClr val="FFFFFF"/>
                </a:solidFill>
                <a:effectLst>
                  <a:outerShdw blurRad="38100" dist="38100" dir="2700000" algn="tl">
                    <a:srgbClr val="000000">
                      <a:alpha val="43137"/>
                    </a:srgbClr>
                  </a:outerShdw>
                </a:effectLst>
                <a:latin typeface="黑体" pitchFamily="49" charset="-122"/>
                <a:ea typeface="黑体" pitchFamily="49" charset="-122"/>
                <a:sym typeface="宋体" pitchFamily="2" charset="-122"/>
              </a:rPr>
              <a:t>人是社会的人，要想获得生存与发展，就必须学会为自己创造一个良好的外部人际环境。</a:t>
            </a:r>
          </a:p>
        </p:txBody>
      </p:sp>
      <p:sp>
        <p:nvSpPr>
          <p:cNvPr id="22" name="TextBox 63"/>
          <p:cNvSpPr>
            <a:spLocks noChangeArrowheads="1"/>
          </p:cNvSpPr>
          <p:nvPr/>
        </p:nvSpPr>
        <p:spPr bwMode="auto">
          <a:xfrm>
            <a:off x="681038" y="4724400"/>
            <a:ext cx="3128962" cy="2016125"/>
          </a:xfrm>
          <a:prstGeom prst="rect">
            <a:avLst/>
          </a:prstGeom>
          <a:noFill/>
          <a:ln w="9525">
            <a:noFill/>
            <a:miter lim="800000"/>
          </a:ln>
        </p:spPr>
        <p:txBody>
          <a:bodyPr lIns="91389" tIns="45694" rIns="91389" bIns="45694">
            <a:spAutoFit/>
          </a:bodyPr>
          <a:lstStyle/>
          <a:p>
            <a:pPr>
              <a:defRPr/>
            </a:pPr>
            <a:r>
              <a:rPr lang="zh-CN" altLang="en-US" sz="2500" b="1" kern="0" dirty="0">
                <a:solidFill>
                  <a:srgbClr val="5F5F5F">
                    <a:lumMod val="50000"/>
                  </a:srgbClr>
                </a:solidFill>
                <a:effectLst>
                  <a:outerShdw blurRad="38100" dist="38100" dir="2700000" algn="tl">
                    <a:srgbClr val="000000">
                      <a:alpha val="43137"/>
                    </a:srgbClr>
                  </a:outerShdw>
                </a:effectLst>
                <a:latin typeface="黑体" pitchFamily="49" charset="-122"/>
                <a:ea typeface="黑体" pitchFamily="49" charset="-122"/>
              </a:rPr>
              <a:t>    </a:t>
            </a:r>
            <a:r>
              <a:rPr lang="zh-CN" altLang="en-US" sz="2500" b="1" kern="0" dirty="0">
                <a:solidFill>
                  <a:srgbClr val="002060"/>
                </a:solidFill>
                <a:latin typeface="黑体" pitchFamily="49" charset="-122"/>
                <a:ea typeface="黑体" pitchFamily="49" charset="-122"/>
              </a:rPr>
              <a:t>一个生活在社会之外的人，同人不发生联系的人，不是动物就是神。</a:t>
            </a:r>
            <a:r>
              <a:rPr lang="zh-CN" altLang="en-US" sz="2500" b="1" kern="0" dirty="0">
                <a:solidFill>
                  <a:srgbClr val="002060"/>
                </a:solidFill>
                <a:effectLst>
                  <a:outerShdw blurRad="38100" dist="38100" dir="2700000" algn="tl">
                    <a:srgbClr val="000000">
                      <a:alpha val="43137"/>
                    </a:srgbClr>
                  </a:outerShdw>
                </a:effectLst>
                <a:latin typeface="黑体" pitchFamily="49" charset="-122"/>
                <a:ea typeface="黑体" pitchFamily="49" charset="-122"/>
              </a:rPr>
              <a:t>                                           </a:t>
            </a:r>
            <a:endParaRPr lang="en-US" altLang="zh-CN" sz="2500" b="1" kern="0" dirty="0">
              <a:solidFill>
                <a:srgbClr val="002060"/>
              </a:solidFill>
              <a:effectLst>
                <a:outerShdw blurRad="38100" dist="38100" dir="2700000" algn="tl">
                  <a:srgbClr val="000000">
                    <a:alpha val="43137"/>
                  </a:srgbClr>
                </a:outerShdw>
              </a:effectLst>
              <a:latin typeface="黑体" pitchFamily="49" charset="-122"/>
              <a:ea typeface="黑体" pitchFamily="49" charset="-122"/>
            </a:endParaRPr>
          </a:p>
          <a:p>
            <a:pPr>
              <a:defRPr/>
            </a:pPr>
            <a:r>
              <a:rPr lang="en-US" altLang="zh-CN" sz="2500" b="1" kern="0" dirty="0">
                <a:solidFill>
                  <a:sysClr val="windowText" lastClr="000000"/>
                </a:solidFill>
                <a:effectLst>
                  <a:outerShdw blurRad="38100" dist="38100" dir="2700000" algn="tl">
                    <a:srgbClr val="000000">
                      <a:alpha val="43137"/>
                    </a:srgbClr>
                  </a:outerShdw>
                </a:effectLst>
                <a:latin typeface="宋体" charset="0"/>
              </a:rPr>
              <a:t>    ——</a:t>
            </a:r>
            <a:r>
              <a:rPr lang="zh-CN" altLang="en-US" sz="2500" b="1" kern="0" dirty="0">
                <a:solidFill>
                  <a:sysClr val="windowText" lastClr="000000"/>
                </a:solidFill>
                <a:effectLst>
                  <a:outerShdw blurRad="38100" dist="38100" dir="2700000" algn="tl">
                    <a:srgbClr val="000000">
                      <a:alpha val="43137"/>
                    </a:srgbClr>
                  </a:outerShdw>
                </a:effectLst>
                <a:latin typeface="宋体" charset="0"/>
              </a:rPr>
              <a:t>亚里士多德</a:t>
            </a:r>
          </a:p>
        </p:txBody>
      </p:sp>
      <p:sp>
        <p:nvSpPr>
          <p:cNvPr id="23" name="TextBox 63"/>
          <p:cNvSpPr>
            <a:spLocks noChangeArrowheads="1"/>
          </p:cNvSpPr>
          <p:nvPr/>
        </p:nvSpPr>
        <p:spPr bwMode="auto">
          <a:xfrm>
            <a:off x="3602038" y="1524000"/>
            <a:ext cx="2189162" cy="1824038"/>
          </a:xfrm>
          <a:prstGeom prst="rect">
            <a:avLst/>
          </a:prstGeom>
          <a:noFill/>
          <a:ln w="9525">
            <a:noFill/>
            <a:miter lim="800000"/>
          </a:ln>
        </p:spPr>
        <p:txBody>
          <a:bodyPr lIns="91389" tIns="45694" rIns="91389" bIns="45694">
            <a:spAutoFit/>
          </a:bodyPr>
          <a:lstStyle/>
          <a:p>
            <a:pPr marL="228472" indent="-228472" latinLnBrk="1">
              <a:lnSpc>
                <a:spcPct val="150000"/>
              </a:lnSpc>
              <a:defRPr/>
            </a:pPr>
            <a:r>
              <a:rPr lang="zh-CN" altLang="en-US" sz="2500" b="1" kern="0" dirty="0">
                <a:solidFill>
                  <a:srgbClr val="002060"/>
                </a:solidFill>
                <a:latin typeface="黑体" pitchFamily="49" charset="-122"/>
                <a:ea typeface="黑体" pitchFamily="49" charset="-122"/>
              </a:rPr>
              <a:t>交往是人类的</a:t>
            </a:r>
            <a:endParaRPr lang="en-US" altLang="zh-CN" sz="2500" b="1" kern="0" dirty="0">
              <a:solidFill>
                <a:srgbClr val="002060"/>
              </a:solidFill>
              <a:latin typeface="黑体" pitchFamily="49" charset="-122"/>
              <a:ea typeface="黑体" pitchFamily="49" charset="-122"/>
            </a:endParaRPr>
          </a:p>
          <a:p>
            <a:pPr marL="228472" indent="-228472" latinLnBrk="1">
              <a:lnSpc>
                <a:spcPct val="150000"/>
              </a:lnSpc>
              <a:defRPr/>
            </a:pPr>
            <a:r>
              <a:rPr lang="zh-CN" altLang="en-US" sz="2500" b="1" kern="0" dirty="0">
                <a:solidFill>
                  <a:srgbClr val="002060"/>
                </a:solidFill>
                <a:latin typeface="黑体" pitchFamily="49" charset="-122"/>
                <a:ea typeface="黑体" pitchFamily="49" charset="-122"/>
              </a:rPr>
              <a:t>必然伴侣</a:t>
            </a:r>
            <a:r>
              <a:rPr lang="zh-CN" altLang="en-US" sz="2500" b="1" kern="0" dirty="0">
                <a:solidFill>
                  <a:srgbClr val="002060"/>
                </a:solidFill>
                <a:latin typeface="黑体" pitchFamily="49" charset="-122"/>
              </a:rPr>
              <a:t>。</a:t>
            </a:r>
            <a:endParaRPr lang="en-US" altLang="zh-CN" sz="2500" b="1" kern="0" dirty="0">
              <a:solidFill>
                <a:srgbClr val="002060"/>
              </a:solidFill>
              <a:latin typeface="黑体" pitchFamily="49" charset="-122"/>
            </a:endParaRPr>
          </a:p>
          <a:p>
            <a:pPr marL="228472" indent="-228472" latinLnBrk="1">
              <a:lnSpc>
                <a:spcPct val="150000"/>
              </a:lnSpc>
              <a:defRPr/>
            </a:pPr>
            <a:r>
              <a:rPr lang="en-US" altLang="zh-CN" sz="2500" kern="0" dirty="0">
                <a:solidFill>
                  <a:sysClr val="windowText" lastClr="000000"/>
                </a:solidFill>
                <a:effectLst>
                  <a:outerShdw blurRad="38100" dist="38100" dir="2700000" algn="tl">
                    <a:srgbClr val="000000">
                      <a:alpha val="43137"/>
                    </a:srgbClr>
                  </a:outerShdw>
                </a:effectLst>
                <a:latin typeface="Arial"/>
              </a:rPr>
              <a:t>——</a:t>
            </a:r>
            <a:r>
              <a:rPr lang="zh-CN" altLang="en-US" sz="2500" kern="0" dirty="0">
                <a:solidFill>
                  <a:sysClr val="windowText" lastClr="000000"/>
                </a:solidFill>
                <a:effectLst>
                  <a:outerShdw blurRad="38100" dist="38100" dir="2700000" algn="tl">
                    <a:srgbClr val="000000">
                      <a:alpha val="43137"/>
                    </a:srgbClr>
                  </a:outerShdw>
                </a:effectLst>
                <a:latin typeface="黑体" pitchFamily="49" charset="-122"/>
              </a:rPr>
              <a:t>马克思</a:t>
            </a:r>
          </a:p>
        </p:txBody>
      </p:sp>
      <p:sp>
        <p:nvSpPr>
          <p:cNvPr id="24" name="TextBox 63"/>
          <p:cNvSpPr>
            <a:spLocks noChangeArrowheads="1"/>
          </p:cNvSpPr>
          <p:nvPr/>
        </p:nvSpPr>
        <p:spPr bwMode="auto">
          <a:xfrm>
            <a:off x="5857875" y="4038600"/>
            <a:ext cx="3133725" cy="2854325"/>
          </a:xfrm>
          <a:prstGeom prst="rect">
            <a:avLst/>
          </a:prstGeom>
          <a:noFill/>
          <a:ln w="9525">
            <a:noFill/>
            <a:miter lim="800000"/>
          </a:ln>
        </p:spPr>
        <p:txBody>
          <a:bodyPr lIns="91389" tIns="45694" rIns="91389" bIns="45694">
            <a:spAutoFit/>
          </a:bodyPr>
          <a:lstStyle/>
          <a:p>
            <a:pPr marL="228472" indent="-228472" latinLnBrk="1">
              <a:lnSpc>
                <a:spcPct val="150000"/>
              </a:lnSpc>
              <a:defRPr/>
            </a:pPr>
            <a:r>
              <a:rPr lang="zh-CN" altLang="en-US" b="1" kern="0" dirty="0">
                <a:solidFill>
                  <a:srgbClr val="5F5F5F">
                    <a:lumMod val="50000"/>
                  </a:srgbClr>
                </a:solidFill>
                <a:effectLst>
                  <a:outerShdw blurRad="38100" dist="38100" dir="2700000" algn="tl">
                    <a:srgbClr val="000000">
                      <a:alpha val="43137"/>
                    </a:srgbClr>
                  </a:outerShdw>
                </a:effectLst>
                <a:latin typeface="黑体" pitchFamily="49" charset="-122"/>
                <a:ea typeface="黑体" pitchFamily="49" charset="-122"/>
              </a:rPr>
              <a:t>       </a:t>
            </a:r>
            <a:r>
              <a:rPr lang="zh-CN" altLang="en-US" sz="2000" b="1" kern="0" dirty="0">
                <a:solidFill>
                  <a:srgbClr val="002060"/>
                </a:solidFill>
                <a:latin typeface="黑体" pitchFamily="49" charset="-122"/>
                <a:ea typeface="黑体" pitchFamily="49" charset="-122"/>
              </a:rPr>
              <a:t>一个人的成功</a:t>
            </a:r>
            <a:r>
              <a:rPr lang="en-US" altLang="zh-CN" sz="2000" b="1" kern="0" dirty="0">
                <a:solidFill>
                  <a:srgbClr val="002060"/>
                </a:solidFill>
                <a:latin typeface="黑体" pitchFamily="49" charset="-122"/>
                <a:ea typeface="黑体" pitchFamily="49" charset="-122"/>
              </a:rPr>
              <a:t>,</a:t>
            </a:r>
            <a:r>
              <a:rPr lang="zh-CN" altLang="en-US" sz="2000" b="1" kern="0" dirty="0">
                <a:solidFill>
                  <a:srgbClr val="002060"/>
                </a:solidFill>
                <a:latin typeface="黑体" pitchFamily="49" charset="-122"/>
                <a:ea typeface="黑体" pitchFamily="49" charset="-122"/>
              </a:rPr>
              <a:t>只有</a:t>
            </a:r>
            <a:r>
              <a:rPr lang="en-US" altLang="zh-CN" sz="2000" b="1" kern="0" dirty="0">
                <a:solidFill>
                  <a:srgbClr val="002060"/>
                </a:solidFill>
                <a:latin typeface="黑体" pitchFamily="49" charset="-122"/>
                <a:ea typeface="黑体" pitchFamily="49" charset="-122"/>
              </a:rPr>
              <a:t>15%</a:t>
            </a:r>
            <a:r>
              <a:rPr lang="zh-CN" altLang="en-US" sz="2000" b="1" kern="0" dirty="0">
                <a:solidFill>
                  <a:srgbClr val="002060"/>
                </a:solidFill>
                <a:latin typeface="黑体" pitchFamily="49" charset="-122"/>
                <a:ea typeface="黑体" pitchFamily="49" charset="-122"/>
              </a:rPr>
              <a:t>是由于他的专业技术</a:t>
            </a:r>
            <a:r>
              <a:rPr lang="en-US" altLang="zh-CN" sz="2000" b="1" kern="0" dirty="0">
                <a:solidFill>
                  <a:srgbClr val="002060"/>
                </a:solidFill>
                <a:latin typeface="黑体" pitchFamily="49" charset="-122"/>
                <a:ea typeface="黑体" pitchFamily="49" charset="-122"/>
              </a:rPr>
              <a:t>,</a:t>
            </a:r>
            <a:r>
              <a:rPr lang="zh-CN" altLang="en-US" sz="2000" b="1" kern="0" dirty="0">
                <a:solidFill>
                  <a:srgbClr val="002060"/>
                </a:solidFill>
                <a:latin typeface="黑体" pitchFamily="49" charset="-122"/>
                <a:ea typeface="黑体" pitchFamily="49" charset="-122"/>
              </a:rPr>
              <a:t>而</a:t>
            </a:r>
            <a:r>
              <a:rPr lang="en-US" altLang="zh-CN" sz="2000" b="1" kern="0" dirty="0">
                <a:solidFill>
                  <a:srgbClr val="002060"/>
                </a:solidFill>
                <a:latin typeface="黑体" pitchFamily="49" charset="-122"/>
                <a:ea typeface="黑体" pitchFamily="49" charset="-122"/>
              </a:rPr>
              <a:t>85%</a:t>
            </a:r>
            <a:r>
              <a:rPr lang="zh-CN" altLang="en-US" sz="2000" b="1" kern="0" dirty="0">
                <a:solidFill>
                  <a:srgbClr val="002060"/>
                </a:solidFill>
                <a:latin typeface="黑体" pitchFamily="49" charset="-122"/>
                <a:ea typeface="黑体" pitchFamily="49" charset="-122"/>
              </a:rPr>
              <a:t>则要靠人际关系和做人处世能力。   </a:t>
            </a:r>
            <a:endParaRPr lang="en-US" altLang="zh-CN" sz="2000" b="1" kern="0" dirty="0">
              <a:solidFill>
                <a:srgbClr val="002060"/>
              </a:solidFill>
              <a:latin typeface="黑体" pitchFamily="49" charset="-122"/>
              <a:ea typeface="黑体" pitchFamily="49" charset="-122"/>
            </a:endParaRPr>
          </a:p>
          <a:p>
            <a:pPr marL="228472" indent="-228472" latinLnBrk="1">
              <a:lnSpc>
                <a:spcPct val="150000"/>
              </a:lnSpc>
              <a:defRPr/>
            </a:pPr>
            <a:r>
              <a:rPr lang="en-US" altLang="zh-CN" b="1" kern="0" dirty="0">
                <a:solidFill>
                  <a:srgbClr val="5F5F5F">
                    <a:lumMod val="50000"/>
                  </a:srgbClr>
                </a:solidFill>
                <a:effectLst>
                  <a:outerShdw blurRad="38100" dist="38100" dir="2700000" algn="tl">
                    <a:srgbClr val="000000">
                      <a:alpha val="43137"/>
                    </a:srgbClr>
                  </a:outerShdw>
                </a:effectLst>
                <a:latin typeface="Arial"/>
              </a:rPr>
              <a:t>     ——</a:t>
            </a:r>
            <a:r>
              <a:rPr lang="zh-CN" altLang="en-US" b="1" kern="0" dirty="0">
                <a:solidFill>
                  <a:srgbClr val="5F5F5F">
                    <a:lumMod val="50000"/>
                  </a:srgbClr>
                </a:solidFill>
                <a:effectLst>
                  <a:outerShdw blurRad="38100" dist="38100" dir="2700000" algn="tl">
                    <a:srgbClr val="000000">
                      <a:alpha val="43137"/>
                    </a:srgbClr>
                  </a:outerShdw>
                </a:effectLst>
                <a:latin typeface="黑体" pitchFamily="49" charset="-122"/>
              </a:rPr>
              <a:t>戴尔</a:t>
            </a:r>
            <a:r>
              <a:rPr lang="en-US" altLang="zh-CN" b="1" kern="0" dirty="0">
                <a:solidFill>
                  <a:srgbClr val="5F5F5F">
                    <a:lumMod val="50000"/>
                  </a:srgbClr>
                </a:solidFill>
                <a:effectLst>
                  <a:outerShdw blurRad="38100" dist="38100" dir="2700000" algn="tl">
                    <a:srgbClr val="000000">
                      <a:alpha val="43137"/>
                    </a:srgbClr>
                  </a:outerShdw>
                </a:effectLst>
                <a:latin typeface="黑体" pitchFamily="49" charset="-122"/>
              </a:rPr>
              <a:t>.</a:t>
            </a:r>
            <a:r>
              <a:rPr lang="zh-CN" altLang="en-US" b="1" kern="0" dirty="0">
                <a:solidFill>
                  <a:srgbClr val="5F5F5F">
                    <a:lumMod val="50000"/>
                  </a:srgbClr>
                </a:solidFill>
                <a:effectLst>
                  <a:outerShdw blurRad="38100" dist="38100" dir="2700000" algn="tl">
                    <a:srgbClr val="000000">
                      <a:alpha val="43137"/>
                    </a:srgbClr>
                  </a:outerShdw>
                </a:effectLst>
                <a:latin typeface="黑体" pitchFamily="49" charset="-122"/>
              </a:rPr>
              <a:t>卡耐基</a:t>
            </a:r>
          </a:p>
          <a:p>
            <a:pPr>
              <a:lnSpc>
                <a:spcPct val="130000"/>
              </a:lnSpc>
              <a:defRPr/>
            </a:pPr>
            <a:endParaRPr lang="zh-CN" altLang="en-US" sz="2500" kern="0" dirty="0">
              <a:solidFill>
                <a:sysClr val="windowText" lastClr="000000"/>
              </a:solidFill>
              <a:effectLst>
                <a:outerShdw blurRad="38100" dist="38100" dir="2700000" algn="tl">
                  <a:srgbClr val="000000">
                    <a:alpha val="43137"/>
                  </a:srgbClr>
                </a:outerShdw>
              </a:effectLst>
              <a:latin typeface="宋体" charset="0"/>
            </a:endParaRPr>
          </a:p>
        </p:txBody>
      </p:sp>
      <p:grpSp>
        <p:nvGrpSpPr>
          <p:cNvPr id="2" name="Group 51"/>
          <p:cNvGrpSpPr>
            <a:grpSpLocks/>
          </p:cNvGrpSpPr>
          <p:nvPr/>
        </p:nvGrpSpPr>
        <p:grpSpPr bwMode="auto">
          <a:xfrm>
            <a:off x="6777038" y="4038600"/>
            <a:ext cx="182562" cy="193675"/>
            <a:chOff x="4232" y="1845"/>
            <a:chExt cx="164" cy="135"/>
          </a:xfrm>
        </p:grpSpPr>
        <p:sp>
          <p:nvSpPr>
            <p:cNvPr id="111634" name="AutoShape 52"/>
            <p:cNvSpPr>
              <a:spLocks noChangeArrowheads="1"/>
            </p:cNvSpPr>
            <p:nvPr/>
          </p:nvSpPr>
          <p:spPr bwMode="auto">
            <a:xfrm rot="16200000" flipV="1">
              <a:off x="4222" y="1858"/>
              <a:ext cx="132" cy="114"/>
            </a:xfrm>
            <a:prstGeom prst="triangle">
              <a:avLst>
                <a:gd name="adj" fmla="val 50000"/>
              </a:avLst>
            </a:prstGeom>
            <a:solidFill>
              <a:srgbClr val="FF6600"/>
            </a:solidFill>
            <a:ln w="9525">
              <a:noFill/>
              <a:miter lim="800000"/>
              <a:headEnd/>
              <a:tailEnd/>
            </a:ln>
          </p:spPr>
          <p:txBody>
            <a:bodyPr rot="10800000" vert="eaVert" wrap="none" anchor="ctr"/>
            <a:lstStyle/>
            <a:p>
              <a:pPr algn="ctr" eaLnBrk="0" fontAlgn="base" hangingPunct="0">
                <a:spcBef>
                  <a:spcPct val="0"/>
                </a:spcBef>
                <a:spcAft>
                  <a:spcPct val="0"/>
                </a:spcAft>
                <a:defRPr/>
              </a:pPr>
              <a:endParaRPr lang="zh-CN" altLang="zh-CN" dirty="0">
                <a:solidFill>
                  <a:srgbClr val="FFFFFF"/>
                </a:solidFill>
                <a:effectLst>
                  <a:outerShdw blurRad="38100" dist="38100" dir="2700000" algn="tl">
                    <a:srgbClr val="000000">
                      <a:alpha val="43137"/>
                    </a:srgbClr>
                  </a:outerShdw>
                </a:effectLst>
                <a:latin typeface="黑体" pitchFamily="49" charset="-122"/>
                <a:cs typeface="Arial" pitchFamily="34" charset="0"/>
              </a:endParaRPr>
            </a:p>
          </p:txBody>
        </p:sp>
        <p:sp>
          <p:nvSpPr>
            <p:cNvPr id="111635" name="AutoShape 53"/>
            <p:cNvSpPr>
              <a:spLocks noChangeArrowheads="1"/>
            </p:cNvSpPr>
            <p:nvPr/>
          </p:nvSpPr>
          <p:spPr bwMode="auto">
            <a:xfrm rot="16200000" flipV="1">
              <a:off x="4272" y="1862"/>
              <a:ext cx="135" cy="113"/>
            </a:xfrm>
            <a:prstGeom prst="triangle">
              <a:avLst>
                <a:gd name="adj" fmla="val 50000"/>
              </a:avLst>
            </a:prstGeom>
            <a:solidFill>
              <a:srgbClr val="FF6600"/>
            </a:solidFill>
            <a:ln w="9525">
              <a:noFill/>
              <a:miter lim="800000"/>
              <a:headEnd/>
              <a:tailEnd/>
            </a:ln>
          </p:spPr>
          <p:txBody>
            <a:bodyPr rot="10800000" vert="eaVert" wrap="none" anchor="ctr"/>
            <a:lstStyle/>
            <a:p>
              <a:pPr algn="ctr" eaLnBrk="0" fontAlgn="base" hangingPunct="0">
                <a:spcBef>
                  <a:spcPct val="0"/>
                </a:spcBef>
                <a:spcAft>
                  <a:spcPct val="0"/>
                </a:spcAft>
                <a:defRPr/>
              </a:pPr>
              <a:endParaRPr lang="zh-CN" altLang="zh-CN" dirty="0">
                <a:solidFill>
                  <a:srgbClr val="FFFFFF"/>
                </a:solidFill>
                <a:effectLst>
                  <a:outerShdw blurRad="38100" dist="38100" dir="2700000" algn="tl">
                    <a:srgbClr val="000000">
                      <a:alpha val="43137"/>
                    </a:srgbClr>
                  </a:outerShdw>
                </a:effectLst>
                <a:latin typeface="黑体" pitchFamily="49" charset="-122"/>
                <a:cs typeface="Arial" pitchFamily="34" charset="0"/>
              </a:endParaRPr>
            </a:p>
          </p:txBody>
        </p:sp>
      </p:grpSp>
      <p:grpSp>
        <p:nvGrpSpPr>
          <p:cNvPr id="3" name="Group 51"/>
          <p:cNvGrpSpPr>
            <a:grpSpLocks/>
          </p:cNvGrpSpPr>
          <p:nvPr/>
        </p:nvGrpSpPr>
        <p:grpSpPr bwMode="auto">
          <a:xfrm>
            <a:off x="3470275" y="2136775"/>
            <a:ext cx="182563" cy="193675"/>
            <a:chOff x="4232" y="1845"/>
            <a:chExt cx="164" cy="135"/>
          </a:xfrm>
        </p:grpSpPr>
        <p:sp>
          <p:nvSpPr>
            <p:cNvPr id="111632" name="AutoShape 52"/>
            <p:cNvSpPr>
              <a:spLocks noChangeArrowheads="1"/>
            </p:cNvSpPr>
            <p:nvPr/>
          </p:nvSpPr>
          <p:spPr bwMode="auto">
            <a:xfrm rot="16200000" flipV="1">
              <a:off x="4222" y="1858"/>
              <a:ext cx="132" cy="114"/>
            </a:xfrm>
            <a:prstGeom prst="triangle">
              <a:avLst>
                <a:gd name="adj" fmla="val 50000"/>
              </a:avLst>
            </a:prstGeom>
            <a:solidFill>
              <a:srgbClr val="FF6600"/>
            </a:solidFill>
            <a:ln w="9525">
              <a:noFill/>
              <a:miter lim="800000"/>
              <a:headEnd/>
              <a:tailEnd/>
            </a:ln>
          </p:spPr>
          <p:txBody>
            <a:bodyPr rot="10800000" vert="eaVert" wrap="none" anchor="ctr"/>
            <a:lstStyle/>
            <a:p>
              <a:pPr algn="ctr" eaLnBrk="0" fontAlgn="base" hangingPunct="0">
                <a:spcBef>
                  <a:spcPct val="0"/>
                </a:spcBef>
                <a:spcAft>
                  <a:spcPct val="0"/>
                </a:spcAft>
                <a:defRPr/>
              </a:pPr>
              <a:endParaRPr lang="zh-CN" altLang="zh-CN" dirty="0">
                <a:solidFill>
                  <a:srgbClr val="FFFFFF"/>
                </a:solidFill>
                <a:effectLst>
                  <a:outerShdw blurRad="38100" dist="38100" dir="2700000" algn="tl">
                    <a:srgbClr val="000000">
                      <a:alpha val="43137"/>
                    </a:srgbClr>
                  </a:outerShdw>
                </a:effectLst>
                <a:latin typeface="黑体" pitchFamily="49" charset="-122"/>
                <a:cs typeface="Arial" pitchFamily="34" charset="0"/>
              </a:endParaRPr>
            </a:p>
          </p:txBody>
        </p:sp>
        <p:sp>
          <p:nvSpPr>
            <p:cNvPr id="111633" name="AutoShape 53"/>
            <p:cNvSpPr>
              <a:spLocks noChangeArrowheads="1"/>
            </p:cNvSpPr>
            <p:nvPr/>
          </p:nvSpPr>
          <p:spPr bwMode="auto">
            <a:xfrm rot="16200000" flipV="1">
              <a:off x="4272" y="1862"/>
              <a:ext cx="135" cy="113"/>
            </a:xfrm>
            <a:prstGeom prst="triangle">
              <a:avLst>
                <a:gd name="adj" fmla="val 50000"/>
              </a:avLst>
            </a:prstGeom>
            <a:solidFill>
              <a:srgbClr val="FF6600"/>
            </a:solidFill>
            <a:ln w="9525">
              <a:noFill/>
              <a:miter lim="800000"/>
              <a:headEnd/>
              <a:tailEnd/>
            </a:ln>
          </p:spPr>
          <p:txBody>
            <a:bodyPr rot="10800000" vert="eaVert" wrap="none" anchor="ctr"/>
            <a:lstStyle/>
            <a:p>
              <a:pPr algn="ctr" eaLnBrk="0" fontAlgn="base" hangingPunct="0">
                <a:spcBef>
                  <a:spcPct val="0"/>
                </a:spcBef>
                <a:spcAft>
                  <a:spcPct val="0"/>
                </a:spcAft>
                <a:defRPr/>
              </a:pPr>
              <a:endParaRPr lang="zh-CN" altLang="zh-CN" dirty="0">
                <a:solidFill>
                  <a:srgbClr val="FFFFFF"/>
                </a:solidFill>
                <a:effectLst>
                  <a:outerShdw blurRad="38100" dist="38100" dir="2700000" algn="tl">
                    <a:srgbClr val="000000">
                      <a:alpha val="43137"/>
                    </a:srgbClr>
                  </a:outerShdw>
                </a:effectLst>
                <a:latin typeface="黑体" pitchFamily="49" charset="-122"/>
                <a:cs typeface="Arial" pitchFamily="34" charset="0"/>
              </a:endParaRPr>
            </a:p>
          </p:txBody>
        </p:sp>
      </p:grpSp>
      <p:grpSp>
        <p:nvGrpSpPr>
          <p:cNvPr id="4" name="Group 51"/>
          <p:cNvGrpSpPr>
            <a:grpSpLocks/>
          </p:cNvGrpSpPr>
          <p:nvPr/>
        </p:nvGrpSpPr>
        <p:grpSpPr bwMode="auto">
          <a:xfrm>
            <a:off x="598488" y="4997450"/>
            <a:ext cx="182562" cy="193675"/>
            <a:chOff x="4232" y="1845"/>
            <a:chExt cx="164" cy="135"/>
          </a:xfrm>
        </p:grpSpPr>
        <p:sp>
          <p:nvSpPr>
            <p:cNvPr id="111630" name="AutoShape 52"/>
            <p:cNvSpPr>
              <a:spLocks noChangeArrowheads="1"/>
            </p:cNvSpPr>
            <p:nvPr/>
          </p:nvSpPr>
          <p:spPr bwMode="auto">
            <a:xfrm rot="16200000" flipV="1">
              <a:off x="4222" y="1858"/>
              <a:ext cx="132" cy="114"/>
            </a:xfrm>
            <a:prstGeom prst="triangle">
              <a:avLst>
                <a:gd name="adj" fmla="val 50000"/>
              </a:avLst>
            </a:prstGeom>
            <a:solidFill>
              <a:srgbClr val="FF6600"/>
            </a:solidFill>
            <a:ln w="9525">
              <a:noFill/>
              <a:miter lim="800000"/>
              <a:headEnd/>
              <a:tailEnd/>
            </a:ln>
          </p:spPr>
          <p:txBody>
            <a:bodyPr rot="10800000" vert="eaVert" wrap="none" anchor="ctr"/>
            <a:lstStyle/>
            <a:p>
              <a:pPr algn="ctr" eaLnBrk="0" fontAlgn="base" hangingPunct="0">
                <a:spcBef>
                  <a:spcPct val="0"/>
                </a:spcBef>
                <a:spcAft>
                  <a:spcPct val="0"/>
                </a:spcAft>
                <a:defRPr/>
              </a:pPr>
              <a:endParaRPr lang="zh-CN" altLang="zh-CN" dirty="0">
                <a:solidFill>
                  <a:srgbClr val="FFFFFF"/>
                </a:solidFill>
                <a:effectLst>
                  <a:outerShdw blurRad="38100" dist="38100" dir="2700000" algn="tl">
                    <a:srgbClr val="000000">
                      <a:alpha val="43137"/>
                    </a:srgbClr>
                  </a:outerShdw>
                </a:effectLst>
                <a:latin typeface="黑体" pitchFamily="49" charset="-122"/>
                <a:cs typeface="Arial" pitchFamily="34" charset="0"/>
              </a:endParaRPr>
            </a:p>
          </p:txBody>
        </p:sp>
        <p:sp>
          <p:nvSpPr>
            <p:cNvPr id="111631" name="AutoShape 53"/>
            <p:cNvSpPr>
              <a:spLocks noChangeArrowheads="1"/>
            </p:cNvSpPr>
            <p:nvPr/>
          </p:nvSpPr>
          <p:spPr bwMode="auto">
            <a:xfrm rot="16200000" flipV="1">
              <a:off x="4272" y="1862"/>
              <a:ext cx="135" cy="113"/>
            </a:xfrm>
            <a:prstGeom prst="triangle">
              <a:avLst>
                <a:gd name="adj" fmla="val 50000"/>
              </a:avLst>
            </a:prstGeom>
            <a:solidFill>
              <a:srgbClr val="FF6600"/>
            </a:solidFill>
            <a:ln w="9525">
              <a:noFill/>
              <a:miter lim="800000"/>
              <a:headEnd/>
              <a:tailEnd/>
            </a:ln>
          </p:spPr>
          <p:txBody>
            <a:bodyPr rot="10800000" vert="eaVert" wrap="none" anchor="ctr"/>
            <a:lstStyle/>
            <a:p>
              <a:pPr algn="ctr" eaLnBrk="0" fontAlgn="base" hangingPunct="0">
                <a:spcBef>
                  <a:spcPct val="0"/>
                </a:spcBef>
                <a:spcAft>
                  <a:spcPct val="0"/>
                </a:spcAft>
                <a:defRPr/>
              </a:pPr>
              <a:endParaRPr lang="zh-CN" altLang="zh-CN" dirty="0">
                <a:solidFill>
                  <a:srgbClr val="FFFFFF"/>
                </a:solidFill>
                <a:effectLst>
                  <a:outerShdw blurRad="38100" dist="38100" dir="2700000" algn="tl">
                    <a:srgbClr val="000000">
                      <a:alpha val="43137"/>
                    </a:srgbClr>
                  </a:outerShdw>
                </a:effectLst>
                <a:latin typeface="黑体" pitchFamily="49" charset="-122"/>
                <a:cs typeface="Arial" pitchFamily="34" charset="0"/>
              </a:endParaRPr>
            </a:p>
          </p:txBody>
        </p:sp>
      </p:grpSp>
      <p:pic>
        <p:nvPicPr>
          <p:cNvPr id="112649" name="Picture 2" descr="http://i5.qhmsg.com/dr/270_500_/t01658e1dea522d23ff.jpg?size=448x600"/>
          <p:cNvPicPr>
            <a:picLocks noChangeAspect="1" noChangeArrowheads="1"/>
          </p:cNvPicPr>
          <p:nvPr/>
        </p:nvPicPr>
        <p:blipFill>
          <a:blip r:embed="rId2" cstate="print"/>
          <a:srcRect/>
          <a:stretch>
            <a:fillRect/>
          </a:stretch>
        </p:blipFill>
        <p:spPr bwMode="auto">
          <a:xfrm>
            <a:off x="541338" y="1828800"/>
            <a:ext cx="2640012" cy="2609850"/>
          </a:xfrm>
          <a:prstGeom prst="rect">
            <a:avLst/>
          </a:prstGeom>
          <a:noFill/>
          <a:ln w="9525">
            <a:noFill/>
            <a:miter lim="800000"/>
            <a:headEnd/>
            <a:tailEnd/>
          </a:ln>
        </p:spPr>
      </p:pic>
      <p:pic>
        <p:nvPicPr>
          <p:cNvPr id="112650" name="Picture 4" descr="https://i.ssl.qhimg.com/dmsmfl/120_115_/t0181d5bcc827dd6e70.jpg?size=363x511"/>
          <p:cNvPicPr>
            <a:picLocks noChangeAspect="1" noChangeArrowheads="1"/>
          </p:cNvPicPr>
          <p:nvPr/>
        </p:nvPicPr>
        <p:blipFill>
          <a:blip r:embed="rId3" cstate="print"/>
          <a:srcRect/>
          <a:stretch>
            <a:fillRect/>
          </a:stretch>
        </p:blipFill>
        <p:spPr bwMode="auto">
          <a:xfrm>
            <a:off x="3757613" y="3733800"/>
            <a:ext cx="2039937" cy="2057400"/>
          </a:xfrm>
          <a:prstGeom prst="rect">
            <a:avLst/>
          </a:prstGeom>
          <a:noFill/>
          <a:ln w="9525">
            <a:noFill/>
            <a:miter lim="800000"/>
            <a:headEnd/>
            <a:tailEnd/>
          </a:ln>
        </p:spPr>
      </p:pic>
      <p:pic>
        <p:nvPicPr>
          <p:cNvPr id="112651" name="Picture 6" descr="https://i.ssl.qhimg.com/dmsmfl/120_115_/t01df6097807a776f0c.jpg?size=439x427"/>
          <p:cNvPicPr>
            <a:picLocks noChangeAspect="1" noChangeArrowheads="1"/>
          </p:cNvPicPr>
          <p:nvPr/>
        </p:nvPicPr>
        <p:blipFill>
          <a:blip r:embed="rId4" cstate="print"/>
          <a:srcRect/>
          <a:stretch>
            <a:fillRect/>
          </a:stretch>
        </p:blipFill>
        <p:spPr bwMode="auto">
          <a:xfrm>
            <a:off x="6494463" y="1752600"/>
            <a:ext cx="2268537" cy="2057400"/>
          </a:xfrm>
          <a:prstGeom prst="rect">
            <a:avLst/>
          </a:prstGeom>
          <a:noFill/>
          <a:ln w="9525">
            <a:noFill/>
            <a:miter lim="800000"/>
            <a:headEnd/>
            <a:tailEnd/>
          </a:ln>
        </p:spPr>
      </p:pic>
      <p:pic>
        <p:nvPicPr>
          <p:cNvPr id="356364" name="Picture 29" descr="运动边框"/>
          <p:cNvPicPr>
            <a:picLocks noChangeAspect="1" noChangeArrowheads="1" noCrop="1"/>
          </p:cNvPicPr>
          <p:nvPr/>
        </p:nvPicPr>
        <p:blipFill>
          <a:blip r:embed="rId5" cstate="print"/>
          <a:srcRect/>
          <a:stretch>
            <a:fillRect/>
          </a:stretch>
        </p:blipFill>
        <p:spPr bwMode="auto">
          <a:xfrm>
            <a:off x="5562600" y="6399213"/>
            <a:ext cx="3581400" cy="458787"/>
          </a:xfrm>
          <a:prstGeom prst="rect">
            <a:avLst/>
          </a:prstGeom>
          <a:noFill/>
          <a:ln w="9525">
            <a:noFill/>
            <a:miter lim="800000"/>
            <a:headEnd/>
            <a:tailEnd/>
          </a:ln>
        </p:spPr>
      </p:pic>
      <p:sp>
        <p:nvSpPr>
          <p:cNvPr id="38" name="TextBox 20"/>
          <p:cNvSpPr txBox="1">
            <a:spLocks noChangeArrowheads="1"/>
          </p:cNvSpPr>
          <p:nvPr/>
        </p:nvSpPr>
        <p:spPr bwMode="auto">
          <a:xfrm>
            <a:off x="5638800" y="6488113"/>
            <a:ext cx="3675063" cy="369887"/>
          </a:xfrm>
          <a:prstGeom prst="rect">
            <a:avLst/>
          </a:prstGeom>
          <a:noFill/>
          <a:ln w="9525">
            <a:noFill/>
            <a:miter lim="800000"/>
            <a:headEnd/>
            <a:tailEnd/>
          </a:ln>
        </p:spPr>
        <p:txBody>
          <a:bodyPr lIns="91389" tIns="45694" rIns="91389" bIns="45694">
            <a:spAutoFit/>
          </a:bodyPr>
          <a:lstStyle/>
          <a:p>
            <a:pPr>
              <a:defRPr/>
            </a:pPr>
            <a:r>
              <a:rPr lang="zh-CN" altLang="en-US" b="1" kern="0" dirty="0">
                <a:solidFill>
                  <a:srgbClr val="FFFFFF"/>
                </a:solidFill>
                <a:effectLst>
                  <a:outerShdw blurRad="38100" dist="38100" dir="2700000" algn="tl">
                    <a:srgbClr val="000000">
                      <a:alpha val="43137"/>
                    </a:srgbClr>
                  </a:outerShdw>
                </a:effectLst>
                <a:latin typeface="黑体" pitchFamily="49" charset="-122"/>
              </a:rPr>
              <a:t>第三节       科学对待人生环境</a:t>
            </a:r>
          </a:p>
        </p:txBody>
      </p:sp>
    </p:spTree>
  </p:cSld>
  <p:clrMapOvr>
    <a:masterClrMapping/>
  </p:clrMapOvr>
  <p:transition spd="slow">
    <p:plus/>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0"/>
                                  </p:stCondLst>
                                  <p:childTnLst>
                                    <p:set>
                                      <p:cBhvr>
                                        <p:cTn id="6" dur="1" fill="hold">
                                          <p:stCondLst>
                                            <p:cond delay="0"/>
                                          </p:stCondLst>
                                        </p:cTn>
                                        <p:tgtEl>
                                          <p:spTgt spid="112649"/>
                                        </p:tgtEl>
                                        <p:attrNameLst>
                                          <p:attrName>style.visibility</p:attrName>
                                        </p:attrNameLst>
                                      </p:cBhvr>
                                      <p:to>
                                        <p:strVal val="visible"/>
                                      </p:to>
                                    </p:set>
                                  </p:childTnLst>
                                </p:cTn>
                              </p:par>
                            </p:childTnLst>
                          </p:cTn>
                        </p:par>
                        <p:par>
                          <p:cTn id="7" fill="hold">
                            <p:stCondLst>
                              <p:cond delay="0"/>
                            </p:stCondLst>
                            <p:childTnLst>
                              <p:par>
                                <p:cTn id="8" presetID="17" presetClass="entr" presetSubtype="8" fill="hold" nodeType="afterEffect">
                                  <p:stCondLst>
                                    <p:cond delay="0"/>
                                  </p:stCondLst>
                                  <p:childTnLst>
                                    <p:set>
                                      <p:cBhvr>
                                        <p:cTn id="9" dur="1" fill="hold">
                                          <p:stCondLst>
                                            <p:cond delay="0"/>
                                          </p:stCondLst>
                                        </p:cTn>
                                        <p:tgtEl>
                                          <p:spTgt spid="4"/>
                                        </p:tgtEl>
                                        <p:attrNameLst>
                                          <p:attrName>style.visibility</p:attrName>
                                        </p:attrNameLst>
                                      </p:cBhvr>
                                      <p:to>
                                        <p:strVal val="visible"/>
                                      </p:to>
                                    </p:set>
                                    <p:anim calcmode="lin" valueType="num">
                                      <p:cBhvr>
                                        <p:cTn id="10" dur="500" fill="hold"/>
                                        <p:tgtEl>
                                          <p:spTgt spid="4"/>
                                        </p:tgtEl>
                                        <p:attrNameLst>
                                          <p:attrName>ppt_x</p:attrName>
                                        </p:attrNameLst>
                                      </p:cBhvr>
                                      <p:tavLst>
                                        <p:tav tm="0">
                                          <p:val>
                                            <p:strVal val="#ppt_x-#ppt_w/2"/>
                                          </p:val>
                                        </p:tav>
                                        <p:tav tm="100000">
                                          <p:val>
                                            <p:strVal val="#ppt_x"/>
                                          </p:val>
                                        </p:tav>
                                      </p:tavLst>
                                    </p:anim>
                                    <p:anim calcmode="lin" valueType="num">
                                      <p:cBhvr>
                                        <p:cTn id="11" dur="500" fill="hold"/>
                                        <p:tgtEl>
                                          <p:spTgt spid="4"/>
                                        </p:tgtEl>
                                        <p:attrNameLst>
                                          <p:attrName>ppt_y</p:attrName>
                                        </p:attrNameLst>
                                      </p:cBhvr>
                                      <p:tavLst>
                                        <p:tav tm="0">
                                          <p:val>
                                            <p:strVal val="#ppt_y"/>
                                          </p:val>
                                        </p:tav>
                                        <p:tav tm="100000">
                                          <p:val>
                                            <p:strVal val="#ppt_y"/>
                                          </p:val>
                                        </p:tav>
                                      </p:tavLst>
                                    </p:anim>
                                    <p:anim calcmode="lin" valueType="num">
                                      <p:cBhvr>
                                        <p:cTn id="12" dur="500" fill="hold"/>
                                        <p:tgtEl>
                                          <p:spTgt spid="4"/>
                                        </p:tgtEl>
                                        <p:attrNameLst>
                                          <p:attrName>ppt_w</p:attrName>
                                        </p:attrNameLst>
                                      </p:cBhvr>
                                      <p:tavLst>
                                        <p:tav tm="0">
                                          <p:val>
                                            <p:fltVal val="0"/>
                                          </p:val>
                                        </p:tav>
                                        <p:tav tm="100000">
                                          <p:val>
                                            <p:strVal val="#ppt_w"/>
                                          </p:val>
                                        </p:tav>
                                      </p:tavLst>
                                    </p:anim>
                                    <p:anim calcmode="lin" valueType="num">
                                      <p:cBhvr>
                                        <p:cTn id="13" dur="500" fill="hold"/>
                                        <p:tgtEl>
                                          <p:spTgt spid="4"/>
                                        </p:tgtEl>
                                        <p:attrNameLst>
                                          <p:attrName>ppt_h</p:attrName>
                                        </p:attrNameLst>
                                      </p:cBhvr>
                                      <p:tavLst>
                                        <p:tav tm="0">
                                          <p:val>
                                            <p:strVal val="#ppt_h"/>
                                          </p:val>
                                        </p:tav>
                                        <p:tav tm="100000">
                                          <p:val>
                                            <p:strVal val="#ppt_h"/>
                                          </p:val>
                                        </p:tav>
                                      </p:tavLst>
                                    </p:anim>
                                  </p:childTnLst>
                                </p:cTn>
                              </p:par>
                              <p:par>
                                <p:cTn id="14" presetID="42" presetClass="entr" presetSubtype="0" fill="hold" grpId="0" nodeType="withEffect">
                                  <p:stCondLst>
                                    <p:cond delay="0"/>
                                  </p:stCondLst>
                                  <p:childTnLst>
                                    <p:set>
                                      <p:cBhvr>
                                        <p:cTn id="15" dur="1" fill="hold">
                                          <p:stCondLst>
                                            <p:cond delay="0"/>
                                          </p:stCondLst>
                                        </p:cTn>
                                        <p:tgtEl>
                                          <p:spTgt spid="22"/>
                                        </p:tgtEl>
                                        <p:attrNameLst>
                                          <p:attrName>style.visibility</p:attrName>
                                        </p:attrNameLst>
                                      </p:cBhvr>
                                      <p:to>
                                        <p:strVal val="visible"/>
                                      </p:to>
                                    </p:set>
                                    <p:animEffect transition="in" filter="fade">
                                      <p:cBhvr>
                                        <p:cTn id="16" dur="1000"/>
                                        <p:tgtEl>
                                          <p:spTgt spid="22"/>
                                        </p:tgtEl>
                                      </p:cBhvr>
                                    </p:animEffect>
                                    <p:anim calcmode="lin" valueType="num">
                                      <p:cBhvr>
                                        <p:cTn id="17" dur="1000" fill="hold"/>
                                        <p:tgtEl>
                                          <p:spTgt spid="22"/>
                                        </p:tgtEl>
                                        <p:attrNameLst>
                                          <p:attrName>ppt_x</p:attrName>
                                        </p:attrNameLst>
                                      </p:cBhvr>
                                      <p:tavLst>
                                        <p:tav tm="0">
                                          <p:val>
                                            <p:strVal val="#ppt_x"/>
                                          </p:val>
                                        </p:tav>
                                        <p:tav tm="100000">
                                          <p:val>
                                            <p:strVal val="#ppt_x"/>
                                          </p:val>
                                        </p:tav>
                                      </p:tavLst>
                                    </p:anim>
                                    <p:anim calcmode="lin" valueType="num">
                                      <p:cBhvr>
                                        <p:cTn id="18" dur="1000" fill="hold"/>
                                        <p:tgtEl>
                                          <p:spTgt spid="22"/>
                                        </p:tgtEl>
                                        <p:attrNameLst>
                                          <p:attrName>ppt_y</p:attrName>
                                        </p:attrNameLst>
                                      </p:cBhvr>
                                      <p:tavLst>
                                        <p:tav tm="0">
                                          <p:val>
                                            <p:strVal val="#ppt_y+.1"/>
                                          </p:val>
                                        </p:tav>
                                        <p:tav tm="100000">
                                          <p:val>
                                            <p:strVal val="#ppt_y"/>
                                          </p:val>
                                        </p:tav>
                                      </p:tavLst>
                                    </p:anim>
                                  </p:childTnLst>
                                </p:cTn>
                              </p:par>
                            </p:childTnLst>
                          </p:cTn>
                        </p:par>
                        <p:par>
                          <p:cTn id="19" fill="hold">
                            <p:stCondLst>
                              <p:cond delay="1000"/>
                            </p:stCondLst>
                            <p:childTnLst>
                              <p:par>
                                <p:cTn id="20" presetID="17" presetClass="entr" presetSubtype="8" fill="hold" nodeType="afterEffect">
                                  <p:stCondLst>
                                    <p:cond delay="0"/>
                                  </p:stCondLst>
                                  <p:childTnLst>
                                    <p:set>
                                      <p:cBhvr>
                                        <p:cTn id="21" dur="1" fill="hold">
                                          <p:stCondLst>
                                            <p:cond delay="0"/>
                                          </p:stCondLst>
                                        </p:cTn>
                                        <p:tgtEl>
                                          <p:spTgt spid="3"/>
                                        </p:tgtEl>
                                        <p:attrNameLst>
                                          <p:attrName>style.visibility</p:attrName>
                                        </p:attrNameLst>
                                      </p:cBhvr>
                                      <p:to>
                                        <p:strVal val="visible"/>
                                      </p:to>
                                    </p:set>
                                    <p:anim calcmode="lin" valueType="num">
                                      <p:cBhvr>
                                        <p:cTn id="22" dur="500" fill="hold"/>
                                        <p:tgtEl>
                                          <p:spTgt spid="3"/>
                                        </p:tgtEl>
                                        <p:attrNameLst>
                                          <p:attrName>ppt_x</p:attrName>
                                        </p:attrNameLst>
                                      </p:cBhvr>
                                      <p:tavLst>
                                        <p:tav tm="0">
                                          <p:val>
                                            <p:strVal val="#ppt_x-#ppt_w/2"/>
                                          </p:val>
                                        </p:tav>
                                        <p:tav tm="100000">
                                          <p:val>
                                            <p:strVal val="#ppt_x"/>
                                          </p:val>
                                        </p:tav>
                                      </p:tavLst>
                                    </p:anim>
                                    <p:anim calcmode="lin" valueType="num">
                                      <p:cBhvr>
                                        <p:cTn id="23" dur="500" fill="hold"/>
                                        <p:tgtEl>
                                          <p:spTgt spid="3"/>
                                        </p:tgtEl>
                                        <p:attrNameLst>
                                          <p:attrName>ppt_y</p:attrName>
                                        </p:attrNameLst>
                                      </p:cBhvr>
                                      <p:tavLst>
                                        <p:tav tm="0">
                                          <p:val>
                                            <p:strVal val="#ppt_y"/>
                                          </p:val>
                                        </p:tav>
                                        <p:tav tm="100000">
                                          <p:val>
                                            <p:strVal val="#ppt_y"/>
                                          </p:val>
                                        </p:tav>
                                      </p:tavLst>
                                    </p:anim>
                                    <p:anim calcmode="lin" valueType="num">
                                      <p:cBhvr>
                                        <p:cTn id="24" dur="500" fill="hold"/>
                                        <p:tgtEl>
                                          <p:spTgt spid="3"/>
                                        </p:tgtEl>
                                        <p:attrNameLst>
                                          <p:attrName>ppt_w</p:attrName>
                                        </p:attrNameLst>
                                      </p:cBhvr>
                                      <p:tavLst>
                                        <p:tav tm="0">
                                          <p:val>
                                            <p:fltVal val="0"/>
                                          </p:val>
                                        </p:tav>
                                        <p:tav tm="100000">
                                          <p:val>
                                            <p:strVal val="#ppt_w"/>
                                          </p:val>
                                        </p:tav>
                                      </p:tavLst>
                                    </p:anim>
                                    <p:anim calcmode="lin" valueType="num">
                                      <p:cBhvr>
                                        <p:cTn id="25" dur="500" fill="hold"/>
                                        <p:tgtEl>
                                          <p:spTgt spid="3"/>
                                        </p:tgtEl>
                                        <p:attrNameLst>
                                          <p:attrName>ppt_h</p:attrName>
                                        </p:attrNameLst>
                                      </p:cBhvr>
                                      <p:tavLst>
                                        <p:tav tm="0">
                                          <p:val>
                                            <p:strVal val="#ppt_h"/>
                                          </p:val>
                                        </p:tav>
                                        <p:tav tm="100000">
                                          <p:val>
                                            <p:strVal val="#ppt_h"/>
                                          </p:val>
                                        </p:tav>
                                      </p:tavLst>
                                    </p:anim>
                                  </p:childTnLst>
                                </p:cTn>
                              </p:par>
                            </p:childTnLst>
                          </p:cTn>
                        </p:par>
                        <p:par>
                          <p:cTn id="26" fill="hold">
                            <p:stCondLst>
                              <p:cond delay="1500"/>
                            </p:stCondLst>
                            <p:childTnLst>
                              <p:par>
                                <p:cTn id="27" presetID="2" presetClass="entr" presetSubtype="4" fill="hold" nodeType="afterEffect">
                                  <p:stCondLst>
                                    <p:cond delay="0"/>
                                  </p:stCondLst>
                                  <p:childTnLst>
                                    <p:set>
                                      <p:cBhvr>
                                        <p:cTn id="28" dur="1" fill="hold">
                                          <p:stCondLst>
                                            <p:cond delay="0"/>
                                          </p:stCondLst>
                                        </p:cTn>
                                        <p:tgtEl>
                                          <p:spTgt spid="112650"/>
                                        </p:tgtEl>
                                        <p:attrNameLst>
                                          <p:attrName>style.visibility</p:attrName>
                                        </p:attrNameLst>
                                      </p:cBhvr>
                                      <p:to>
                                        <p:strVal val="visible"/>
                                      </p:to>
                                    </p:set>
                                    <p:anim calcmode="lin" valueType="num">
                                      <p:cBhvr additive="base">
                                        <p:cTn id="29" dur="500" fill="hold"/>
                                        <p:tgtEl>
                                          <p:spTgt spid="112650"/>
                                        </p:tgtEl>
                                        <p:attrNameLst>
                                          <p:attrName>ppt_x</p:attrName>
                                        </p:attrNameLst>
                                      </p:cBhvr>
                                      <p:tavLst>
                                        <p:tav tm="0">
                                          <p:val>
                                            <p:strVal val="#ppt_x"/>
                                          </p:val>
                                        </p:tav>
                                        <p:tav tm="100000">
                                          <p:val>
                                            <p:strVal val="#ppt_x"/>
                                          </p:val>
                                        </p:tav>
                                      </p:tavLst>
                                    </p:anim>
                                    <p:anim calcmode="lin" valueType="num">
                                      <p:cBhvr additive="base">
                                        <p:cTn id="30" dur="500" fill="hold"/>
                                        <p:tgtEl>
                                          <p:spTgt spid="112650"/>
                                        </p:tgtEl>
                                        <p:attrNameLst>
                                          <p:attrName>ppt_y</p:attrName>
                                        </p:attrNameLst>
                                      </p:cBhvr>
                                      <p:tavLst>
                                        <p:tav tm="0">
                                          <p:val>
                                            <p:strVal val="1+#ppt_h/2"/>
                                          </p:val>
                                        </p:tav>
                                        <p:tav tm="100000">
                                          <p:val>
                                            <p:strVal val="#ppt_y"/>
                                          </p:val>
                                        </p:tav>
                                      </p:tavLst>
                                    </p:anim>
                                  </p:childTnLst>
                                </p:cTn>
                              </p:par>
                              <p:par>
                                <p:cTn id="31" presetID="42" presetClass="entr" presetSubtype="0" fill="hold" grpId="0" nodeType="withEffect">
                                  <p:stCondLst>
                                    <p:cond delay="0"/>
                                  </p:stCondLst>
                                  <p:childTnLst>
                                    <p:set>
                                      <p:cBhvr>
                                        <p:cTn id="32" dur="1" fill="hold">
                                          <p:stCondLst>
                                            <p:cond delay="0"/>
                                          </p:stCondLst>
                                        </p:cTn>
                                        <p:tgtEl>
                                          <p:spTgt spid="23"/>
                                        </p:tgtEl>
                                        <p:attrNameLst>
                                          <p:attrName>style.visibility</p:attrName>
                                        </p:attrNameLst>
                                      </p:cBhvr>
                                      <p:to>
                                        <p:strVal val="visible"/>
                                      </p:to>
                                    </p:set>
                                    <p:animEffect transition="in" filter="fade">
                                      <p:cBhvr>
                                        <p:cTn id="33" dur="1000"/>
                                        <p:tgtEl>
                                          <p:spTgt spid="23"/>
                                        </p:tgtEl>
                                      </p:cBhvr>
                                    </p:animEffect>
                                    <p:anim calcmode="lin" valueType="num">
                                      <p:cBhvr>
                                        <p:cTn id="34" dur="1000" fill="hold"/>
                                        <p:tgtEl>
                                          <p:spTgt spid="23"/>
                                        </p:tgtEl>
                                        <p:attrNameLst>
                                          <p:attrName>ppt_x</p:attrName>
                                        </p:attrNameLst>
                                      </p:cBhvr>
                                      <p:tavLst>
                                        <p:tav tm="0">
                                          <p:val>
                                            <p:strVal val="#ppt_x"/>
                                          </p:val>
                                        </p:tav>
                                        <p:tav tm="100000">
                                          <p:val>
                                            <p:strVal val="#ppt_x"/>
                                          </p:val>
                                        </p:tav>
                                      </p:tavLst>
                                    </p:anim>
                                    <p:anim calcmode="lin" valueType="num">
                                      <p:cBhvr>
                                        <p:cTn id="35" dur="1000" fill="hold"/>
                                        <p:tgtEl>
                                          <p:spTgt spid="23"/>
                                        </p:tgtEl>
                                        <p:attrNameLst>
                                          <p:attrName>ppt_y</p:attrName>
                                        </p:attrNameLst>
                                      </p:cBhvr>
                                      <p:tavLst>
                                        <p:tav tm="0">
                                          <p:val>
                                            <p:strVal val="#ppt_y+.1"/>
                                          </p:val>
                                        </p:tav>
                                        <p:tav tm="100000">
                                          <p:val>
                                            <p:strVal val="#ppt_y"/>
                                          </p:val>
                                        </p:tav>
                                      </p:tavLst>
                                    </p:anim>
                                  </p:childTnLst>
                                </p:cTn>
                              </p:par>
                            </p:childTnLst>
                          </p:cTn>
                        </p:par>
                        <p:par>
                          <p:cTn id="36" fill="hold">
                            <p:stCondLst>
                              <p:cond delay="2500"/>
                            </p:stCondLst>
                            <p:childTnLst>
                              <p:par>
                                <p:cTn id="37" presetID="17" presetClass="entr" presetSubtype="8" fill="hold" nodeType="afterEffect">
                                  <p:stCondLst>
                                    <p:cond delay="0"/>
                                  </p:stCondLst>
                                  <p:childTnLst>
                                    <p:set>
                                      <p:cBhvr>
                                        <p:cTn id="38" dur="1" fill="hold">
                                          <p:stCondLst>
                                            <p:cond delay="0"/>
                                          </p:stCondLst>
                                        </p:cTn>
                                        <p:tgtEl>
                                          <p:spTgt spid="2"/>
                                        </p:tgtEl>
                                        <p:attrNameLst>
                                          <p:attrName>style.visibility</p:attrName>
                                        </p:attrNameLst>
                                      </p:cBhvr>
                                      <p:to>
                                        <p:strVal val="visible"/>
                                      </p:to>
                                    </p:set>
                                    <p:anim calcmode="lin" valueType="num">
                                      <p:cBhvr>
                                        <p:cTn id="39" dur="500" fill="hold"/>
                                        <p:tgtEl>
                                          <p:spTgt spid="2"/>
                                        </p:tgtEl>
                                        <p:attrNameLst>
                                          <p:attrName>ppt_x</p:attrName>
                                        </p:attrNameLst>
                                      </p:cBhvr>
                                      <p:tavLst>
                                        <p:tav tm="0">
                                          <p:val>
                                            <p:strVal val="#ppt_x-#ppt_w/2"/>
                                          </p:val>
                                        </p:tav>
                                        <p:tav tm="100000">
                                          <p:val>
                                            <p:strVal val="#ppt_x"/>
                                          </p:val>
                                        </p:tav>
                                      </p:tavLst>
                                    </p:anim>
                                    <p:anim calcmode="lin" valueType="num">
                                      <p:cBhvr>
                                        <p:cTn id="40" dur="500" fill="hold"/>
                                        <p:tgtEl>
                                          <p:spTgt spid="2"/>
                                        </p:tgtEl>
                                        <p:attrNameLst>
                                          <p:attrName>ppt_y</p:attrName>
                                        </p:attrNameLst>
                                      </p:cBhvr>
                                      <p:tavLst>
                                        <p:tav tm="0">
                                          <p:val>
                                            <p:strVal val="#ppt_y"/>
                                          </p:val>
                                        </p:tav>
                                        <p:tav tm="100000">
                                          <p:val>
                                            <p:strVal val="#ppt_y"/>
                                          </p:val>
                                        </p:tav>
                                      </p:tavLst>
                                    </p:anim>
                                    <p:anim calcmode="lin" valueType="num">
                                      <p:cBhvr>
                                        <p:cTn id="41" dur="500" fill="hold"/>
                                        <p:tgtEl>
                                          <p:spTgt spid="2"/>
                                        </p:tgtEl>
                                        <p:attrNameLst>
                                          <p:attrName>ppt_w</p:attrName>
                                        </p:attrNameLst>
                                      </p:cBhvr>
                                      <p:tavLst>
                                        <p:tav tm="0">
                                          <p:val>
                                            <p:fltVal val="0"/>
                                          </p:val>
                                        </p:tav>
                                        <p:tav tm="100000">
                                          <p:val>
                                            <p:strVal val="#ppt_w"/>
                                          </p:val>
                                        </p:tav>
                                      </p:tavLst>
                                    </p:anim>
                                    <p:anim calcmode="lin" valueType="num">
                                      <p:cBhvr>
                                        <p:cTn id="42" dur="500" fill="hold"/>
                                        <p:tgtEl>
                                          <p:spTgt spid="2"/>
                                        </p:tgtEl>
                                        <p:attrNameLst>
                                          <p:attrName>ppt_h</p:attrName>
                                        </p:attrNameLst>
                                      </p:cBhvr>
                                      <p:tavLst>
                                        <p:tav tm="0">
                                          <p:val>
                                            <p:strVal val="#ppt_h"/>
                                          </p:val>
                                        </p:tav>
                                        <p:tav tm="100000">
                                          <p:val>
                                            <p:strVal val="#ppt_h"/>
                                          </p:val>
                                        </p:tav>
                                      </p:tavLst>
                                    </p:anim>
                                  </p:childTnLst>
                                </p:cTn>
                              </p:par>
                            </p:childTnLst>
                          </p:cTn>
                        </p:par>
                        <p:par>
                          <p:cTn id="43" fill="hold">
                            <p:stCondLst>
                              <p:cond delay="3000"/>
                            </p:stCondLst>
                            <p:childTnLst>
                              <p:par>
                                <p:cTn id="44" presetID="2" presetClass="entr" presetSubtype="4" fill="hold" nodeType="afterEffect">
                                  <p:stCondLst>
                                    <p:cond delay="0"/>
                                  </p:stCondLst>
                                  <p:childTnLst>
                                    <p:set>
                                      <p:cBhvr>
                                        <p:cTn id="45" dur="1" fill="hold">
                                          <p:stCondLst>
                                            <p:cond delay="0"/>
                                          </p:stCondLst>
                                        </p:cTn>
                                        <p:tgtEl>
                                          <p:spTgt spid="112651"/>
                                        </p:tgtEl>
                                        <p:attrNameLst>
                                          <p:attrName>style.visibility</p:attrName>
                                        </p:attrNameLst>
                                      </p:cBhvr>
                                      <p:to>
                                        <p:strVal val="visible"/>
                                      </p:to>
                                    </p:set>
                                    <p:anim calcmode="lin" valueType="num">
                                      <p:cBhvr additive="base">
                                        <p:cTn id="46" dur="500" fill="hold"/>
                                        <p:tgtEl>
                                          <p:spTgt spid="112651"/>
                                        </p:tgtEl>
                                        <p:attrNameLst>
                                          <p:attrName>ppt_x</p:attrName>
                                        </p:attrNameLst>
                                      </p:cBhvr>
                                      <p:tavLst>
                                        <p:tav tm="0">
                                          <p:val>
                                            <p:strVal val="#ppt_x"/>
                                          </p:val>
                                        </p:tav>
                                        <p:tav tm="100000">
                                          <p:val>
                                            <p:strVal val="#ppt_x"/>
                                          </p:val>
                                        </p:tav>
                                      </p:tavLst>
                                    </p:anim>
                                    <p:anim calcmode="lin" valueType="num">
                                      <p:cBhvr additive="base">
                                        <p:cTn id="47" dur="500" fill="hold"/>
                                        <p:tgtEl>
                                          <p:spTgt spid="112651"/>
                                        </p:tgtEl>
                                        <p:attrNameLst>
                                          <p:attrName>ppt_y</p:attrName>
                                        </p:attrNameLst>
                                      </p:cBhvr>
                                      <p:tavLst>
                                        <p:tav tm="0">
                                          <p:val>
                                            <p:strVal val="1+#ppt_h/2"/>
                                          </p:val>
                                        </p:tav>
                                        <p:tav tm="100000">
                                          <p:val>
                                            <p:strVal val="#ppt_y"/>
                                          </p:val>
                                        </p:tav>
                                      </p:tavLst>
                                    </p:anim>
                                  </p:childTnLst>
                                </p:cTn>
                              </p:par>
                              <p:par>
                                <p:cTn id="48" presetID="42" presetClass="entr" presetSubtype="0" fill="hold" grpId="0" nodeType="withEffect">
                                  <p:stCondLst>
                                    <p:cond delay="0"/>
                                  </p:stCondLst>
                                  <p:childTnLst>
                                    <p:set>
                                      <p:cBhvr>
                                        <p:cTn id="49" dur="1" fill="hold">
                                          <p:stCondLst>
                                            <p:cond delay="0"/>
                                          </p:stCondLst>
                                        </p:cTn>
                                        <p:tgtEl>
                                          <p:spTgt spid="24"/>
                                        </p:tgtEl>
                                        <p:attrNameLst>
                                          <p:attrName>style.visibility</p:attrName>
                                        </p:attrNameLst>
                                      </p:cBhvr>
                                      <p:to>
                                        <p:strVal val="visible"/>
                                      </p:to>
                                    </p:set>
                                    <p:animEffect transition="in" filter="fade">
                                      <p:cBhvr>
                                        <p:cTn id="50" dur="1000"/>
                                        <p:tgtEl>
                                          <p:spTgt spid="24"/>
                                        </p:tgtEl>
                                      </p:cBhvr>
                                    </p:animEffect>
                                    <p:anim calcmode="lin" valueType="num">
                                      <p:cBhvr>
                                        <p:cTn id="51" dur="1000" fill="hold"/>
                                        <p:tgtEl>
                                          <p:spTgt spid="24"/>
                                        </p:tgtEl>
                                        <p:attrNameLst>
                                          <p:attrName>ppt_x</p:attrName>
                                        </p:attrNameLst>
                                      </p:cBhvr>
                                      <p:tavLst>
                                        <p:tav tm="0">
                                          <p:val>
                                            <p:strVal val="#ppt_x"/>
                                          </p:val>
                                        </p:tav>
                                        <p:tav tm="100000">
                                          <p:val>
                                            <p:strVal val="#ppt_x"/>
                                          </p:val>
                                        </p:tav>
                                      </p:tavLst>
                                    </p:anim>
                                    <p:anim calcmode="lin" valueType="num">
                                      <p:cBhvr>
                                        <p:cTn id="52" dur="1000" fill="hold"/>
                                        <p:tgtEl>
                                          <p:spTgt spid="24"/>
                                        </p:tgtEl>
                                        <p:attrNameLst>
                                          <p:attrName>ppt_y</p:attrName>
                                        </p:attrNameLst>
                                      </p:cBhvr>
                                      <p:tavLst>
                                        <p:tav tm="0">
                                          <p:val>
                                            <p:strVal val="#ppt_y+.1"/>
                                          </p:val>
                                        </p:tav>
                                        <p:tav tm="100000">
                                          <p:val>
                                            <p:strVal val="#ppt_y"/>
                                          </p:val>
                                        </p:tav>
                                      </p:tavLst>
                                    </p:anim>
                                  </p:childTnLst>
                                </p:cTn>
                              </p:par>
                            </p:childTnLst>
                          </p:cTn>
                        </p:par>
                        <p:par>
                          <p:cTn id="53" fill="hold">
                            <p:stCondLst>
                              <p:cond delay="4000"/>
                            </p:stCondLst>
                            <p:childTnLst>
                              <p:par>
                                <p:cTn id="54" presetID="2" presetClass="entr" presetSubtype="8" fill="hold" grpId="0" nodeType="afterEffect">
                                  <p:stCondLst>
                                    <p:cond delay="0"/>
                                  </p:stCondLst>
                                  <p:childTnLst>
                                    <p:set>
                                      <p:cBhvr>
                                        <p:cTn id="55" dur="1" fill="hold">
                                          <p:stCondLst>
                                            <p:cond delay="0"/>
                                          </p:stCondLst>
                                        </p:cTn>
                                        <p:tgtEl>
                                          <p:spTgt spid="21"/>
                                        </p:tgtEl>
                                        <p:attrNameLst>
                                          <p:attrName>style.visibility</p:attrName>
                                        </p:attrNameLst>
                                      </p:cBhvr>
                                      <p:to>
                                        <p:strVal val="visible"/>
                                      </p:to>
                                    </p:set>
                                    <p:anim calcmode="lin" valueType="num">
                                      <p:cBhvr additive="base">
                                        <p:cTn id="56" dur="500" fill="hold"/>
                                        <p:tgtEl>
                                          <p:spTgt spid="21"/>
                                        </p:tgtEl>
                                        <p:attrNameLst>
                                          <p:attrName>ppt_x</p:attrName>
                                        </p:attrNameLst>
                                      </p:cBhvr>
                                      <p:tavLst>
                                        <p:tav tm="0">
                                          <p:val>
                                            <p:strVal val="0-#ppt_w/2"/>
                                          </p:val>
                                        </p:tav>
                                        <p:tav tm="100000">
                                          <p:val>
                                            <p:strVal val="#ppt_x"/>
                                          </p:val>
                                        </p:tav>
                                      </p:tavLst>
                                    </p:anim>
                                    <p:anim calcmode="lin" valueType="num">
                                      <p:cBhvr additive="base">
                                        <p:cTn id="57" dur="500" fill="hold"/>
                                        <p:tgtEl>
                                          <p:spTgt spid="21"/>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animBg="1"/>
      <p:bldP spid="22" grpId="0"/>
      <p:bldP spid="23" grpId="0"/>
      <p:bldP spid="24" grpId="0"/>
    </p:bldLst>
  </p:timing>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alpha val="72156"/>
          </a:schemeClr>
        </a:solidFill>
        <a:effectLst/>
      </p:bgPr>
    </p:bg>
    <p:spTree>
      <p:nvGrpSpPr>
        <p:cNvPr id="1" name=""/>
        <p:cNvGrpSpPr/>
        <p:nvPr/>
      </p:nvGrpSpPr>
      <p:grpSpPr>
        <a:xfrm>
          <a:off x="0" y="0"/>
          <a:ext cx="0" cy="0"/>
          <a:chOff x="0" y="0"/>
          <a:chExt cx="0" cy="0"/>
        </a:xfrm>
      </p:grpSpPr>
      <p:pic>
        <p:nvPicPr>
          <p:cNvPr id="4" name="Picture 3" descr="C:\Users\Administrator\Desktop\工业4.0ppt制作\apic2925.jpg"/>
          <p:cNvPicPr>
            <a:picLocks noChangeAspect="1" noChangeArrowheads="1"/>
          </p:cNvPicPr>
          <p:nvPr/>
        </p:nvPicPr>
        <p:blipFill>
          <a:blip r:embed="rId9" cstate="print">
            <a:duotone>
              <a:schemeClr val="accent1">
                <a:shade val="45000"/>
                <a:satMod val="135000"/>
              </a:schemeClr>
              <a:prstClr val="white"/>
            </a:duotone>
          </a:blip>
          <a:srcRect b="86755"/>
          <a:stretch>
            <a:fillRect/>
          </a:stretch>
        </p:blipFill>
        <p:spPr bwMode="auto">
          <a:xfrm>
            <a:off x="0" y="-6230"/>
            <a:ext cx="9144000" cy="891609"/>
          </a:xfrm>
          <a:prstGeom prst="rect">
            <a:avLst/>
          </a:prstGeom>
          <a:noFill/>
        </p:spPr>
      </p:pic>
      <p:grpSp>
        <p:nvGrpSpPr>
          <p:cNvPr id="2" name="组合 5"/>
          <p:cNvGrpSpPr>
            <a:grpSpLocks/>
          </p:cNvGrpSpPr>
          <p:nvPr/>
        </p:nvGrpSpPr>
        <p:grpSpPr bwMode="auto">
          <a:xfrm>
            <a:off x="825500" y="14288"/>
            <a:ext cx="6910388" cy="844550"/>
            <a:chOff x="4200983" y="1819112"/>
            <a:chExt cx="4235526" cy="966699"/>
          </a:xfrm>
        </p:grpSpPr>
        <p:sp>
          <p:nvSpPr>
            <p:cNvPr id="7" name="圆角矩形 6"/>
            <p:cNvSpPr/>
            <p:nvPr/>
          </p:nvSpPr>
          <p:spPr>
            <a:xfrm>
              <a:off x="4218301" y="1819112"/>
              <a:ext cx="4218208" cy="966699"/>
            </a:xfrm>
            <a:prstGeom prst="roundRect">
              <a:avLst/>
            </a:prstGeom>
            <a:gradFill flip="none" rotWithShape="1">
              <a:gsLst>
                <a:gs pos="94000">
                  <a:schemeClr val="accent6">
                    <a:lumMod val="75000"/>
                    <a:alpha val="22000"/>
                  </a:schemeClr>
                </a:gs>
                <a:gs pos="98000">
                  <a:schemeClr val="accent6">
                    <a:lumMod val="63000"/>
                    <a:lumOff val="37000"/>
                    <a:alpha val="86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r>
                <a:rPr lang="zh-CN" altLang="en-US" sz="2800" b="1" dirty="0">
                  <a:solidFill>
                    <a:prstClr val="black">
                      <a:lumMod val="85000"/>
                      <a:lumOff val="15000"/>
                    </a:prstClr>
                  </a:solidFill>
                  <a:effectLst>
                    <a:outerShdw blurRad="38100" dist="38100" dir="2700000" algn="tl">
                      <a:srgbClr val="000000">
                        <a:alpha val="43137"/>
                      </a:srgbClr>
                    </a:outerShdw>
                  </a:effectLst>
                  <a:latin typeface="黑体" pitchFamily="49" charset="-122"/>
                  <a:ea typeface="黑体" pitchFamily="49" charset="-122"/>
                </a:rPr>
                <a:t>二、促进个人与他人的和谐</a:t>
              </a:r>
            </a:p>
          </p:txBody>
        </p:sp>
        <p:sp>
          <p:nvSpPr>
            <p:cNvPr id="8" name="矩形 7"/>
            <p:cNvSpPr/>
            <p:nvPr/>
          </p:nvSpPr>
          <p:spPr>
            <a:xfrm>
              <a:off x="4200983" y="2015359"/>
              <a:ext cx="75895" cy="577839"/>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zh-CN" altLang="en-US">
                <a:solidFill>
                  <a:prstClr val="white"/>
                </a:solidFill>
                <a:effectLst>
                  <a:outerShdw blurRad="38100" dist="38100" dir="2700000" algn="tl">
                    <a:srgbClr val="000000">
                      <a:alpha val="43137"/>
                    </a:srgbClr>
                  </a:outerShdw>
                </a:effectLst>
              </a:endParaRPr>
            </a:p>
          </p:txBody>
        </p:sp>
      </p:grpSp>
      <p:graphicFrame>
        <p:nvGraphicFramePr>
          <p:cNvPr id="9" name="图示 8"/>
          <p:cNvGraphicFramePr/>
          <p:nvPr/>
        </p:nvGraphicFramePr>
        <p:xfrm>
          <a:off x="152415" y="990606"/>
          <a:ext cx="4455887" cy="792089"/>
        </p:xfrm>
        <a:graphic>
          <a:graphicData uri="http://schemas.openxmlformats.org/drawingml/2006/diagram">
            <dgm:relIds xmlns:dgm="http://schemas.openxmlformats.org/drawingml/2006/diagram" xmlns:r="http://schemas.openxmlformats.org/officeDocument/2006/relationships" r:dm="rId10" r:lo="rId11" r:qs="rId12" r:cs="rId13"/>
          </a:graphicData>
        </a:graphic>
      </p:graphicFrame>
      <p:grpSp>
        <p:nvGrpSpPr>
          <p:cNvPr id="3" name="组合 2"/>
          <p:cNvGrpSpPr>
            <a:grpSpLocks/>
          </p:cNvGrpSpPr>
          <p:nvPr/>
        </p:nvGrpSpPr>
        <p:grpSpPr bwMode="auto">
          <a:xfrm>
            <a:off x="327025" y="2001838"/>
            <a:ext cx="3592513" cy="4283075"/>
            <a:chOff x="4881533" y="1325206"/>
            <a:chExt cx="3828418" cy="1960918"/>
          </a:xfrm>
        </p:grpSpPr>
        <p:sp>
          <p:nvSpPr>
            <p:cNvPr id="17" name="Rectangle 20"/>
            <p:cNvSpPr/>
            <p:nvPr>
              <p:custDataLst>
                <p:tags r:id="rId4"/>
              </p:custDataLst>
            </p:nvPr>
          </p:nvSpPr>
          <p:spPr bwMode="auto">
            <a:xfrm>
              <a:off x="4881533" y="1499639"/>
              <a:ext cx="3828418" cy="1786485"/>
            </a:xfrm>
            <a:prstGeom prst="rect">
              <a:avLst/>
            </a:prstGeom>
            <a:noFill/>
            <a:ln w="38100" cap="flat" cmpd="sng" algn="ctr">
              <a:solidFill>
                <a:schemeClr val="accent1">
                  <a:lumMod val="75000"/>
                </a:schemeClr>
              </a:solidFill>
              <a:prstDash val="solid"/>
              <a:round/>
              <a:headEnd type="none" w="med" len="med"/>
              <a:tailEnd type="none" w="med" len="med"/>
            </a:ln>
            <a:effectLst/>
          </p:spPr>
          <p:txBody>
            <a:bodyPr/>
            <a:lstStyle/>
            <a:p>
              <a:pPr algn="ctr" fontAlgn="base">
                <a:spcBef>
                  <a:spcPct val="0"/>
                </a:spcBef>
                <a:spcAft>
                  <a:spcPct val="0"/>
                </a:spcAft>
                <a:defRPr/>
              </a:pPr>
              <a:endParaRPr lang="zh-CN" altLang="en-US" b="1" dirty="0">
                <a:solidFill>
                  <a:prstClr val="black"/>
                </a:solidFill>
                <a:effectLst>
                  <a:outerShdw blurRad="38100" dist="38100" dir="2700000" algn="tl">
                    <a:srgbClr val="000000">
                      <a:alpha val="43137"/>
                    </a:srgbClr>
                  </a:outerShdw>
                </a:effectLst>
                <a:latin typeface="黑体" pitchFamily="49" charset="-122"/>
              </a:endParaRPr>
            </a:p>
          </p:txBody>
        </p:sp>
        <p:sp>
          <p:nvSpPr>
            <p:cNvPr id="18" name="AutoShape 5"/>
            <p:cNvSpPr>
              <a:spLocks noChangeArrowheads="1"/>
            </p:cNvSpPr>
            <p:nvPr>
              <p:custDataLst>
                <p:tags r:id="rId5"/>
              </p:custDataLst>
            </p:nvPr>
          </p:nvSpPr>
          <p:spPr bwMode="auto">
            <a:xfrm>
              <a:off x="5230032" y="1348464"/>
              <a:ext cx="3121269" cy="287815"/>
            </a:xfrm>
            <a:prstGeom prst="homePlate">
              <a:avLst>
                <a:gd name="adj" fmla="val 25328"/>
              </a:avLst>
            </a:prstGeom>
            <a:ln>
              <a:headEnd/>
              <a:tailEnd/>
            </a:ln>
          </p:spPr>
          <p:style>
            <a:lnRef idx="2">
              <a:schemeClr val="accent1">
                <a:shade val="50000"/>
              </a:schemeClr>
            </a:lnRef>
            <a:fillRef idx="1">
              <a:schemeClr val="accent1"/>
            </a:fillRef>
            <a:effectRef idx="0">
              <a:schemeClr val="accent1"/>
            </a:effectRef>
            <a:fontRef idx="minor">
              <a:schemeClr val="lt1"/>
            </a:fontRef>
          </p:style>
          <p:txBody>
            <a:bodyPr wrap="none" lIns="72000" tIns="0" rIns="0" bIns="0" anchor="ctr"/>
            <a:lstStyle/>
            <a:p>
              <a:pPr>
                <a:defRPr/>
              </a:pPr>
              <a:endParaRPr lang="zh-CN" altLang="en-US" dirty="0">
                <a:solidFill>
                  <a:prstClr val="white"/>
                </a:solidFill>
                <a:effectLst>
                  <a:outerShdw blurRad="38100" dist="38100" dir="2700000" algn="tl">
                    <a:srgbClr val="000000">
                      <a:alpha val="43137"/>
                    </a:srgbClr>
                  </a:outerShdw>
                </a:effectLst>
              </a:endParaRPr>
            </a:p>
          </p:txBody>
        </p:sp>
        <p:sp>
          <p:nvSpPr>
            <p:cNvPr id="357402" name="Text Box 6"/>
            <p:cNvSpPr txBox="1">
              <a:spLocks noChangeArrowheads="1"/>
            </p:cNvSpPr>
            <p:nvPr>
              <p:custDataLst>
                <p:tags r:id="rId6"/>
              </p:custDataLst>
            </p:nvPr>
          </p:nvSpPr>
          <p:spPr bwMode="auto">
            <a:xfrm>
              <a:off x="5263867" y="1325206"/>
              <a:ext cx="3248149" cy="324091"/>
            </a:xfrm>
            <a:prstGeom prst="rect">
              <a:avLst/>
            </a:prstGeom>
            <a:noFill/>
            <a:ln w="6350">
              <a:noFill/>
              <a:miter lim="800000"/>
              <a:headEnd/>
              <a:tailEnd/>
            </a:ln>
          </p:spPr>
          <p:txBody>
            <a:bodyPr lIns="0" tIns="0" rIns="0" bIns="0" anchor="ctr">
              <a:spAutoFit/>
            </a:bodyPr>
            <a:lstStyle/>
            <a:p>
              <a:pPr fontAlgn="base">
                <a:spcBef>
                  <a:spcPct val="0"/>
                </a:spcBef>
                <a:spcAft>
                  <a:spcPct val="0"/>
                </a:spcAft>
              </a:pPr>
              <a:r>
                <a:rPr lang="zh-CN" altLang="en-US" sz="2300" dirty="0" smtClean="0">
                  <a:solidFill>
                    <a:srgbClr val="FFFF00"/>
                  </a:solidFill>
                  <a:latin typeface="黑体" pitchFamily="49" charset="-122"/>
                  <a:ea typeface="黑体" pitchFamily="49" charset="-122"/>
                </a:rPr>
                <a:t>为人生价值的实现</a:t>
              </a:r>
              <a:endParaRPr lang="en-US" altLang="zh-CN" sz="2300" dirty="0" smtClean="0">
                <a:solidFill>
                  <a:srgbClr val="FFFF00"/>
                </a:solidFill>
                <a:latin typeface="黑体" pitchFamily="49" charset="-122"/>
                <a:ea typeface="黑体" pitchFamily="49" charset="-122"/>
              </a:endParaRPr>
            </a:p>
            <a:p>
              <a:pPr fontAlgn="base">
                <a:spcBef>
                  <a:spcPct val="0"/>
                </a:spcBef>
                <a:spcAft>
                  <a:spcPct val="0"/>
                </a:spcAft>
              </a:pPr>
              <a:r>
                <a:rPr lang="zh-CN" altLang="en-US" sz="2300" dirty="0" smtClean="0">
                  <a:solidFill>
                    <a:srgbClr val="FFFF00"/>
                  </a:solidFill>
                  <a:latin typeface="黑体" pitchFamily="49" charset="-122"/>
                  <a:ea typeface="黑体" pitchFamily="49" charset="-122"/>
                </a:rPr>
                <a:t>创造良好的人际环境</a:t>
              </a:r>
              <a:endParaRPr lang="en-US" altLang="zh-CN" sz="2500" dirty="0" smtClean="0">
                <a:solidFill>
                  <a:srgbClr val="FFFF00"/>
                </a:solidFill>
                <a:latin typeface="黑体" pitchFamily="49" charset="-122"/>
                <a:ea typeface="黑体" pitchFamily="49" charset="-122"/>
              </a:endParaRPr>
            </a:p>
          </p:txBody>
        </p:sp>
      </p:grpSp>
      <p:grpSp>
        <p:nvGrpSpPr>
          <p:cNvPr id="5" name="组合 2"/>
          <p:cNvGrpSpPr>
            <a:grpSpLocks/>
          </p:cNvGrpSpPr>
          <p:nvPr/>
        </p:nvGrpSpPr>
        <p:grpSpPr bwMode="auto">
          <a:xfrm>
            <a:off x="4992688" y="1993900"/>
            <a:ext cx="3592512" cy="4333875"/>
            <a:chOff x="4881533" y="1325206"/>
            <a:chExt cx="3828418" cy="1960918"/>
          </a:xfrm>
        </p:grpSpPr>
        <p:sp>
          <p:nvSpPr>
            <p:cNvPr id="25" name="Rectangle 20"/>
            <p:cNvSpPr/>
            <p:nvPr>
              <p:custDataLst>
                <p:tags r:id="rId1"/>
              </p:custDataLst>
            </p:nvPr>
          </p:nvSpPr>
          <p:spPr bwMode="auto">
            <a:xfrm>
              <a:off x="4881533" y="1499749"/>
              <a:ext cx="3828418" cy="1786375"/>
            </a:xfrm>
            <a:prstGeom prst="rect">
              <a:avLst/>
            </a:prstGeom>
            <a:noFill/>
            <a:ln w="38100" cap="flat" cmpd="sng" algn="ctr">
              <a:solidFill>
                <a:schemeClr val="accent1">
                  <a:lumMod val="75000"/>
                </a:schemeClr>
              </a:solidFill>
              <a:prstDash val="solid"/>
              <a:round/>
              <a:headEnd type="none" w="med" len="med"/>
              <a:tailEnd type="none" w="med" len="med"/>
            </a:ln>
            <a:effectLst/>
          </p:spPr>
          <p:txBody>
            <a:bodyPr/>
            <a:lstStyle/>
            <a:p>
              <a:pPr algn="ctr" fontAlgn="base">
                <a:spcBef>
                  <a:spcPct val="0"/>
                </a:spcBef>
                <a:spcAft>
                  <a:spcPct val="0"/>
                </a:spcAft>
                <a:defRPr/>
              </a:pPr>
              <a:endParaRPr lang="zh-CN" altLang="en-US" b="1" dirty="0">
                <a:solidFill>
                  <a:prstClr val="black"/>
                </a:solidFill>
                <a:effectLst>
                  <a:outerShdw blurRad="38100" dist="38100" dir="2700000" algn="tl">
                    <a:srgbClr val="000000">
                      <a:alpha val="43137"/>
                    </a:srgbClr>
                  </a:outerShdw>
                </a:effectLst>
                <a:latin typeface="黑体" pitchFamily="49" charset="-122"/>
              </a:endParaRPr>
            </a:p>
          </p:txBody>
        </p:sp>
        <p:sp>
          <p:nvSpPr>
            <p:cNvPr id="26" name="AutoShape 5"/>
            <p:cNvSpPr>
              <a:spLocks noChangeArrowheads="1"/>
            </p:cNvSpPr>
            <p:nvPr>
              <p:custDataLst>
                <p:tags r:id="rId2"/>
              </p:custDataLst>
            </p:nvPr>
          </p:nvSpPr>
          <p:spPr bwMode="auto">
            <a:xfrm>
              <a:off x="5230032" y="1348191"/>
              <a:ext cx="3121269" cy="288033"/>
            </a:xfrm>
            <a:prstGeom prst="homePlate">
              <a:avLst>
                <a:gd name="adj" fmla="val 25328"/>
              </a:avLst>
            </a:prstGeom>
            <a:ln>
              <a:headEnd/>
              <a:tailEnd/>
            </a:ln>
          </p:spPr>
          <p:style>
            <a:lnRef idx="2">
              <a:schemeClr val="accent1">
                <a:shade val="50000"/>
              </a:schemeClr>
            </a:lnRef>
            <a:fillRef idx="1">
              <a:schemeClr val="accent1"/>
            </a:fillRef>
            <a:effectRef idx="0">
              <a:schemeClr val="accent1"/>
            </a:effectRef>
            <a:fontRef idx="minor">
              <a:schemeClr val="lt1"/>
            </a:fontRef>
          </p:style>
          <p:txBody>
            <a:bodyPr wrap="none" lIns="72000" tIns="0" rIns="0" bIns="0" anchor="ctr"/>
            <a:lstStyle/>
            <a:p>
              <a:pPr>
                <a:defRPr/>
              </a:pPr>
              <a:endParaRPr lang="zh-CN" altLang="en-US" dirty="0">
                <a:solidFill>
                  <a:prstClr val="white"/>
                </a:solidFill>
                <a:effectLst>
                  <a:outerShdw blurRad="38100" dist="38100" dir="2700000" algn="tl">
                    <a:srgbClr val="000000">
                      <a:alpha val="43137"/>
                    </a:srgbClr>
                  </a:outerShdw>
                </a:effectLst>
              </a:endParaRPr>
            </a:p>
          </p:txBody>
        </p:sp>
        <p:sp>
          <p:nvSpPr>
            <p:cNvPr id="357399" name="Text Box 6"/>
            <p:cNvSpPr txBox="1">
              <a:spLocks noChangeArrowheads="1"/>
            </p:cNvSpPr>
            <p:nvPr>
              <p:custDataLst>
                <p:tags r:id="rId3"/>
              </p:custDataLst>
            </p:nvPr>
          </p:nvSpPr>
          <p:spPr bwMode="auto">
            <a:xfrm>
              <a:off x="5473644" y="1325206"/>
              <a:ext cx="2613768" cy="348144"/>
            </a:xfrm>
            <a:prstGeom prst="rect">
              <a:avLst/>
            </a:prstGeom>
            <a:noFill/>
            <a:ln w="6350">
              <a:noFill/>
              <a:miter lim="800000"/>
              <a:headEnd/>
              <a:tailEnd/>
            </a:ln>
          </p:spPr>
          <p:txBody>
            <a:bodyPr lIns="0" tIns="0" rIns="0" bIns="0" anchor="ctr">
              <a:spAutoFit/>
            </a:bodyPr>
            <a:lstStyle/>
            <a:p>
              <a:pPr algn="ctr" fontAlgn="base">
                <a:spcBef>
                  <a:spcPct val="0"/>
                </a:spcBef>
                <a:spcAft>
                  <a:spcPct val="0"/>
                </a:spcAft>
              </a:pPr>
              <a:r>
                <a:rPr lang="zh-CN" altLang="en-US" sz="2500" dirty="0" smtClean="0">
                  <a:solidFill>
                    <a:srgbClr val="FFFF00"/>
                  </a:solidFill>
                  <a:latin typeface="黑体" pitchFamily="49" charset="-122"/>
                  <a:ea typeface="黑体" pitchFamily="49" charset="-122"/>
                </a:rPr>
                <a:t>处理好个人与</a:t>
              </a:r>
              <a:endParaRPr lang="en-US" altLang="zh-CN" sz="2500" dirty="0" smtClean="0">
                <a:solidFill>
                  <a:srgbClr val="FFFF00"/>
                </a:solidFill>
                <a:latin typeface="黑体" pitchFamily="49" charset="-122"/>
                <a:ea typeface="黑体" pitchFamily="49" charset="-122"/>
              </a:endParaRPr>
            </a:p>
            <a:p>
              <a:pPr algn="ctr" fontAlgn="base">
                <a:spcBef>
                  <a:spcPct val="0"/>
                </a:spcBef>
                <a:spcAft>
                  <a:spcPct val="0"/>
                </a:spcAft>
              </a:pPr>
              <a:r>
                <a:rPr lang="zh-CN" altLang="en-US" sz="2500" dirty="0" smtClean="0">
                  <a:solidFill>
                    <a:srgbClr val="FFFF00"/>
                  </a:solidFill>
                  <a:latin typeface="黑体" pitchFamily="49" charset="-122"/>
                  <a:ea typeface="黑体" pitchFamily="49" charset="-122"/>
                </a:rPr>
                <a:t>他人的利益关系</a:t>
              </a:r>
              <a:endParaRPr lang="en-US" altLang="zh-CN" sz="2500" dirty="0" smtClean="0">
                <a:solidFill>
                  <a:srgbClr val="FFFF00"/>
                </a:solidFill>
                <a:latin typeface="黑体" pitchFamily="49" charset="-122"/>
                <a:ea typeface="黑体" pitchFamily="49" charset="-122"/>
              </a:endParaRPr>
            </a:p>
          </p:txBody>
        </p:sp>
      </p:grpSp>
      <p:pic>
        <p:nvPicPr>
          <p:cNvPr id="29" name="图片 28" descr="2786001_075132492000_2.jpg"/>
          <p:cNvPicPr>
            <a:picLocks noChangeAspect="1"/>
          </p:cNvPicPr>
          <p:nvPr/>
        </p:nvPicPr>
        <p:blipFill>
          <a:blip r:embed="rId15" cstate="print">
            <a:clrChange>
              <a:clrFrom>
                <a:srgbClr val="FFFFFF"/>
              </a:clrFrom>
              <a:clrTo>
                <a:srgbClr val="FFFFFF">
                  <a:alpha val="0"/>
                </a:srgbClr>
              </a:clrTo>
            </a:clrChange>
          </a:blip>
          <a:srcRect l="15501" r="5901" b="23224"/>
          <a:stretch>
            <a:fillRect/>
          </a:stretch>
        </p:blipFill>
        <p:spPr bwMode="auto">
          <a:xfrm>
            <a:off x="3352800" y="2536825"/>
            <a:ext cx="2292350" cy="4321175"/>
          </a:xfrm>
          <a:prstGeom prst="rect">
            <a:avLst/>
          </a:prstGeom>
          <a:noFill/>
          <a:ln w="9525">
            <a:noFill/>
            <a:miter lim="800000"/>
            <a:headEnd/>
            <a:tailEnd/>
          </a:ln>
        </p:spPr>
      </p:pic>
      <p:sp>
        <p:nvSpPr>
          <p:cNvPr id="31" name="TextBox 30"/>
          <p:cNvSpPr txBox="1"/>
          <p:nvPr/>
        </p:nvSpPr>
        <p:spPr>
          <a:xfrm>
            <a:off x="5257800" y="5257800"/>
            <a:ext cx="3124200" cy="400050"/>
          </a:xfrm>
          <a:prstGeom prst="rect">
            <a:avLst/>
          </a:prstGeom>
          <a:noFill/>
        </p:spPr>
        <p:txBody>
          <a:bodyPr lIns="91389" tIns="45694" rIns="91389" bIns="45694">
            <a:spAutoFit/>
          </a:bodyPr>
          <a:lstStyle/>
          <a:p>
            <a:pPr algn="ctr" fontAlgn="base">
              <a:spcBef>
                <a:spcPct val="0"/>
              </a:spcBef>
              <a:spcAft>
                <a:spcPct val="0"/>
              </a:spcAft>
              <a:defRPr/>
            </a:pPr>
            <a:r>
              <a:rPr lang="zh-CN" altLang="en-US" sz="2000" b="1" dirty="0">
                <a:solidFill>
                  <a:srgbClr val="4F81BD">
                    <a:lumMod val="75000"/>
                  </a:srgbClr>
                </a:solidFill>
                <a:effectLst>
                  <a:outerShdw blurRad="38100" dist="38100" dir="2700000" algn="tl">
                    <a:srgbClr val="000000">
                      <a:alpha val="43137"/>
                    </a:srgbClr>
                  </a:outerShdw>
                </a:effectLst>
                <a:latin typeface="楷体" pitchFamily="49" charset="-122"/>
                <a:ea typeface="楷体" pitchFamily="49" charset="-122"/>
              </a:rPr>
              <a:t>、</a:t>
            </a:r>
          </a:p>
        </p:txBody>
      </p:sp>
      <p:sp>
        <p:nvSpPr>
          <p:cNvPr id="33" name="TextBox 32"/>
          <p:cNvSpPr txBox="1">
            <a:spLocks noChangeArrowheads="1"/>
          </p:cNvSpPr>
          <p:nvPr/>
        </p:nvSpPr>
        <p:spPr bwMode="auto">
          <a:xfrm>
            <a:off x="285750" y="2890838"/>
            <a:ext cx="3643313" cy="1108075"/>
          </a:xfrm>
          <a:prstGeom prst="rect">
            <a:avLst/>
          </a:prstGeom>
          <a:noFill/>
          <a:ln w="9525">
            <a:noFill/>
            <a:miter lim="800000"/>
            <a:headEnd/>
            <a:tailEnd/>
          </a:ln>
        </p:spPr>
        <p:txBody>
          <a:bodyPr lIns="91389" tIns="45694" rIns="91389" bIns="45694">
            <a:spAutoFit/>
          </a:bodyPr>
          <a:lstStyle/>
          <a:p>
            <a:pPr algn="ctr" fontAlgn="base">
              <a:spcBef>
                <a:spcPct val="0"/>
              </a:spcBef>
              <a:spcAft>
                <a:spcPct val="0"/>
              </a:spcAft>
            </a:pPr>
            <a:r>
              <a:rPr lang="zh-CN" altLang="en-US" sz="2200" b="1" smtClean="0">
                <a:solidFill>
                  <a:prstClr val="black"/>
                </a:solidFill>
                <a:latin typeface="华文楷体" pitchFamily="2" charset="-122"/>
                <a:ea typeface="华文楷体" pitchFamily="2" charset="-122"/>
              </a:rPr>
              <a:t>个人与他人的关系是每个人都必须面对的，是人与社会关系直接而具体的体现。</a:t>
            </a:r>
          </a:p>
        </p:txBody>
      </p:sp>
      <p:sp>
        <p:nvSpPr>
          <p:cNvPr id="35" name="TextBox 34"/>
          <p:cNvSpPr txBox="1">
            <a:spLocks noChangeArrowheads="1"/>
          </p:cNvSpPr>
          <p:nvPr/>
        </p:nvSpPr>
        <p:spPr bwMode="auto">
          <a:xfrm>
            <a:off x="5105400" y="2895600"/>
            <a:ext cx="3352800" cy="1108075"/>
          </a:xfrm>
          <a:prstGeom prst="rect">
            <a:avLst/>
          </a:prstGeom>
          <a:noFill/>
          <a:ln w="9525">
            <a:noFill/>
            <a:miter lim="800000"/>
            <a:headEnd/>
            <a:tailEnd/>
          </a:ln>
        </p:spPr>
        <p:txBody>
          <a:bodyPr lIns="91389" tIns="45694" rIns="91389" bIns="45694">
            <a:spAutoFit/>
          </a:bodyPr>
          <a:lstStyle/>
          <a:p>
            <a:pPr algn="ctr" fontAlgn="base">
              <a:spcBef>
                <a:spcPct val="0"/>
              </a:spcBef>
              <a:spcAft>
                <a:spcPct val="0"/>
              </a:spcAft>
            </a:pPr>
            <a:r>
              <a:rPr lang="zh-CN" altLang="en-US" sz="2200" b="1" smtClean="0">
                <a:solidFill>
                  <a:prstClr val="black"/>
                </a:solidFill>
                <a:latin typeface="华文楷体" pitchFamily="2" charset="-122"/>
                <a:ea typeface="华文楷体" pitchFamily="2" charset="-122"/>
              </a:rPr>
              <a:t>个人与他人的关系，在本质上是社会关系尤其是社会利益关系的表现形式。</a:t>
            </a:r>
          </a:p>
        </p:txBody>
      </p:sp>
      <p:pic>
        <p:nvPicPr>
          <p:cNvPr id="28" name="图片 27"/>
          <p:cNvPicPr>
            <a:picLocks noChangeAspect="1"/>
          </p:cNvPicPr>
          <p:nvPr/>
        </p:nvPicPr>
        <p:blipFill>
          <a:blip r:embed="rId16" cstate="print">
            <a:clrChange>
              <a:clrFrom>
                <a:srgbClr val="FFFFFF"/>
              </a:clrFrom>
              <a:clrTo>
                <a:srgbClr val="FFFFFF">
                  <a:alpha val="0"/>
                </a:srgbClr>
              </a:clrTo>
            </a:clrChange>
            <a:duotone>
              <a:schemeClr val="accent1">
                <a:shade val="45000"/>
                <a:satMod val="135000"/>
              </a:schemeClr>
              <a:prstClr val="white"/>
            </a:duotone>
            <a:extLst>
              <a:ext uri="{28A0092B-C50C-407E-A947-70E740481C1C}"/>
            </a:extLst>
          </a:blip>
          <a:stretch>
            <a:fillRect/>
          </a:stretch>
        </p:blipFill>
        <p:spPr>
          <a:xfrm rot="20837109">
            <a:off x="3773555" y="3382649"/>
            <a:ext cx="1191096" cy="1202023"/>
          </a:xfrm>
          <a:prstGeom prst="rect">
            <a:avLst/>
          </a:prstGeom>
        </p:spPr>
      </p:pic>
      <p:graphicFrame>
        <p:nvGraphicFramePr>
          <p:cNvPr id="32" name="图示 31"/>
          <p:cNvGraphicFramePr/>
          <p:nvPr/>
        </p:nvGraphicFramePr>
        <p:xfrm>
          <a:off x="4732787" y="1066806"/>
          <a:ext cx="4411216" cy="792089"/>
        </p:xfrm>
        <a:graphic>
          <a:graphicData uri="http://schemas.openxmlformats.org/drawingml/2006/diagram">
            <dgm:relIds xmlns:dgm="http://schemas.openxmlformats.org/drawingml/2006/diagram" xmlns:r="http://schemas.openxmlformats.org/officeDocument/2006/relationships" r:dm="rId17" r:lo="rId18" r:qs="rId19" r:cs="rId20"/>
          </a:graphicData>
        </a:graphic>
      </p:graphicFrame>
      <p:sp>
        <p:nvSpPr>
          <p:cNvPr id="112653" name="AutoShape 2" descr="http://img2.imgtn.bdimg.com/it/u=2200907299,1998838321&amp;fm=21&amp;gp=0.jpg"/>
          <p:cNvSpPr>
            <a:spLocks noChangeAspect="1" noChangeArrowheads="1"/>
          </p:cNvSpPr>
          <p:nvPr/>
        </p:nvSpPr>
        <p:spPr bwMode="auto">
          <a:xfrm>
            <a:off x="63500" y="-144463"/>
            <a:ext cx="304800" cy="304801"/>
          </a:xfrm>
          <a:prstGeom prst="rect">
            <a:avLst/>
          </a:prstGeom>
          <a:noFill/>
          <a:ln w="9525">
            <a:noFill/>
            <a:miter lim="800000"/>
            <a:headEnd/>
            <a:tailEnd/>
          </a:ln>
        </p:spPr>
        <p:txBody>
          <a:bodyPr lIns="91389" tIns="45694" rIns="91389" bIns="45694"/>
          <a:lstStyle/>
          <a:p>
            <a:pPr fontAlgn="base">
              <a:spcBef>
                <a:spcPct val="0"/>
              </a:spcBef>
              <a:spcAft>
                <a:spcPct val="0"/>
              </a:spcAft>
              <a:defRPr/>
            </a:pPr>
            <a:endParaRPr lang="zh-CN" altLang="en-US" dirty="0">
              <a:solidFill>
                <a:prstClr val="black"/>
              </a:solidFill>
              <a:effectLst>
                <a:outerShdw blurRad="38100" dist="38100" dir="2700000" algn="tl">
                  <a:srgbClr val="000000">
                    <a:alpha val="43137"/>
                  </a:srgbClr>
                </a:outerShdw>
              </a:effectLst>
              <a:latin typeface="黑体" pitchFamily="49" charset="-122"/>
            </a:endParaRPr>
          </a:p>
        </p:txBody>
      </p:sp>
      <p:sp>
        <p:nvSpPr>
          <p:cNvPr id="112654" name="AutoShape 4" descr="http://img2.imgtn.bdimg.com/it/u=2200907299,1998838321&amp;fm=21&amp;gp=0.jpg"/>
          <p:cNvSpPr>
            <a:spLocks noChangeAspect="1" noChangeArrowheads="1"/>
          </p:cNvSpPr>
          <p:nvPr/>
        </p:nvSpPr>
        <p:spPr bwMode="auto">
          <a:xfrm>
            <a:off x="63500" y="-144463"/>
            <a:ext cx="304800" cy="304801"/>
          </a:xfrm>
          <a:prstGeom prst="rect">
            <a:avLst/>
          </a:prstGeom>
          <a:noFill/>
          <a:ln w="9525">
            <a:noFill/>
            <a:miter lim="800000"/>
            <a:headEnd/>
            <a:tailEnd/>
          </a:ln>
        </p:spPr>
        <p:txBody>
          <a:bodyPr lIns="91389" tIns="45694" rIns="91389" bIns="45694"/>
          <a:lstStyle/>
          <a:p>
            <a:pPr fontAlgn="base">
              <a:spcBef>
                <a:spcPct val="0"/>
              </a:spcBef>
              <a:spcAft>
                <a:spcPct val="0"/>
              </a:spcAft>
              <a:defRPr/>
            </a:pPr>
            <a:endParaRPr lang="zh-CN" altLang="en-US" dirty="0">
              <a:solidFill>
                <a:prstClr val="black"/>
              </a:solidFill>
              <a:effectLst>
                <a:outerShdw blurRad="38100" dist="38100" dir="2700000" algn="tl">
                  <a:srgbClr val="000000">
                    <a:alpha val="43137"/>
                  </a:srgbClr>
                </a:outerShdw>
              </a:effectLst>
              <a:latin typeface="黑体" pitchFamily="49" charset="-122"/>
            </a:endParaRPr>
          </a:p>
        </p:txBody>
      </p:sp>
      <p:pic>
        <p:nvPicPr>
          <p:cNvPr id="121875" name="Picture 6" descr="http://img.caixin.com/2013-08-09/1376021390059166.jpg"/>
          <p:cNvPicPr>
            <a:picLocks noChangeAspect="1" noChangeArrowheads="1"/>
          </p:cNvPicPr>
          <p:nvPr/>
        </p:nvPicPr>
        <p:blipFill>
          <a:blip r:embed="rId22" cstate="print"/>
          <a:srcRect/>
          <a:stretch>
            <a:fillRect/>
          </a:stretch>
        </p:blipFill>
        <p:spPr bwMode="auto">
          <a:xfrm>
            <a:off x="685800" y="4038600"/>
            <a:ext cx="2438400" cy="1905000"/>
          </a:xfrm>
          <a:prstGeom prst="rect">
            <a:avLst/>
          </a:prstGeom>
          <a:noFill/>
          <a:ln w="9525">
            <a:noFill/>
            <a:miter lim="800000"/>
            <a:headEnd/>
            <a:tailEnd/>
          </a:ln>
        </p:spPr>
      </p:pic>
      <p:pic>
        <p:nvPicPr>
          <p:cNvPr id="357392" name="Picture 29" descr="运动边框"/>
          <p:cNvPicPr>
            <a:picLocks noChangeAspect="1" noChangeArrowheads="1" noCrop="1"/>
          </p:cNvPicPr>
          <p:nvPr/>
        </p:nvPicPr>
        <p:blipFill>
          <a:blip r:embed="rId23" cstate="print"/>
          <a:srcRect/>
          <a:stretch>
            <a:fillRect/>
          </a:stretch>
        </p:blipFill>
        <p:spPr bwMode="auto">
          <a:xfrm>
            <a:off x="5441950" y="6399213"/>
            <a:ext cx="3702050" cy="458787"/>
          </a:xfrm>
          <a:prstGeom prst="rect">
            <a:avLst/>
          </a:prstGeom>
          <a:noFill/>
          <a:ln w="9525">
            <a:noFill/>
            <a:miter lim="800000"/>
            <a:headEnd/>
            <a:tailEnd/>
          </a:ln>
        </p:spPr>
      </p:pic>
      <p:sp>
        <p:nvSpPr>
          <p:cNvPr id="112657" name="TextBox 20"/>
          <p:cNvSpPr txBox="1">
            <a:spLocks noChangeArrowheads="1"/>
          </p:cNvSpPr>
          <p:nvPr/>
        </p:nvSpPr>
        <p:spPr bwMode="auto">
          <a:xfrm>
            <a:off x="5562600" y="6488113"/>
            <a:ext cx="3581400" cy="646278"/>
          </a:xfrm>
          <a:prstGeom prst="rect">
            <a:avLst/>
          </a:prstGeom>
          <a:noFill/>
          <a:ln w="9525">
            <a:noFill/>
            <a:miter lim="800000"/>
            <a:headEnd/>
            <a:tailEnd/>
          </a:ln>
        </p:spPr>
        <p:txBody>
          <a:bodyPr lIns="91389" tIns="45694" rIns="91389" bIns="45694">
            <a:spAutoFit/>
          </a:bodyPr>
          <a:lstStyle/>
          <a:p>
            <a:pPr fontAlgn="base">
              <a:spcBef>
                <a:spcPct val="0"/>
              </a:spcBef>
              <a:spcAft>
                <a:spcPct val="0"/>
              </a:spcAft>
              <a:defRPr/>
            </a:pPr>
            <a:r>
              <a:rPr lang="zh-CN" altLang="en-US" b="1" dirty="0">
                <a:solidFill>
                  <a:prstClr val="white"/>
                </a:solidFill>
                <a:effectLst>
                  <a:outerShdw blurRad="38100" dist="38100" dir="2700000" algn="tl">
                    <a:srgbClr val="000000">
                      <a:alpha val="43137"/>
                    </a:srgbClr>
                  </a:outerShdw>
                </a:effectLst>
                <a:latin typeface="黑体" pitchFamily="49" charset="-122"/>
              </a:rPr>
              <a:t>第三节         科学对待人生环境</a:t>
            </a:r>
          </a:p>
        </p:txBody>
      </p:sp>
      <p:sp>
        <p:nvSpPr>
          <p:cNvPr id="36" name="下箭头 35"/>
          <p:cNvSpPr/>
          <p:nvPr/>
        </p:nvSpPr>
        <p:spPr bwMode="gray">
          <a:xfrm>
            <a:off x="2057400" y="1600200"/>
            <a:ext cx="228600" cy="381000"/>
          </a:xfrm>
          <a:prstGeom prst="downArrow">
            <a:avLst/>
          </a:prstGeom>
          <a:solidFill>
            <a:srgbClr val="FF0000"/>
          </a:solidFill>
          <a:ln>
            <a:headEnd/>
            <a:tailEnd/>
          </a:ln>
        </p:spPr>
        <p:style>
          <a:lnRef idx="2">
            <a:schemeClr val="accent2"/>
          </a:lnRef>
          <a:fillRef idx="1">
            <a:schemeClr val="lt1"/>
          </a:fillRef>
          <a:effectRef idx="0">
            <a:schemeClr val="accent2"/>
          </a:effectRef>
          <a:fontRef idx="minor">
            <a:schemeClr val="dk1"/>
          </a:fontRef>
        </p:style>
        <p:txBody>
          <a:bodyPr vert="vert270" wrap="none" lIns="91389" tIns="45694" rIns="91389" bIns="45694" anchor="ctr"/>
          <a:lstStyle/>
          <a:p>
            <a:pPr algn="ctr">
              <a:defRPr/>
            </a:pPr>
            <a:endParaRPr lang="zh-CN" altLang="en-US" b="1" kern="0" dirty="0">
              <a:ln w="18000">
                <a:solidFill>
                  <a:srgbClr val="C0504D">
                    <a:satMod val="140000"/>
                  </a:srgbClr>
                </a:solidFill>
                <a:prstDash val="solid"/>
                <a:miter lim="800000"/>
              </a:ln>
              <a:noFill/>
              <a:effectLst>
                <a:outerShdw blurRad="25500" dist="23000" dir="7020000" algn="tl">
                  <a:srgbClr val="000000">
                    <a:alpha val="50000"/>
                  </a:srgbClr>
                </a:outerShdw>
              </a:effectLst>
              <a:latin typeface="Arial" charset="0"/>
            </a:endParaRPr>
          </a:p>
        </p:txBody>
      </p:sp>
      <p:sp>
        <p:nvSpPr>
          <p:cNvPr id="37" name="下箭头 36"/>
          <p:cNvSpPr/>
          <p:nvPr/>
        </p:nvSpPr>
        <p:spPr bwMode="gray">
          <a:xfrm>
            <a:off x="6705600" y="1600200"/>
            <a:ext cx="228600" cy="381000"/>
          </a:xfrm>
          <a:prstGeom prst="downArrow">
            <a:avLst/>
          </a:prstGeom>
          <a:solidFill>
            <a:srgbClr val="FF0000"/>
          </a:solidFill>
          <a:ln>
            <a:headEnd/>
            <a:tailEnd/>
          </a:ln>
        </p:spPr>
        <p:style>
          <a:lnRef idx="2">
            <a:schemeClr val="accent2"/>
          </a:lnRef>
          <a:fillRef idx="1">
            <a:schemeClr val="lt1"/>
          </a:fillRef>
          <a:effectRef idx="0">
            <a:schemeClr val="accent2"/>
          </a:effectRef>
          <a:fontRef idx="minor">
            <a:schemeClr val="dk1"/>
          </a:fontRef>
        </p:style>
        <p:txBody>
          <a:bodyPr vert="vert270" wrap="none" lIns="91389" tIns="45694" rIns="91389" bIns="45694" anchor="ctr"/>
          <a:lstStyle/>
          <a:p>
            <a:pPr algn="ctr">
              <a:defRPr/>
            </a:pPr>
            <a:endParaRPr lang="zh-CN" altLang="en-US" b="1" kern="0" dirty="0">
              <a:ln w="18000">
                <a:solidFill>
                  <a:srgbClr val="C0504D">
                    <a:satMod val="140000"/>
                  </a:srgbClr>
                </a:solidFill>
                <a:prstDash val="solid"/>
                <a:miter lim="800000"/>
              </a:ln>
              <a:noFill/>
              <a:effectLst>
                <a:outerShdw blurRad="25500" dist="23000" dir="7020000" algn="tl">
                  <a:srgbClr val="000000">
                    <a:alpha val="50000"/>
                  </a:srgbClr>
                </a:outerShdw>
              </a:effectLst>
              <a:latin typeface="Arial" charset="0"/>
            </a:endParaRPr>
          </a:p>
        </p:txBody>
      </p:sp>
      <p:pic>
        <p:nvPicPr>
          <p:cNvPr id="113696" name="Picture 32" descr="http://photocdn.sohu.com/20150808/mp26401928_1439010215681_1_th.jpeg"/>
          <p:cNvPicPr>
            <a:picLocks noChangeAspect="1" noChangeArrowheads="1"/>
          </p:cNvPicPr>
          <p:nvPr/>
        </p:nvPicPr>
        <p:blipFill>
          <a:blip r:embed="rId24" cstate="print"/>
          <a:srcRect/>
          <a:stretch>
            <a:fillRect/>
          </a:stretch>
        </p:blipFill>
        <p:spPr bwMode="auto">
          <a:xfrm>
            <a:off x="5562600" y="4005064"/>
            <a:ext cx="2590800" cy="2100461"/>
          </a:xfrm>
          <a:prstGeom prst="rect">
            <a:avLst/>
          </a:prstGeom>
          <a:noFill/>
          <a:ln w="9525">
            <a:noFill/>
            <a:miter lim="800000"/>
            <a:headEnd/>
            <a:tailEnd/>
          </a:ln>
        </p:spPr>
      </p:pic>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500"/>
                                        <p:tgtEl>
                                          <p:spTgt spid="2"/>
                                        </p:tgtEl>
                                      </p:cBhvr>
                                    </p:animEffect>
                                  </p:childTnLst>
                                </p:cTn>
                              </p:par>
                            </p:childTnLst>
                          </p:cTn>
                        </p:par>
                        <p:par>
                          <p:cTn id="8" fill="hold">
                            <p:stCondLst>
                              <p:cond delay="500"/>
                            </p:stCondLst>
                            <p:childTnLst>
                              <p:par>
                                <p:cTn id="9" presetID="12" presetClass="entr" presetSubtype="1" fill="hold" grpId="0" nodeType="afterEffect">
                                  <p:stCondLst>
                                    <p:cond delay="0"/>
                                  </p:stCondLst>
                                  <p:childTnLst>
                                    <p:set>
                                      <p:cBhvr>
                                        <p:cTn id="10" dur="1" fill="hold">
                                          <p:stCondLst>
                                            <p:cond delay="0"/>
                                          </p:stCondLst>
                                        </p:cTn>
                                        <p:tgtEl>
                                          <p:spTgt spid="9"/>
                                        </p:tgtEl>
                                        <p:attrNameLst>
                                          <p:attrName>style.visibility</p:attrName>
                                        </p:attrNameLst>
                                      </p:cBhvr>
                                      <p:to>
                                        <p:strVal val="visible"/>
                                      </p:to>
                                    </p:set>
                                    <p:animEffect transition="in" filter="slide(fromTop)">
                                      <p:cBhvr>
                                        <p:cTn id="11" dur="500"/>
                                        <p:tgtEl>
                                          <p:spTgt spid="9"/>
                                        </p:tgtEl>
                                      </p:cBhvr>
                                    </p:animEffect>
                                  </p:childTnLst>
                                </p:cTn>
                              </p:par>
                            </p:childTnLst>
                          </p:cTn>
                        </p:par>
                        <p:par>
                          <p:cTn id="12" fill="hold">
                            <p:stCondLst>
                              <p:cond delay="1000"/>
                            </p:stCondLst>
                            <p:childTnLst>
                              <p:par>
                                <p:cTn id="13" presetID="12" presetClass="entr" presetSubtype="1" fill="hold" grpId="0" nodeType="afterEffect">
                                  <p:stCondLst>
                                    <p:cond delay="0"/>
                                  </p:stCondLst>
                                  <p:childTnLst>
                                    <p:set>
                                      <p:cBhvr>
                                        <p:cTn id="14" dur="1" fill="hold">
                                          <p:stCondLst>
                                            <p:cond delay="0"/>
                                          </p:stCondLst>
                                        </p:cTn>
                                        <p:tgtEl>
                                          <p:spTgt spid="32"/>
                                        </p:tgtEl>
                                        <p:attrNameLst>
                                          <p:attrName>style.visibility</p:attrName>
                                        </p:attrNameLst>
                                      </p:cBhvr>
                                      <p:to>
                                        <p:strVal val="visible"/>
                                      </p:to>
                                    </p:set>
                                    <p:animEffect transition="in" filter="slide(fromTop)">
                                      <p:cBhvr>
                                        <p:cTn id="15" dur="500"/>
                                        <p:tgtEl>
                                          <p:spTgt spid="32"/>
                                        </p:tgtEl>
                                      </p:cBhvr>
                                    </p:animEffect>
                                  </p:childTnLst>
                                </p:cTn>
                              </p:par>
                            </p:childTnLst>
                          </p:cTn>
                        </p:par>
                        <p:par>
                          <p:cTn id="16" fill="hold">
                            <p:stCondLst>
                              <p:cond delay="1500"/>
                            </p:stCondLst>
                            <p:childTnLst>
                              <p:par>
                                <p:cTn id="17" presetID="1" presetClass="entr" presetSubtype="0" fill="hold" grpId="0" nodeType="afterEffect">
                                  <p:stCondLst>
                                    <p:cond delay="0"/>
                                  </p:stCondLst>
                                  <p:childTnLst>
                                    <p:set>
                                      <p:cBhvr>
                                        <p:cTn id="18" dur="1" fill="hold">
                                          <p:stCondLst>
                                            <p:cond delay="499"/>
                                          </p:stCondLst>
                                        </p:cTn>
                                        <p:tgtEl>
                                          <p:spTgt spid="36"/>
                                        </p:tgtEl>
                                        <p:attrNameLst>
                                          <p:attrName>style.visibility</p:attrName>
                                        </p:attrNameLst>
                                      </p:cBhvr>
                                      <p:to>
                                        <p:strVal val="visible"/>
                                      </p:to>
                                    </p:set>
                                  </p:childTnLst>
                                </p:cTn>
                              </p:par>
                            </p:childTnLst>
                          </p:cTn>
                        </p:par>
                        <p:par>
                          <p:cTn id="19" fill="hold">
                            <p:stCondLst>
                              <p:cond delay="2000"/>
                            </p:stCondLst>
                            <p:childTnLst>
                              <p:par>
                                <p:cTn id="20" presetID="22" presetClass="entr" presetSubtype="4" fill="hold" nodeType="afterEffect">
                                  <p:stCondLst>
                                    <p:cond delay="0"/>
                                  </p:stCondLst>
                                  <p:childTnLst>
                                    <p:set>
                                      <p:cBhvr>
                                        <p:cTn id="21" dur="1" fill="hold">
                                          <p:stCondLst>
                                            <p:cond delay="0"/>
                                          </p:stCondLst>
                                        </p:cTn>
                                        <p:tgtEl>
                                          <p:spTgt spid="3"/>
                                        </p:tgtEl>
                                        <p:attrNameLst>
                                          <p:attrName>style.visibility</p:attrName>
                                        </p:attrNameLst>
                                      </p:cBhvr>
                                      <p:to>
                                        <p:strVal val="visible"/>
                                      </p:to>
                                    </p:set>
                                    <p:animEffect transition="in" filter="wipe(down)">
                                      <p:cBhvr>
                                        <p:cTn id="22" dur="500"/>
                                        <p:tgtEl>
                                          <p:spTgt spid="3"/>
                                        </p:tgtEl>
                                      </p:cBhvr>
                                    </p:animEffect>
                                  </p:childTnLst>
                                </p:cTn>
                              </p:par>
                            </p:childTnLst>
                          </p:cTn>
                        </p:par>
                        <p:par>
                          <p:cTn id="23" fill="hold">
                            <p:stCondLst>
                              <p:cond delay="2500"/>
                            </p:stCondLst>
                            <p:childTnLst>
                              <p:par>
                                <p:cTn id="24" presetID="12" presetClass="entr" presetSubtype="4" fill="hold" grpId="0" nodeType="afterEffect">
                                  <p:stCondLst>
                                    <p:cond delay="0"/>
                                  </p:stCondLst>
                                  <p:childTnLst>
                                    <p:set>
                                      <p:cBhvr>
                                        <p:cTn id="25" dur="1" fill="hold">
                                          <p:stCondLst>
                                            <p:cond delay="0"/>
                                          </p:stCondLst>
                                        </p:cTn>
                                        <p:tgtEl>
                                          <p:spTgt spid="33"/>
                                        </p:tgtEl>
                                        <p:attrNameLst>
                                          <p:attrName>style.visibility</p:attrName>
                                        </p:attrNameLst>
                                      </p:cBhvr>
                                      <p:to>
                                        <p:strVal val="visible"/>
                                      </p:to>
                                    </p:set>
                                    <p:animEffect transition="in" filter="slide(fromBottom)">
                                      <p:cBhvr>
                                        <p:cTn id="26" dur="500"/>
                                        <p:tgtEl>
                                          <p:spTgt spid="33"/>
                                        </p:tgtEl>
                                      </p:cBhvr>
                                    </p:animEffect>
                                  </p:childTnLst>
                                </p:cTn>
                              </p:par>
                            </p:childTnLst>
                          </p:cTn>
                        </p:par>
                        <p:par>
                          <p:cTn id="27" fill="hold">
                            <p:stCondLst>
                              <p:cond delay="3000"/>
                            </p:stCondLst>
                            <p:childTnLst>
                              <p:par>
                                <p:cTn id="28" presetID="5" presetClass="entr" presetSubtype="10" fill="hold" nodeType="afterEffect">
                                  <p:stCondLst>
                                    <p:cond delay="0"/>
                                  </p:stCondLst>
                                  <p:childTnLst>
                                    <p:set>
                                      <p:cBhvr>
                                        <p:cTn id="29" dur="1" fill="hold">
                                          <p:stCondLst>
                                            <p:cond delay="0"/>
                                          </p:stCondLst>
                                        </p:cTn>
                                        <p:tgtEl>
                                          <p:spTgt spid="121875"/>
                                        </p:tgtEl>
                                        <p:attrNameLst>
                                          <p:attrName>style.visibility</p:attrName>
                                        </p:attrNameLst>
                                      </p:cBhvr>
                                      <p:to>
                                        <p:strVal val="visible"/>
                                      </p:to>
                                    </p:set>
                                    <p:animEffect transition="in" filter="checkerboard(across)">
                                      <p:cBhvr>
                                        <p:cTn id="30" dur="500"/>
                                        <p:tgtEl>
                                          <p:spTgt spid="121875"/>
                                        </p:tgtEl>
                                      </p:cBhvr>
                                    </p:animEffect>
                                  </p:childTnLst>
                                </p:cTn>
                              </p:par>
                            </p:childTnLst>
                          </p:cTn>
                        </p:par>
                        <p:par>
                          <p:cTn id="31" fill="hold">
                            <p:stCondLst>
                              <p:cond delay="3500"/>
                            </p:stCondLst>
                            <p:childTnLst>
                              <p:par>
                                <p:cTn id="32" presetID="12" presetClass="entr" presetSubtype="4" fill="hold" grpId="0" nodeType="afterEffect">
                                  <p:stCondLst>
                                    <p:cond delay="0"/>
                                  </p:stCondLst>
                                  <p:childTnLst>
                                    <p:set>
                                      <p:cBhvr>
                                        <p:cTn id="33" dur="1" fill="hold">
                                          <p:stCondLst>
                                            <p:cond delay="0"/>
                                          </p:stCondLst>
                                        </p:cTn>
                                        <p:tgtEl>
                                          <p:spTgt spid="37"/>
                                        </p:tgtEl>
                                        <p:attrNameLst>
                                          <p:attrName>style.visibility</p:attrName>
                                        </p:attrNameLst>
                                      </p:cBhvr>
                                      <p:to>
                                        <p:strVal val="visible"/>
                                      </p:to>
                                    </p:set>
                                    <p:animEffect transition="in" filter="slide(fromBottom)">
                                      <p:cBhvr>
                                        <p:cTn id="34" dur="500"/>
                                        <p:tgtEl>
                                          <p:spTgt spid="37"/>
                                        </p:tgtEl>
                                      </p:cBhvr>
                                    </p:animEffect>
                                  </p:childTnLst>
                                </p:cTn>
                              </p:par>
                            </p:childTnLst>
                          </p:cTn>
                        </p:par>
                        <p:par>
                          <p:cTn id="35" fill="hold">
                            <p:stCondLst>
                              <p:cond delay="4000"/>
                            </p:stCondLst>
                            <p:childTnLst>
                              <p:par>
                                <p:cTn id="36" presetID="22" presetClass="entr" presetSubtype="4" fill="hold" nodeType="afterEffect">
                                  <p:stCondLst>
                                    <p:cond delay="0"/>
                                  </p:stCondLst>
                                  <p:childTnLst>
                                    <p:set>
                                      <p:cBhvr>
                                        <p:cTn id="37" dur="1" fill="hold">
                                          <p:stCondLst>
                                            <p:cond delay="0"/>
                                          </p:stCondLst>
                                        </p:cTn>
                                        <p:tgtEl>
                                          <p:spTgt spid="5"/>
                                        </p:tgtEl>
                                        <p:attrNameLst>
                                          <p:attrName>style.visibility</p:attrName>
                                        </p:attrNameLst>
                                      </p:cBhvr>
                                      <p:to>
                                        <p:strVal val="visible"/>
                                      </p:to>
                                    </p:set>
                                    <p:animEffect transition="in" filter="wipe(down)">
                                      <p:cBhvr>
                                        <p:cTn id="38" dur="500"/>
                                        <p:tgtEl>
                                          <p:spTgt spid="5"/>
                                        </p:tgtEl>
                                      </p:cBhvr>
                                    </p:animEffect>
                                  </p:childTnLst>
                                </p:cTn>
                              </p:par>
                            </p:childTnLst>
                          </p:cTn>
                        </p:par>
                        <p:par>
                          <p:cTn id="39" fill="hold">
                            <p:stCondLst>
                              <p:cond delay="4500"/>
                            </p:stCondLst>
                            <p:childTnLst>
                              <p:par>
                                <p:cTn id="40" presetID="5" presetClass="entr" presetSubtype="10" fill="hold" nodeType="afterEffect">
                                  <p:stCondLst>
                                    <p:cond delay="0"/>
                                  </p:stCondLst>
                                  <p:childTnLst>
                                    <p:set>
                                      <p:cBhvr>
                                        <p:cTn id="41" dur="1" fill="hold">
                                          <p:stCondLst>
                                            <p:cond delay="0"/>
                                          </p:stCondLst>
                                        </p:cTn>
                                        <p:tgtEl>
                                          <p:spTgt spid="113696"/>
                                        </p:tgtEl>
                                        <p:attrNameLst>
                                          <p:attrName>style.visibility</p:attrName>
                                        </p:attrNameLst>
                                      </p:cBhvr>
                                      <p:to>
                                        <p:strVal val="visible"/>
                                      </p:to>
                                    </p:set>
                                    <p:animEffect transition="in" filter="checkerboard(across)">
                                      <p:cBhvr>
                                        <p:cTn id="42" dur="500"/>
                                        <p:tgtEl>
                                          <p:spTgt spid="113696"/>
                                        </p:tgtEl>
                                      </p:cBhvr>
                                    </p:animEffect>
                                  </p:childTnLst>
                                </p:cTn>
                              </p:par>
                            </p:childTnLst>
                          </p:cTn>
                        </p:par>
                        <p:par>
                          <p:cTn id="43" fill="hold">
                            <p:stCondLst>
                              <p:cond delay="5000"/>
                            </p:stCondLst>
                            <p:childTnLst>
                              <p:par>
                                <p:cTn id="44" presetID="22" presetClass="entr" presetSubtype="4" fill="hold" nodeType="afterEffect">
                                  <p:stCondLst>
                                    <p:cond delay="0"/>
                                  </p:stCondLst>
                                  <p:childTnLst>
                                    <p:set>
                                      <p:cBhvr>
                                        <p:cTn id="45" dur="1" fill="hold">
                                          <p:stCondLst>
                                            <p:cond delay="0"/>
                                          </p:stCondLst>
                                        </p:cTn>
                                        <p:tgtEl>
                                          <p:spTgt spid="29"/>
                                        </p:tgtEl>
                                        <p:attrNameLst>
                                          <p:attrName>style.visibility</p:attrName>
                                        </p:attrNameLst>
                                      </p:cBhvr>
                                      <p:to>
                                        <p:strVal val="visible"/>
                                      </p:to>
                                    </p:set>
                                    <p:animEffect transition="in" filter="wipe(down)">
                                      <p:cBhvr>
                                        <p:cTn id="46" dur="500"/>
                                        <p:tgtEl>
                                          <p:spTgt spid="29"/>
                                        </p:tgtEl>
                                      </p:cBhvr>
                                    </p:animEffect>
                                  </p:childTnLst>
                                </p:cTn>
                              </p:par>
                            </p:childTnLst>
                          </p:cTn>
                        </p:par>
                        <p:par>
                          <p:cTn id="47" fill="hold">
                            <p:stCondLst>
                              <p:cond delay="5500"/>
                            </p:stCondLst>
                            <p:childTnLst>
                              <p:par>
                                <p:cTn id="48" presetID="1" presetClass="entr" presetSubtype="0" fill="hold" nodeType="afterEffect">
                                  <p:stCondLst>
                                    <p:cond delay="0"/>
                                  </p:stCondLst>
                                  <p:childTnLst>
                                    <p:set>
                                      <p:cBhvr>
                                        <p:cTn id="49" dur="1" fill="hold">
                                          <p:stCondLst>
                                            <p:cond delay="499"/>
                                          </p:stCondLst>
                                        </p:cTn>
                                        <p:tgtEl>
                                          <p:spTgt spid="28"/>
                                        </p:tgtEl>
                                        <p:attrNameLst>
                                          <p:attrName>style.visibility</p:attrName>
                                        </p:attrNameLst>
                                      </p:cBhvr>
                                      <p:to>
                                        <p:strVal val="visible"/>
                                      </p:to>
                                    </p:set>
                                  </p:childTnLst>
                                </p:cTn>
                              </p:par>
                            </p:childTnLst>
                          </p:cTn>
                        </p:par>
                        <p:par>
                          <p:cTn id="50" fill="hold">
                            <p:stCondLst>
                              <p:cond delay="6000"/>
                            </p:stCondLst>
                            <p:childTnLst>
                              <p:par>
                                <p:cTn id="51" presetID="12" presetClass="entr" presetSubtype="4" fill="hold" grpId="0" nodeType="afterEffect">
                                  <p:stCondLst>
                                    <p:cond delay="0"/>
                                  </p:stCondLst>
                                  <p:childTnLst>
                                    <p:set>
                                      <p:cBhvr>
                                        <p:cTn id="52" dur="1" fill="hold">
                                          <p:stCondLst>
                                            <p:cond delay="0"/>
                                          </p:stCondLst>
                                        </p:cTn>
                                        <p:tgtEl>
                                          <p:spTgt spid="35"/>
                                        </p:tgtEl>
                                        <p:attrNameLst>
                                          <p:attrName>style.visibility</p:attrName>
                                        </p:attrNameLst>
                                      </p:cBhvr>
                                      <p:to>
                                        <p:strVal val="visible"/>
                                      </p:to>
                                    </p:set>
                                    <p:animEffect transition="in" filter="slide(fromBottom)">
                                      <p:cBhvr>
                                        <p:cTn id="53" dur="500"/>
                                        <p:tgtEl>
                                          <p:spTgt spid="35"/>
                                        </p:tgtEl>
                                      </p:cBhvr>
                                    </p:animEffect>
                                  </p:childTnLst>
                                </p:cTn>
                              </p:par>
                            </p:childTnLst>
                          </p:cTn>
                        </p:par>
                        <p:par>
                          <p:cTn id="54" fill="hold">
                            <p:stCondLst>
                              <p:cond delay="6500"/>
                            </p:stCondLst>
                            <p:childTnLst>
                              <p:par>
                                <p:cTn id="55" presetID="22" presetClass="entr" presetSubtype="4" fill="hold" grpId="0" nodeType="afterEffect">
                                  <p:stCondLst>
                                    <p:cond delay="0"/>
                                  </p:stCondLst>
                                  <p:childTnLst>
                                    <p:set>
                                      <p:cBhvr>
                                        <p:cTn id="56" dur="1" fill="hold">
                                          <p:stCondLst>
                                            <p:cond delay="0"/>
                                          </p:stCondLst>
                                        </p:cTn>
                                        <p:tgtEl>
                                          <p:spTgt spid="31"/>
                                        </p:tgtEl>
                                        <p:attrNameLst>
                                          <p:attrName>style.visibility</p:attrName>
                                        </p:attrNameLst>
                                      </p:cBhvr>
                                      <p:to>
                                        <p:strVal val="visible"/>
                                      </p:to>
                                    </p:set>
                                    <p:animEffect transition="in" filter="wipe(down)">
                                      <p:cBhvr>
                                        <p:cTn id="57" dur="500"/>
                                        <p:tgtEl>
                                          <p:spTgt spid="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9" grpId="0">
        <p:bldAsOne/>
      </p:bldGraphic>
      <p:bldP spid="31" grpId="0" autoUpdateAnimBg="0"/>
      <p:bldP spid="33" grpId="0" autoUpdateAnimBg="0"/>
      <p:bldP spid="35" grpId="0" autoUpdateAnimBg="0"/>
      <p:bldGraphic spid="32" grpId="0">
        <p:bldAsOne/>
      </p:bldGraphic>
      <p:bldP spid="36" grpId="0" animBg="1" autoUpdateAnimBg="0"/>
      <p:bldP spid="37" grpId="0" animBg="1" autoUpdateAnimBg="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457200" y="152400"/>
            <a:ext cx="8229600" cy="712788"/>
          </a:xfrm>
        </p:spPr>
        <p:txBody>
          <a:bodyPr/>
          <a:lstStyle/>
          <a:p>
            <a:pPr>
              <a:defRPr/>
            </a:pPr>
            <a:r>
              <a:rPr lang="zh-CN" altLang="en-US" sz="2800" dirty="0" smtClean="0">
                <a:solidFill>
                  <a:srgbClr val="002060"/>
                </a:solidFill>
                <a:effectLst/>
                <a:ea typeface="黑体" pitchFamily="49" charset="-122"/>
              </a:rPr>
              <a:t>课堂调查：大学生人际关系的心理诊断</a:t>
            </a:r>
            <a:endParaRPr lang="zh-CN" altLang="en-US" dirty="0"/>
          </a:p>
        </p:txBody>
      </p:sp>
      <p:sp>
        <p:nvSpPr>
          <p:cNvPr id="3" name="内容占位符 2"/>
          <p:cNvSpPr>
            <a:spLocks noGrp="1"/>
          </p:cNvSpPr>
          <p:nvPr>
            <p:ph sz="half" idx="1"/>
          </p:nvPr>
        </p:nvSpPr>
        <p:spPr>
          <a:xfrm>
            <a:off x="3" y="1219202"/>
            <a:ext cx="4572000" cy="4953000"/>
          </a:xfrm>
          <a:gradFill>
            <a:gsLst>
              <a:gs pos="0">
                <a:srgbClr val="5E9EFF">
                  <a:alpha val="54000"/>
                </a:srgbClr>
              </a:gs>
              <a:gs pos="39999">
                <a:srgbClr val="85C2FF"/>
              </a:gs>
              <a:gs pos="70000">
                <a:srgbClr val="C4D6EB"/>
              </a:gs>
              <a:gs pos="100000">
                <a:srgbClr val="FFEBFA"/>
              </a:gs>
            </a:gsLst>
            <a:lin ang="5400000" scaled="0"/>
          </a:gradFill>
          <a:ln w="38100">
            <a:solidFill>
              <a:srgbClr val="FF0000"/>
            </a:solidFill>
          </a:ln>
        </p:spPr>
        <p:txBody>
          <a:bodyPr/>
          <a:lstStyle/>
          <a:p>
            <a:pPr marL="342708" indent="-342708">
              <a:buFont typeface="Wingdings" pitchFamily="2" charset="2"/>
              <a:buNone/>
              <a:defRPr/>
            </a:pPr>
            <a:r>
              <a:rPr lang="en-US" altLang="zh-CN" sz="1900" b="1" dirty="0" smtClean="0">
                <a:ea typeface="黑体" pitchFamily="49" charset="-122"/>
              </a:rPr>
              <a:t>   1</a:t>
            </a:r>
            <a:r>
              <a:rPr lang="zh-CN" altLang="en-US" sz="1900" b="1" dirty="0" smtClean="0">
                <a:ea typeface="黑体" pitchFamily="49" charset="-122"/>
              </a:rPr>
              <a:t>．关于自己的烦恼有口难开。</a:t>
            </a:r>
            <a:br>
              <a:rPr lang="zh-CN" altLang="en-US" sz="1900" b="1" dirty="0" smtClean="0">
                <a:ea typeface="黑体" pitchFamily="49" charset="-122"/>
              </a:rPr>
            </a:br>
            <a:r>
              <a:rPr lang="en-US" altLang="zh-CN" sz="1900" b="1" dirty="0" smtClean="0">
                <a:ea typeface="黑体" pitchFamily="49" charset="-122"/>
              </a:rPr>
              <a:t>2</a:t>
            </a:r>
            <a:r>
              <a:rPr lang="zh-CN" altLang="en-US" sz="1900" b="1" dirty="0" smtClean="0">
                <a:ea typeface="黑体" pitchFamily="49" charset="-122"/>
              </a:rPr>
              <a:t>．和生人见面感觉不自然。</a:t>
            </a:r>
            <a:br>
              <a:rPr lang="zh-CN" altLang="en-US" sz="1900" b="1" dirty="0" smtClean="0">
                <a:ea typeface="黑体" pitchFamily="49" charset="-122"/>
              </a:rPr>
            </a:br>
            <a:r>
              <a:rPr lang="en-US" altLang="zh-CN" sz="1900" b="1" dirty="0" smtClean="0">
                <a:ea typeface="黑体" pitchFamily="49" charset="-122"/>
              </a:rPr>
              <a:t>3</a:t>
            </a:r>
            <a:r>
              <a:rPr lang="zh-CN" altLang="en-US" sz="1900" b="1" dirty="0" smtClean="0">
                <a:ea typeface="黑体" pitchFamily="49" charset="-122"/>
              </a:rPr>
              <a:t>．过分地羡慕和忌妒别人。</a:t>
            </a:r>
            <a:br>
              <a:rPr lang="zh-CN" altLang="en-US" sz="1900" b="1" dirty="0" smtClean="0">
                <a:ea typeface="黑体" pitchFamily="49" charset="-122"/>
              </a:rPr>
            </a:br>
            <a:r>
              <a:rPr lang="en-US" altLang="zh-CN" sz="1900" b="1" dirty="0" smtClean="0">
                <a:ea typeface="黑体" pitchFamily="49" charset="-122"/>
              </a:rPr>
              <a:t>4</a:t>
            </a:r>
            <a:r>
              <a:rPr lang="zh-CN" altLang="en-US" sz="1900" b="1" dirty="0" smtClean="0">
                <a:ea typeface="黑体" pitchFamily="49" charset="-122"/>
              </a:rPr>
              <a:t>．与异性交往太少。</a:t>
            </a:r>
            <a:br>
              <a:rPr lang="zh-CN" altLang="en-US" sz="1900" b="1" dirty="0" smtClean="0">
                <a:ea typeface="黑体" pitchFamily="49" charset="-122"/>
              </a:rPr>
            </a:br>
            <a:r>
              <a:rPr lang="en-US" altLang="zh-CN" sz="1900" b="1" dirty="0" smtClean="0">
                <a:ea typeface="黑体" pitchFamily="49" charset="-122"/>
              </a:rPr>
              <a:t>5</a:t>
            </a:r>
            <a:r>
              <a:rPr lang="zh-CN" altLang="en-US" sz="1900" b="1" dirty="0" smtClean="0">
                <a:ea typeface="黑体" pitchFamily="49" charset="-122"/>
              </a:rPr>
              <a:t>．对连续不断的会谈感到困难。</a:t>
            </a:r>
            <a:br>
              <a:rPr lang="zh-CN" altLang="en-US" sz="1900" b="1" dirty="0" smtClean="0">
                <a:ea typeface="黑体" pitchFamily="49" charset="-122"/>
              </a:rPr>
            </a:br>
            <a:r>
              <a:rPr lang="en-US" altLang="zh-CN" sz="1900" b="1" dirty="0" smtClean="0">
                <a:ea typeface="黑体" pitchFamily="49" charset="-122"/>
              </a:rPr>
              <a:t>6</a:t>
            </a:r>
            <a:r>
              <a:rPr lang="zh-CN" altLang="en-US" sz="1900" b="1" dirty="0" smtClean="0">
                <a:ea typeface="黑体" pitchFamily="49" charset="-122"/>
              </a:rPr>
              <a:t>．在社交场合，感到紧张。</a:t>
            </a:r>
            <a:br>
              <a:rPr lang="zh-CN" altLang="en-US" sz="1900" b="1" dirty="0" smtClean="0">
                <a:ea typeface="黑体" pitchFamily="49" charset="-122"/>
              </a:rPr>
            </a:br>
            <a:r>
              <a:rPr lang="en-US" altLang="zh-CN" sz="1900" b="1" dirty="0" smtClean="0">
                <a:ea typeface="黑体" pitchFamily="49" charset="-122"/>
              </a:rPr>
              <a:t>7</a:t>
            </a:r>
            <a:r>
              <a:rPr lang="zh-CN" altLang="en-US" sz="1900" b="1" dirty="0" smtClean="0">
                <a:ea typeface="黑体" pitchFamily="49" charset="-122"/>
              </a:rPr>
              <a:t>．时常伤害别人。</a:t>
            </a:r>
            <a:br>
              <a:rPr lang="zh-CN" altLang="en-US" sz="1900" b="1" dirty="0" smtClean="0">
                <a:ea typeface="黑体" pitchFamily="49" charset="-122"/>
              </a:rPr>
            </a:br>
            <a:r>
              <a:rPr lang="en-US" altLang="zh-CN" sz="1900" b="1" dirty="0" smtClean="0">
                <a:ea typeface="黑体" pitchFamily="49" charset="-122"/>
              </a:rPr>
              <a:t>8</a:t>
            </a:r>
            <a:r>
              <a:rPr lang="zh-CN" altLang="en-US" sz="1900" b="1" dirty="0" smtClean="0">
                <a:ea typeface="黑体" pitchFamily="49" charset="-122"/>
              </a:rPr>
              <a:t>．与异性来往感觉不自然。</a:t>
            </a:r>
            <a:br>
              <a:rPr lang="zh-CN" altLang="en-US" sz="1900" b="1" dirty="0" smtClean="0">
                <a:ea typeface="黑体" pitchFamily="49" charset="-122"/>
              </a:rPr>
            </a:br>
            <a:r>
              <a:rPr lang="en-US" altLang="zh-CN" sz="1900" b="1" dirty="0" smtClean="0">
                <a:ea typeface="黑体" pitchFamily="49" charset="-122"/>
              </a:rPr>
              <a:t>9</a:t>
            </a:r>
            <a:r>
              <a:rPr lang="zh-CN" altLang="en-US" sz="1900" b="1" dirty="0" smtClean="0">
                <a:ea typeface="黑体" pitchFamily="49" charset="-122"/>
              </a:rPr>
              <a:t>．与一大群朋友在一起，常感到孤寂或失落。</a:t>
            </a:r>
            <a:br>
              <a:rPr lang="zh-CN" altLang="en-US" sz="1900" b="1" dirty="0" smtClean="0">
                <a:ea typeface="黑体" pitchFamily="49" charset="-122"/>
              </a:rPr>
            </a:br>
            <a:r>
              <a:rPr lang="en-US" altLang="zh-CN" sz="1900" b="1" dirty="0" smtClean="0">
                <a:ea typeface="黑体" pitchFamily="49" charset="-122"/>
              </a:rPr>
              <a:t>10</a:t>
            </a:r>
            <a:r>
              <a:rPr lang="zh-CN" altLang="en-US" sz="1900" b="1" dirty="0" smtClean="0">
                <a:ea typeface="黑体" pitchFamily="49" charset="-122"/>
              </a:rPr>
              <a:t>．极易受窘。</a:t>
            </a:r>
            <a:endParaRPr lang="en-US" altLang="zh-CN" sz="1900" b="1" dirty="0" smtClean="0">
              <a:ea typeface="黑体" pitchFamily="49" charset="-122"/>
            </a:endParaRPr>
          </a:p>
          <a:p>
            <a:pPr marL="342708" indent="-342708">
              <a:buFont typeface="Wingdings" pitchFamily="2" charset="2"/>
              <a:buNone/>
              <a:defRPr/>
            </a:pPr>
            <a:r>
              <a:rPr lang="zh-CN" altLang="en-US" sz="1900" b="1" dirty="0" smtClean="0">
                <a:ea typeface="黑体" pitchFamily="49" charset="-122"/>
              </a:rPr>
              <a:t>   </a:t>
            </a:r>
            <a:r>
              <a:rPr lang="en-US" altLang="zh-CN" sz="1900" b="1" dirty="0" smtClean="0">
                <a:ea typeface="黑体" pitchFamily="49" charset="-122"/>
              </a:rPr>
              <a:t>11</a:t>
            </a:r>
            <a:r>
              <a:rPr lang="zh-CN" altLang="en-US" sz="1900" b="1" dirty="0" smtClean="0">
                <a:ea typeface="黑体" pitchFamily="49" charset="-122"/>
              </a:rPr>
              <a:t>．与别人不能和睦相处。</a:t>
            </a:r>
            <a:br>
              <a:rPr lang="zh-CN" altLang="en-US" sz="1900" b="1" dirty="0" smtClean="0">
                <a:ea typeface="黑体" pitchFamily="49" charset="-122"/>
              </a:rPr>
            </a:br>
            <a:r>
              <a:rPr lang="en-US" altLang="zh-CN" sz="1900" b="1" dirty="0" smtClean="0">
                <a:ea typeface="黑体" pitchFamily="49" charset="-122"/>
              </a:rPr>
              <a:t>12</a:t>
            </a:r>
            <a:r>
              <a:rPr lang="zh-CN" altLang="en-US" sz="1900" b="1" dirty="0" smtClean="0">
                <a:ea typeface="黑体" pitchFamily="49" charset="-122"/>
              </a:rPr>
              <a:t>．不知道与异性如何适可而至。</a:t>
            </a:r>
            <a:br>
              <a:rPr lang="zh-CN" altLang="en-US" sz="1900" b="1" dirty="0" smtClean="0">
                <a:ea typeface="黑体" pitchFamily="49" charset="-122"/>
              </a:rPr>
            </a:br>
            <a:r>
              <a:rPr lang="en-US" altLang="zh-CN" sz="1900" b="1" dirty="0" smtClean="0">
                <a:ea typeface="黑体" pitchFamily="49" charset="-122"/>
              </a:rPr>
              <a:t>13</a:t>
            </a:r>
            <a:r>
              <a:rPr lang="zh-CN" altLang="en-US" sz="1900" b="1" dirty="0" smtClean="0">
                <a:ea typeface="黑体" pitchFamily="49" charset="-122"/>
              </a:rPr>
              <a:t>．当不熟悉的人对自己倾诉他（她）的生平遭遇以求同情时，自己常感到不自在。</a:t>
            </a:r>
            <a:br>
              <a:rPr lang="zh-CN" altLang="en-US" sz="1900" b="1" dirty="0" smtClean="0">
                <a:ea typeface="黑体" pitchFamily="49" charset="-122"/>
              </a:rPr>
            </a:br>
            <a:endParaRPr lang="zh-CN" altLang="en-US" sz="1900" b="1" dirty="0" smtClean="0">
              <a:ea typeface="黑体" pitchFamily="49" charset="-122"/>
            </a:endParaRPr>
          </a:p>
          <a:p>
            <a:pPr marL="1599308" lvl="3" indent="-228472">
              <a:defRPr/>
            </a:pPr>
            <a:endParaRPr lang="zh-CN" altLang="en-US" dirty="0" smtClean="0"/>
          </a:p>
        </p:txBody>
      </p:sp>
      <p:sp>
        <p:nvSpPr>
          <p:cNvPr id="4" name="内容占位符 3"/>
          <p:cNvSpPr>
            <a:spLocks noGrp="1"/>
          </p:cNvSpPr>
          <p:nvPr>
            <p:ph sz="half" idx="2"/>
          </p:nvPr>
        </p:nvSpPr>
        <p:spPr>
          <a:xfrm>
            <a:off x="4648200" y="1219200"/>
            <a:ext cx="4495800" cy="4876800"/>
          </a:xfrm>
          <a:gradFill>
            <a:gsLst>
              <a:gs pos="0">
                <a:srgbClr val="5E9EFF">
                  <a:alpha val="45000"/>
                </a:srgbClr>
              </a:gs>
              <a:gs pos="39999">
                <a:srgbClr val="85C2FF"/>
              </a:gs>
              <a:gs pos="70000">
                <a:srgbClr val="C4D6EB"/>
              </a:gs>
              <a:gs pos="100000">
                <a:srgbClr val="FFEBFA"/>
              </a:gs>
            </a:gsLst>
            <a:lin ang="5400000" scaled="0"/>
          </a:gradFill>
          <a:ln w="38100">
            <a:solidFill>
              <a:srgbClr val="FF0000"/>
            </a:solidFill>
          </a:ln>
        </p:spPr>
        <p:txBody>
          <a:bodyPr/>
          <a:lstStyle/>
          <a:p>
            <a:pPr marL="342708" indent="-342708">
              <a:buFont typeface="Wingdings" pitchFamily="2" charset="2"/>
              <a:buNone/>
              <a:defRPr/>
            </a:pPr>
            <a:r>
              <a:rPr lang="en-US" altLang="zh-CN" sz="1900" b="1" dirty="0" smtClean="0">
                <a:effectLst/>
                <a:ea typeface="黑体" pitchFamily="49" charset="-122"/>
              </a:rPr>
              <a:t>   14</a:t>
            </a:r>
            <a:r>
              <a:rPr lang="zh-CN" altLang="en-US" sz="1900" b="1" dirty="0" smtClean="0">
                <a:effectLst/>
                <a:ea typeface="黑体" pitchFamily="49" charset="-122"/>
              </a:rPr>
              <a:t>．担心别人对自己有什么坏印象。</a:t>
            </a:r>
            <a:r>
              <a:rPr lang="en-US" altLang="zh-CN" sz="1900" b="1" dirty="0" smtClean="0">
                <a:effectLst/>
                <a:ea typeface="黑体" pitchFamily="49" charset="-122"/>
              </a:rPr>
              <a:t> 15</a:t>
            </a:r>
            <a:r>
              <a:rPr lang="zh-CN" altLang="en-US" sz="1900" b="1" dirty="0" smtClean="0">
                <a:effectLst/>
                <a:ea typeface="黑体" pitchFamily="49" charset="-122"/>
              </a:rPr>
              <a:t>．总是尽力使别人赏识自己。</a:t>
            </a:r>
            <a:br>
              <a:rPr lang="zh-CN" altLang="en-US" sz="1900" b="1" dirty="0" smtClean="0">
                <a:effectLst/>
                <a:ea typeface="黑体" pitchFamily="49" charset="-122"/>
              </a:rPr>
            </a:br>
            <a:r>
              <a:rPr lang="en-US" altLang="zh-CN" sz="1900" b="1" dirty="0" smtClean="0">
                <a:effectLst/>
                <a:ea typeface="黑体" pitchFamily="49" charset="-122"/>
              </a:rPr>
              <a:t>16</a:t>
            </a:r>
            <a:r>
              <a:rPr lang="zh-CN" altLang="en-US" sz="1900" b="1" dirty="0" smtClean="0">
                <a:effectLst/>
                <a:ea typeface="黑体" pitchFamily="49" charset="-122"/>
              </a:rPr>
              <a:t>．暗自思慕异性。</a:t>
            </a:r>
            <a:br>
              <a:rPr lang="zh-CN" altLang="en-US" sz="1900" b="1" dirty="0" smtClean="0">
                <a:effectLst/>
                <a:ea typeface="黑体" pitchFamily="49" charset="-122"/>
              </a:rPr>
            </a:br>
            <a:r>
              <a:rPr lang="en-US" altLang="zh-CN" sz="1900" b="1" dirty="0" smtClean="0">
                <a:effectLst/>
                <a:ea typeface="黑体" pitchFamily="49" charset="-122"/>
              </a:rPr>
              <a:t>17</a:t>
            </a:r>
            <a:r>
              <a:rPr lang="zh-CN" altLang="en-US" sz="1900" b="1" dirty="0" smtClean="0">
                <a:effectLst/>
                <a:ea typeface="黑体" pitchFamily="49" charset="-122"/>
              </a:rPr>
              <a:t>．时常避免表达自己的感受。</a:t>
            </a:r>
            <a:br>
              <a:rPr lang="zh-CN" altLang="en-US" sz="1900" b="1" dirty="0" smtClean="0">
                <a:effectLst/>
                <a:ea typeface="黑体" pitchFamily="49" charset="-122"/>
              </a:rPr>
            </a:br>
            <a:r>
              <a:rPr lang="en-US" altLang="zh-CN" sz="1900" b="1" dirty="0" smtClean="0">
                <a:effectLst/>
                <a:ea typeface="黑体" pitchFamily="49" charset="-122"/>
              </a:rPr>
              <a:t>18</a:t>
            </a:r>
            <a:r>
              <a:rPr lang="zh-CN" altLang="en-US" sz="1900" b="1" dirty="0" smtClean="0">
                <a:effectLst/>
                <a:ea typeface="黑体" pitchFamily="49" charset="-122"/>
              </a:rPr>
              <a:t>．对自己的仪表（容貌）缺乏信心</a:t>
            </a:r>
            <a:br>
              <a:rPr lang="zh-CN" altLang="en-US" sz="1900" b="1" dirty="0" smtClean="0">
                <a:effectLst/>
                <a:ea typeface="黑体" pitchFamily="49" charset="-122"/>
              </a:rPr>
            </a:br>
            <a:r>
              <a:rPr lang="en-US" altLang="zh-CN" sz="1900" b="1" dirty="0" smtClean="0">
                <a:effectLst/>
                <a:ea typeface="黑体" pitchFamily="49" charset="-122"/>
              </a:rPr>
              <a:t>19</a:t>
            </a:r>
            <a:r>
              <a:rPr lang="zh-CN" altLang="en-US" sz="1900" b="1" dirty="0" smtClean="0">
                <a:effectLst/>
                <a:ea typeface="黑体" pitchFamily="49" charset="-122"/>
              </a:rPr>
              <a:t>．讨厌某人或被某人所讨厌。</a:t>
            </a:r>
            <a:br>
              <a:rPr lang="zh-CN" altLang="en-US" sz="1900" b="1" dirty="0" smtClean="0">
                <a:effectLst/>
                <a:ea typeface="黑体" pitchFamily="49" charset="-122"/>
              </a:rPr>
            </a:br>
            <a:r>
              <a:rPr lang="en-US" altLang="zh-CN" sz="1900" b="1" dirty="0" smtClean="0">
                <a:effectLst/>
                <a:ea typeface="黑体" pitchFamily="49" charset="-122"/>
              </a:rPr>
              <a:t>20</a:t>
            </a:r>
            <a:r>
              <a:rPr lang="zh-CN" altLang="en-US" sz="1900" b="1" dirty="0" smtClean="0">
                <a:effectLst/>
                <a:ea typeface="黑体" pitchFamily="49" charset="-122"/>
              </a:rPr>
              <a:t>．瞧不起异性。</a:t>
            </a:r>
          </a:p>
          <a:p>
            <a:pPr marL="342708" indent="-342708">
              <a:buFont typeface="Wingdings" pitchFamily="2" charset="2"/>
              <a:buNone/>
              <a:defRPr/>
            </a:pPr>
            <a:r>
              <a:rPr lang="en-US" altLang="zh-CN" sz="1900" b="1" dirty="0" smtClean="0">
                <a:effectLst/>
                <a:ea typeface="黑体" pitchFamily="49" charset="-122"/>
              </a:rPr>
              <a:t>   21</a:t>
            </a:r>
            <a:r>
              <a:rPr lang="zh-CN" altLang="en-US" sz="1900" b="1" dirty="0" smtClean="0">
                <a:effectLst/>
                <a:ea typeface="黑体" pitchFamily="49" charset="-122"/>
              </a:rPr>
              <a:t>．不能专注地倾听。</a:t>
            </a:r>
            <a:br>
              <a:rPr lang="zh-CN" altLang="en-US" sz="1900" b="1" dirty="0" smtClean="0">
                <a:effectLst/>
                <a:ea typeface="黑体" pitchFamily="49" charset="-122"/>
              </a:rPr>
            </a:br>
            <a:r>
              <a:rPr lang="en-US" altLang="zh-CN" sz="1900" b="1" dirty="0" smtClean="0">
                <a:effectLst/>
                <a:ea typeface="黑体" pitchFamily="49" charset="-122"/>
              </a:rPr>
              <a:t>22</a:t>
            </a:r>
            <a:r>
              <a:rPr lang="zh-CN" altLang="en-US" sz="1900" b="1" dirty="0" smtClean="0">
                <a:effectLst/>
                <a:ea typeface="黑体" pitchFamily="49" charset="-122"/>
              </a:rPr>
              <a:t>．自己的烦恼无人可申诉。</a:t>
            </a:r>
            <a:br>
              <a:rPr lang="zh-CN" altLang="en-US" sz="1900" b="1" dirty="0" smtClean="0">
                <a:effectLst/>
                <a:ea typeface="黑体" pitchFamily="49" charset="-122"/>
              </a:rPr>
            </a:br>
            <a:r>
              <a:rPr lang="en-US" altLang="zh-CN" sz="1900" b="1" dirty="0" smtClean="0">
                <a:effectLst/>
                <a:ea typeface="黑体" pitchFamily="49" charset="-122"/>
              </a:rPr>
              <a:t>23</a:t>
            </a:r>
            <a:r>
              <a:rPr lang="zh-CN" altLang="en-US" sz="1900" b="1" dirty="0" smtClean="0">
                <a:effectLst/>
                <a:ea typeface="黑体" pitchFamily="49" charset="-122"/>
              </a:rPr>
              <a:t>．受别人排斥，感到冷漠。</a:t>
            </a:r>
            <a:br>
              <a:rPr lang="zh-CN" altLang="en-US" sz="1900" b="1" dirty="0" smtClean="0">
                <a:effectLst/>
                <a:ea typeface="黑体" pitchFamily="49" charset="-122"/>
              </a:rPr>
            </a:br>
            <a:r>
              <a:rPr lang="en-US" altLang="zh-CN" sz="1900" b="1" dirty="0" smtClean="0">
                <a:effectLst/>
                <a:ea typeface="黑体" pitchFamily="49" charset="-122"/>
              </a:rPr>
              <a:t>24</a:t>
            </a:r>
            <a:r>
              <a:rPr lang="zh-CN" altLang="en-US" sz="1900" b="1" dirty="0" smtClean="0">
                <a:effectLst/>
                <a:ea typeface="黑体" pitchFamily="49" charset="-122"/>
              </a:rPr>
              <a:t>．被异性瞧不起。</a:t>
            </a:r>
            <a:br>
              <a:rPr lang="zh-CN" altLang="en-US" sz="1900" b="1" dirty="0" smtClean="0">
                <a:effectLst/>
                <a:ea typeface="黑体" pitchFamily="49" charset="-122"/>
              </a:rPr>
            </a:br>
            <a:r>
              <a:rPr lang="en-US" altLang="zh-CN" sz="1900" b="1" dirty="0" smtClean="0">
                <a:effectLst/>
                <a:ea typeface="黑体" pitchFamily="49" charset="-122"/>
              </a:rPr>
              <a:t>25</a:t>
            </a:r>
            <a:r>
              <a:rPr lang="zh-CN" altLang="en-US" sz="1900" b="1" dirty="0" smtClean="0">
                <a:effectLst/>
                <a:ea typeface="黑体" pitchFamily="49" charset="-122"/>
              </a:rPr>
              <a:t>．不能广泛地听取各种意见和看法</a:t>
            </a:r>
            <a:br>
              <a:rPr lang="zh-CN" altLang="en-US" sz="1900" b="1" dirty="0" smtClean="0">
                <a:effectLst/>
                <a:ea typeface="黑体" pitchFamily="49" charset="-122"/>
              </a:rPr>
            </a:br>
            <a:r>
              <a:rPr lang="en-US" altLang="zh-CN" sz="1900" b="1" dirty="0" smtClean="0">
                <a:effectLst/>
                <a:ea typeface="黑体" pitchFamily="49" charset="-122"/>
              </a:rPr>
              <a:t>26</a:t>
            </a:r>
            <a:r>
              <a:rPr lang="zh-CN" altLang="en-US" sz="1900" b="1" dirty="0" smtClean="0">
                <a:effectLst/>
                <a:ea typeface="黑体" pitchFamily="49" charset="-122"/>
              </a:rPr>
              <a:t>．自己常因受伤害而暗自伤心。</a:t>
            </a:r>
            <a:br>
              <a:rPr lang="zh-CN" altLang="en-US" sz="1900" b="1" dirty="0" smtClean="0">
                <a:effectLst/>
                <a:ea typeface="黑体" pitchFamily="49" charset="-122"/>
              </a:rPr>
            </a:br>
            <a:r>
              <a:rPr lang="en-US" altLang="zh-CN" sz="1900" b="1" dirty="0" smtClean="0">
                <a:effectLst/>
                <a:ea typeface="黑体" pitchFamily="49" charset="-122"/>
              </a:rPr>
              <a:t>27</a:t>
            </a:r>
            <a:r>
              <a:rPr lang="zh-CN" altLang="en-US" sz="1900" b="1" dirty="0" smtClean="0">
                <a:effectLst/>
                <a:ea typeface="黑体" pitchFamily="49" charset="-122"/>
              </a:rPr>
              <a:t>．常被别人谈论、愚弄。</a:t>
            </a:r>
            <a:endParaRPr lang="en-US" altLang="zh-CN" sz="1900" b="1" dirty="0" smtClean="0">
              <a:effectLst/>
              <a:ea typeface="黑体" pitchFamily="49" charset="-122"/>
            </a:endParaRPr>
          </a:p>
          <a:p>
            <a:pPr marL="342708" indent="-342708">
              <a:buFont typeface="Wingdings" pitchFamily="2" charset="2"/>
              <a:buNone/>
              <a:defRPr/>
            </a:pPr>
            <a:r>
              <a:rPr lang="en-US" altLang="zh-CN" sz="1900" b="1" dirty="0" smtClean="0">
                <a:effectLst/>
                <a:ea typeface="黑体" pitchFamily="49" charset="-122"/>
              </a:rPr>
              <a:t>   28</a:t>
            </a:r>
            <a:r>
              <a:rPr lang="zh-CN" altLang="en-US" sz="1900" b="1" dirty="0" smtClean="0">
                <a:effectLst/>
                <a:ea typeface="黑体" pitchFamily="49" charset="-122"/>
              </a:rPr>
              <a:t>．与异性交往不知如何更好地相处</a:t>
            </a:r>
          </a:p>
          <a:p>
            <a:pPr marL="342708" indent="-342708">
              <a:defRPr/>
            </a:pPr>
            <a:endParaRPr lang="zh-CN" altLang="en-US" dirty="0"/>
          </a:p>
        </p:txBody>
      </p:sp>
      <p:sp>
        <p:nvSpPr>
          <p:cNvPr id="113673" name="TextBox 5"/>
          <p:cNvSpPr txBox="1">
            <a:spLocks noChangeArrowheads="1"/>
          </p:cNvSpPr>
          <p:nvPr/>
        </p:nvSpPr>
        <p:spPr bwMode="auto">
          <a:xfrm>
            <a:off x="0" y="762000"/>
            <a:ext cx="8839200" cy="369888"/>
          </a:xfrm>
          <a:prstGeom prst="rect">
            <a:avLst/>
          </a:prstGeom>
          <a:noFill/>
          <a:ln w="9525">
            <a:noFill/>
            <a:miter lim="800000"/>
            <a:headEnd/>
            <a:tailEnd/>
          </a:ln>
        </p:spPr>
        <p:txBody>
          <a:bodyPr lIns="91389" tIns="45694" rIns="91389" bIns="45694">
            <a:spAutoFit/>
          </a:bodyPr>
          <a:lstStyle/>
          <a:p>
            <a:pPr fontAlgn="base">
              <a:spcBef>
                <a:spcPct val="0"/>
              </a:spcBef>
              <a:spcAft>
                <a:spcPct val="0"/>
              </a:spcAft>
              <a:defRPr/>
            </a:pPr>
            <a:r>
              <a:rPr lang="zh-CN" altLang="en-US" b="1" dirty="0">
                <a:solidFill>
                  <a:srgbClr val="0070C0"/>
                </a:solidFill>
                <a:effectLst>
                  <a:outerShdw blurRad="38100" dist="38100" dir="2700000" algn="tl">
                    <a:srgbClr val="000000">
                      <a:alpha val="43137"/>
                    </a:srgbClr>
                  </a:outerShdw>
                </a:effectLst>
                <a:latin typeface="黑体" pitchFamily="49" charset="-122"/>
                <a:ea typeface="黑体" pitchFamily="49" charset="-122"/>
              </a:rPr>
              <a:t>请您根据自己的实际情况，逐一对每个问题做“是”或“否”的回答。</a:t>
            </a:r>
          </a:p>
        </p:txBody>
      </p:sp>
      <p:sp>
        <p:nvSpPr>
          <p:cNvPr id="113674" name="TextBox 7"/>
          <p:cNvSpPr txBox="1">
            <a:spLocks noChangeArrowheads="1"/>
          </p:cNvSpPr>
          <p:nvPr/>
        </p:nvSpPr>
        <p:spPr bwMode="auto">
          <a:xfrm>
            <a:off x="0" y="6248400"/>
            <a:ext cx="8915400" cy="369888"/>
          </a:xfrm>
          <a:prstGeom prst="rect">
            <a:avLst/>
          </a:prstGeom>
          <a:noFill/>
          <a:ln w="9525">
            <a:noFill/>
            <a:miter lim="800000"/>
            <a:headEnd/>
            <a:tailEnd/>
          </a:ln>
        </p:spPr>
        <p:txBody>
          <a:bodyPr lIns="91389" tIns="45694" rIns="91389" bIns="45694">
            <a:spAutoFit/>
          </a:bodyPr>
          <a:lstStyle/>
          <a:p>
            <a:pPr fontAlgn="base">
              <a:spcBef>
                <a:spcPct val="0"/>
              </a:spcBef>
              <a:spcAft>
                <a:spcPct val="0"/>
              </a:spcAft>
              <a:defRPr/>
            </a:pPr>
            <a:r>
              <a:rPr lang="zh-CN" altLang="en-US" b="1" dirty="0">
                <a:solidFill>
                  <a:srgbClr val="FF0000"/>
                </a:solidFill>
                <a:effectLst>
                  <a:outerShdw blurRad="38100" dist="38100" dir="2700000" algn="tl">
                    <a:srgbClr val="000000">
                      <a:alpha val="43137"/>
                    </a:srgbClr>
                  </a:outerShdw>
                </a:effectLst>
                <a:latin typeface="黑体" pitchFamily="49" charset="-122"/>
                <a:ea typeface="黑体" pitchFamily="49" charset="-122"/>
              </a:rPr>
              <a:t>计分标准：选择“是”的加</a:t>
            </a:r>
            <a:r>
              <a:rPr lang="en-US" altLang="zh-CN" b="1" dirty="0">
                <a:solidFill>
                  <a:srgbClr val="FF0000"/>
                </a:solidFill>
                <a:effectLst>
                  <a:outerShdw blurRad="38100" dist="38100" dir="2700000" algn="tl">
                    <a:srgbClr val="000000">
                      <a:alpha val="43137"/>
                    </a:srgbClr>
                  </a:outerShdw>
                </a:effectLst>
                <a:latin typeface="黑体" pitchFamily="49" charset="-122"/>
                <a:ea typeface="黑体" pitchFamily="49" charset="-122"/>
              </a:rPr>
              <a:t>1</a:t>
            </a:r>
            <a:r>
              <a:rPr lang="zh-CN" altLang="en-US" b="1" dirty="0">
                <a:solidFill>
                  <a:srgbClr val="FF0000"/>
                </a:solidFill>
                <a:effectLst>
                  <a:outerShdw blurRad="38100" dist="38100" dir="2700000" algn="tl">
                    <a:srgbClr val="000000">
                      <a:alpha val="43137"/>
                    </a:srgbClr>
                  </a:outerShdw>
                </a:effectLst>
                <a:latin typeface="黑体" pitchFamily="49" charset="-122"/>
                <a:ea typeface="黑体" pitchFamily="49" charset="-122"/>
              </a:rPr>
              <a:t>分，选择“否”的给</a:t>
            </a:r>
            <a:r>
              <a:rPr lang="en-US" altLang="zh-CN" b="1" dirty="0">
                <a:solidFill>
                  <a:srgbClr val="FF0000"/>
                </a:solidFill>
                <a:effectLst>
                  <a:outerShdw blurRad="38100" dist="38100" dir="2700000" algn="tl">
                    <a:srgbClr val="000000">
                      <a:alpha val="43137"/>
                    </a:srgbClr>
                  </a:outerShdw>
                </a:effectLst>
                <a:latin typeface="黑体" pitchFamily="49" charset="-122"/>
                <a:ea typeface="黑体" pitchFamily="49" charset="-122"/>
              </a:rPr>
              <a:t>0</a:t>
            </a:r>
            <a:r>
              <a:rPr lang="zh-CN" altLang="en-US" b="1" dirty="0">
                <a:solidFill>
                  <a:srgbClr val="FF0000"/>
                </a:solidFill>
                <a:effectLst>
                  <a:outerShdw blurRad="38100" dist="38100" dir="2700000" algn="tl">
                    <a:srgbClr val="000000">
                      <a:alpha val="43137"/>
                    </a:srgbClr>
                  </a:outerShdw>
                </a:effectLst>
                <a:latin typeface="黑体" pitchFamily="49" charset="-122"/>
                <a:ea typeface="黑体" pitchFamily="49" charset="-122"/>
              </a:rPr>
              <a:t>分。</a:t>
            </a:r>
          </a:p>
        </p:txBody>
      </p:sp>
      <p:pic>
        <p:nvPicPr>
          <p:cNvPr id="358411" name="Picture 29" descr="运动边框"/>
          <p:cNvPicPr>
            <a:picLocks noChangeAspect="1" noChangeArrowheads="1" noCrop="1"/>
          </p:cNvPicPr>
          <p:nvPr/>
        </p:nvPicPr>
        <p:blipFill>
          <a:blip r:embed="rId2" cstate="print"/>
          <a:srcRect/>
          <a:stretch>
            <a:fillRect/>
          </a:stretch>
        </p:blipFill>
        <p:spPr bwMode="auto">
          <a:xfrm>
            <a:off x="5562600" y="6399213"/>
            <a:ext cx="3581400" cy="458787"/>
          </a:xfrm>
          <a:prstGeom prst="rect">
            <a:avLst/>
          </a:prstGeom>
          <a:noFill/>
          <a:ln w="9525">
            <a:noFill/>
            <a:miter lim="800000"/>
            <a:headEnd/>
            <a:tailEnd/>
          </a:ln>
        </p:spPr>
      </p:pic>
      <p:sp>
        <p:nvSpPr>
          <p:cNvPr id="113676" name="TextBox 20"/>
          <p:cNvSpPr txBox="1">
            <a:spLocks noChangeArrowheads="1"/>
          </p:cNvSpPr>
          <p:nvPr/>
        </p:nvSpPr>
        <p:spPr bwMode="auto">
          <a:xfrm>
            <a:off x="5562600" y="6488113"/>
            <a:ext cx="3581400" cy="369887"/>
          </a:xfrm>
          <a:prstGeom prst="rect">
            <a:avLst/>
          </a:prstGeom>
          <a:noFill/>
          <a:ln w="9525">
            <a:noFill/>
            <a:miter lim="800000"/>
            <a:headEnd/>
            <a:tailEnd/>
          </a:ln>
        </p:spPr>
        <p:txBody>
          <a:bodyPr lIns="91389" tIns="45694" rIns="91389" bIns="45694">
            <a:spAutoFit/>
          </a:bodyPr>
          <a:lstStyle/>
          <a:p>
            <a:pPr fontAlgn="base">
              <a:spcBef>
                <a:spcPct val="0"/>
              </a:spcBef>
              <a:spcAft>
                <a:spcPct val="0"/>
              </a:spcAft>
              <a:defRPr/>
            </a:pPr>
            <a:r>
              <a:rPr lang="zh-CN" altLang="en-US" b="1" dirty="0">
                <a:solidFill>
                  <a:srgbClr val="B3D1DF"/>
                </a:solidFill>
                <a:effectLst>
                  <a:outerShdw blurRad="38100" dist="38100" dir="2700000" algn="tl">
                    <a:srgbClr val="000000">
                      <a:alpha val="43137"/>
                    </a:srgbClr>
                  </a:outerShdw>
                </a:effectLst>
                <a:latin typeface="黑体" pitchFamily="49" charset="-122"/>
                <a:ea typeface="黑体" pitchFamily="49" charset="-122"/>
              </a:rPr>
              <a:t>第三节    科学对待人生环境</a:t>
            </a:r>
          </a:p>
        </p:txBody>
      </p:sp>
    </p:spTree>
  </p:cSld>
  <p:clrMapOvr>
    <a:masterClrMapping/>
  </p:clrMapOvr>
  <p:transition spd="slow">
    <p:plus/>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标题 1"/>
          <p:cNvSpPr>
            <a:spLocks noGrp="1"/>
          </p:cNvSpPr>
          <p:nvPr>
            <p:ph type="title"/>
          </p:nvPr>
        </p:nvSpPr>
        <p:spPr/>
        <p:txBody>
          <a:bodyPr/>
          <a:lstStyle/>
          <a:p>
            <a:pPr eaLnBrk="1" hangingPunct="1">
              <a:defRPr/>
            </a:pPr>
            <a:endParaRPr lang="zh-CN" altLang="en-US" smtClean="0"/>
          </a:p>
        </p:txBody>
      </p:sp>
      <p:sp>
        <p:nvSpPr>
          <p:cNvPr id="48131" name="内容占位符 2"/>
          <p:cNvSpPr>
            <a:spLocks noGrp="1"/>
          </p:cNvSpPr>
          <p:nvPr>
            <p:ph idx="1"/>
          </p:nvPr>
        </p:nvSpPr>
        <p:spPr/>
        <p:txBody>
          <a:bodyPr/>
          <a:lstStyle/>
          <a:p>
            <a:pPr marL="342708" indent="-342708" eaLnBrk="1" hangingPunct="1">
              <a:defRPr/>
            </a:pPr>
            <a:endParaRPr lang="zh-CN" altLang="en-US" smtClean="0"/>
          </a:p>
        </p:txBody>
      </p:sp>
      <p:pic>
        <p:nvPicPr>
          <p:cNvPr id="4112" name="Picture 2" descr="http://1882.img.pp.sohu.com.cn/images/blog/2011/6/5/23/15/u118014059_1311b4bc1fdg213.jpg"/>
          <p:cNvPicPr>
            <a:picLocks noChangeAspect="1" noChangeArrowheads="1"/>
          </p:cNvPicPr>
          <p:nvPr/>
        </p:nvPicPr>
        <p:blipFill>
          <a:blip r:embed="rId3" cstate="print"/>
          <a:srcRect/>
          <a:stretch>
            <a:fillRect/>
          </a:stretch>
        </p:blipFill>
        <p:spPr bwMode="auto">
          <a:xfrm>
            <a:off x="0" y="-228600"/>
            <a:ext cx="9144000" cy="7239000"/>
          </a:xfrm>
          <a:prstGeom prst="rect">
            <a:avLst/>
          </a:prstGeom>
          <a:noFill/>
          <a:ln w="9525">
            <a:noFill/>
            <a:miter lim="800000"/>
            <a:headEnd/>
            <a:tailEnd/>
          </a:ln>
        </p:spPr>
      </p:pic>
      <p:sp>
        <p:nvSpPr>
          <p:cNvPr id="5" name="TextBox 4"/>
          <p:cNvSpPr txBox="1"/>
          <p:nvPr/>
        </p:nvSpPr>
        <p:spPr>
          <a:xfrm>
            <a:off x="1371600" y="762000"/>
            <a:ext cx="6096000" cy="1600200"/>
          </a:xfrm>
          <a:prstGeom prst="rect">
            <a:avLst/>
          </a:prstGeom>
          <a:noFill/>
        </p:spPr>
        <p:txBody>
          <a:bodyPr lIns="91389" tIns="45694" rIns="91389" bIns="45694">
            <a:spAutoFit/>
          </a:bodyPr>
          <a:lstStyle/>
          <a:p>
            <a:pPr indent="575679" fontAlgn="base">
              <a:lnSpc>
                <a:spcPts val="3200"/>
              </a:lnSpc>
              <a:spcBef>
                <a:spcPct val="0"/>
              </a:spcBef>
              <a:defRPr/>
            </a:pPr>
            <a:r>
              <a:rPr lang="en-US" altLang="zh-CN" sz="2300" b="1" kern="0" dirty="0">
                <a:solidFill>
                  <a:srgbClr val="000000"/>
                </a:solidFill>
                <a:latin typeface="黑体" pitchFamily="49" charset="-122"/>
                <a:ea typeface="黑体" pitchFamily="49" charset="-122"/>
                <a:cs typeface="Arial"/>
              </a:rPr>
              <a:t>【</a:t>
            </a:r>
            <a:r>
              <a:rPr lang="zh-CN" altLang="en-US" sz="2300" b="1" kern="0" dirty="0">
                <a:solidFill>
                  <a:srgbClr val="000000"/>
                </a:solidFill>
                <a:latin typeface="黑体" pitchFamily="49" charset="-122"/>
                <a:ea typeface="黑体" pitchFamily="49" charset="-122"/>
                <a:cs typeface="Arial"/>
              </a:rPr>
              <a:t>讨论</a:t>
            </a:r>
            <a:r>
              <a:rPr lang="en-US" altLang="zh-CN" sz="2300" b="1" kern="0" dirty="0">
                <a:solidFill>
                  <a:srgbClr val="000000"/>
                </a:solidFill>
                <a:latin typeface="黑体" pitchFamily="49" charset="-122"/>
                <a:ea typeface="黑体" pitchFamily="49" charset="-122"/>
                <a:cs typeface="Arial"/>
              </a:rPr>
              <a:t>】</a:t>
            </a:r>
            <a:r>
              <a:rPr lang="zh-CN" altLang="en-US" sz="2300" b="1" kern="0" dirty="0">
                <a:solidFill>
                  <a:srgbClr val="000000"/>
                </a:solidFill>
                <a:latin typeface="黑体" pitchFamily="49" charset="-122"/>
                <a:ea typeface="黑体" pitchFamily="49" charset="-122"/>
                <a:cs typeface="Arial"/>
              </a:rPr>
              <a:t>请同学联系个人实际，谈谈在与他人相处时应遵循哪些原则？</a:t>
            </a:r>
          </a:p>
          <a:p>
            <a:pPr indent="575679" fontAlgn="base">
              <a:lnSpc>
                <a:spcPts val="3200"/>
              </a:lnSpc>
              <a:spcBef>
                <a:spcPct val="0"/>
              </a:spcBef>
              <a:defRPr/>
            </a:pPr>
            <a:endParaRPr lang="zh-CN" altLang="en-US" sz="2800" kern="100" dirty="0">
              <a:solidFill>
                <a:srgbClr val="FFFFFF"/>
              </a:solidFill>
              <a:effectLst>
                <a:outerShdw blurRad="38100" dist="38100" dir="2700000" algn="tl">
                  <a:srgbClr val="000000">
                    <a:alpha val="43137"/>
                  </a:srgbClr>
                </a:outerShdw>
              </a:effectLst>
              <a:latin typeface="黑体" pitchFamily="49" charset="-122"/>
              <a:ea typeface="黑体" pitchFamily="49" charset="-122"/>
            </a:endParaRPr>
          </a:p>
          <a:p>
            <a:pPr fontAlgn="base">
              <a:spcBef>
                <a:spcPct val="0"/>
              </a:spcBef>
              <a:spcAft>
                <a:spcPct val="0"/>
              </a:spcAft>
              <a:defRPr/>
            </a:pPr>
            <a:endParaRPr lang="zh-CN" altLang="en-US" dirty="0">
              <a:solidFill>
                <a:srgbClr val="FFFFFF"/>
              </a:solidFill>
              <a:effectLst>
                <a:outerShdw blurRad="38100" dist="38100" dir="2700000" algn="tl">
                  <a:srgbClr val="000000">
                    <a:alpha val="43137"/>
                  </a:srgbClr>
                </a:outerShdw>
              </a:effectLst>
              <a:latin typeface="黑体" pitchFamily="49" charset="-122"/>
            </a:endParaRPr>
          </a:p>
        </p:txBody>
      </p:sp>
      <p:sp>
        <p:nvSpPr>
          <p:cNvPr id="7" name="Rectangle 2"/>
          <p:cNvSpPr txBox="1">
            <a:spLocks noChangeArrowheads="1"/>
          </p:cNvSpPr>
          <p:nvPr/>
        </p:nvSpPr>
        <p:spPr bwMode="auto">
          <a:xfrm>
            <a:off x="0" y="0"/>
            <a:ext cx="8610600" cy="685800"/>
          </a:xfrm>
          <a:prstGeom prst="rect">
            <a:avLst/>
          </a:prstGeom>
          <a:solidFill>
            <a:srgbClr val="0070C0">
              <a:alpha val="38000"/>
            </a:srgbClr>
          </a:solidFill>
          <a:ln w="9525">
            <a:noFill/>
            <a:miter lim="800000"/>
            <a:headEnd/>
            <a:tailEnd/>
          </a:ln>
          <a:effectLst/>
        </p:spPr>
        <p:txBody>
          <a:bodyPr lIns="91389" tIns="45694" rIns="91389" bIns="45694" anchor="ctr"/>
          <a:lstStyle/>
          <a:p>
            <a:pPr algn="ctr" fontAlgn="base">
              <a:spcBef>
                <a:spcPct val="0"/>
              </a:spcBef>
              <a:spcAft>
                <a:spcPct val="0"/>
              </a:spcAft>
              <a:defRPr/>
            </a:pPr>
            <a:r>
              <a:rPr lang="zh-CN" altLang="en-US" sz="3400" b="1" kern="0" dirty="0">
                <a:solidFill>
                  <a:srgbClr val="D6E5EC">
                    <a:lumMod val="10000"/>
                  </a:srgbClr>
                </a:solidFill>
                <a:effectLst>
                  <a:outerShdw blurRad="38100" dist="38100" dir="2700000" algn="tl">
                    <a:srgbClr val="000000"/>
                  </a:outerShdw>
                </a:effectLst>
                <a:latin typeface="黑体" pitchFamily="49" charset="-122"/>
                <a:ea typeface="华文行楷" pitchFamily="2" charset="-122"/>
              </a:rPr>
              <a:t>（</a:t>
            </a:r>
            <a:r>
              <a:rPr lang="zh-CN" altLang="en-US" sz="3400" b="1" kern="0" dirty="0">
                <a:solidFill>
                  <a:srgbClr val="D6E5EC">
                    <a:lumMod val="10000"/>
                  </a:srgbClr>
                </a:solidFill>
                <a:latin typeface="黑体" pitchFamily="49" charset="-122"/>
                <a:ea typeface="华文行楷" pitchFamily="2" charset="-122"/>
              </a:rPr>
              <a:t>一）促进个人与他人的和谐应坚持的原则</a:t>
            </a:r>
          </a:p>
        </p:txBody>
      </p:sp>
      <p:grpSp>
        <p:nvGrpSpPr>
          <p:cNvPr id="2" name="Organization Chart 12"/>
          <p:cNvGrpSpPr>
            <a:grpSpLocks noChangeAspect="1"/>
          </p:cNvGrpSpPr>
          <p:nvPr/>
        </p:nvGrpSpPr>
        <p:grpSpPr bwMode="auto">
          <a:xfrm>
            <a:off x="1763688" y="1676400"/>
            <a:ext cx="4789512" cy="4038600"/>
            <a:chOff x="1134" y="1270"/>
            <a:chExt cx="1430" cy="2088"/>
          </a:xfrm>
        </p:grpSpPr>
        <p:sp>
          <p:nvSpPr>
            <p:cNvPr id="13" name="AutoShape 11"/>
            <p:cNvSpPr>
              <a:spLocks noChangeAspect="1" noChangeArrowheads="1" noTextEdit="1"/>
            </p:cNvSpPr>
            <p:nvPr/>
          </p:nvSpPr>
          <p:spPr bwMode="auto">
            <a:xfrm>
              <a:off x="1134" y="1270"/>
              <a:ext cx="1430" cy="2088"/>
            </a:xfrm>
            <a:prstGeom prst="rect">
              <a:avLst/>
            </a:prstGeom>
            <a:noFill/>
            <a:ln w="9525">
              <a:solidFill>
                <a:srgbClr val="800080"/>
              </a:solidFill>
              <a:miter lim="800000"/>
              <a:headEnd/>
              <a:tailEnd/>
            </a:ln>
          </p:spPr>
          <p:txBody>
            <a:bodyPr vert="horz" wrap="square" lIns="91440" tIns="45720" rIns="91440" bIns="45720" numCol="1" anchor="t" anchorCtr="0" compatLnSpc="1">
              <a:prstTxWarp prst="textNoShape">
                <a:avLst/>
              </a:prstTxWarp>
            </a:bodyPr>
            <a:lstStyle/>
            <a:p>
              <a:endParaRPr lang="zh-CN" altLang="en-US">
                <a:solidFill>
                  <a:srgbClr val="FFFFFF"/>
                </a:solidFill>
              </a:endParaRPr>
            </a:p>
          </p:txBody>
        </p:sp>
        <p:cxnSp>
          <p:nvCxnSpPr>
            <p:cNvPr id="10244" name="_s10244"/>
            <p:cNvCxnSpPr>
              <a:cxnSpLocks noChangeShapeType="1"/>
              <a:stCxn id="22" idx="1"/>
              <a:endCxn id="18" idx="2"/>
            </p:cNvCxnSpPr>
            <p:nvPr/>
          </p:nvCxnSpPr>
          <p:spPr bwMode="auto">
            <a:xfrm rot="10800000">
              <a:off x="1566" y="1568"/>
              <a:ext cx="128" cy="1646"/>
            </a:xfrm>
            <a:prstGeom prst="bentConnector2">
              <a:avLst/>
            </a:prstGeom>
            <a:noFill/>
            <a:ln w="28575">
              <a:solidFill>
                <a:srgbClr val="800080"/>
              </a:solidFill>
              <a:miter lim="800000"/>
              <a:headEnd/>
              <a:tailEnd/>
            </a:ln>
          </p:spPr>
        </p:cxnSp>
        <p:cxnSp>
          <p:nvCxnSpPr>
            <p:cNvPr id="10245" name="_s10245"/>
            <p:cNvCxnSpPr>
              <a:cxnSpLocks noChangeShapeType="1"/>
              <a:stCxn id="21" idx="1"/>
              <a:endCxn id="18" idx="2"/>
            </p:cNvCxnSpPr>
            <p:nvPr/>
          </p:nvCxnSpPr>
          <p:spPr bwMode="auto">
            <a:xfrm rot="10800000">
              <a:off x="1566" y="1568"/>
              <a:ext cx="128" cy="1197"/>
            </a:xfrm>
            <a:prstGeom prst="bentConnector2">
              <a:avLst/>
            </a:prstGeom>
            <a:noFill/>
            <a:ln w="28575">
              <a:solidFill>
                <a:srgbClr val="800080"/>
              </a:solidFill>
              <a:miter lim="800000"/>
              <a:headEnd/>
              <a:tailEnd/>
            </a:ln>
          </p:spPr>
        </p:cxnSp>
        <p:cxnSp>
          <p:nvCxnSpPr>
            <p:cNvPr id="10246" name="_s10246"/>
            <p:cNvCxnSpPr>
              <a:cxnSpLocks noChangeShapeType="1"/>
              <a:stCxn id="20" idx="1"/>
              <a:endCxn id="18" idx="2"/>
            </p:cNvCxnSpPr>
            <p:nvPr/>
          </p:nvCxnSpPr>
          <p:spPr bwMode="auto">
            <a:xfrm rot="10800000">
              <a:off x="1566" y="1568"/>
              <a:ext cx="128" cy="746"/>
            </a:xfrm>
            <a:prstGeom prst="bentConnector2">
              <a:avLst/>
            </a:prstGeom>
            <a:noFill/>
            <a:ln w="44450">
              <a:solidFill>
                <a:srgbClr val="800080"/>
              </a:solidFill>
              <a:miter lim="800000"/>
              <a:headEnd/>
              <a:tailEnd/>
            </a:ln>
          </p:spPr>
        </p:cxnSp>
        <p:cxnSp>
          <p:nvCxnSpPr>
            <p:cNvPr id="10247" name="_s10247"/>
            <p:cNvCxnSpPr>
              <a:cxnSpLocks noChangeShapeType="1"/>
              <a:stCxn id="19" idx="1"/>
              <a:endCxn id="18" idx="2"/>
            </p:cNvCxnSpPr>
            <p:nvPr/>
          </p:nvCxnSpPr>
          <p:spPr bwMode="auto">
            <a:xfrm rot="10800000">
              <a:off x="1566" y="1568"/>
              <a:ext cx="129" cy="296"/>
            </a:xfrm>
            <a:prstGeom prst="bentConnector2">
              <a:avLst/>
            </a:prstGeom>
            <a:noFill/>
            <a:ln w="28575">
              <a:solidFill>
                <a:srgbClr val="800080"/>
              </a:solidFill>
              <a:miter lim="800000"/>
              <a:headEnd/>
              <a:tailEnd/>
            </a:ln>
          </p:spPr>
        </p:cxnSp>
        <p:sp>
          <p:nvSpPr>
            <p:cNvPr id="18" name="_s10248" descr="花束"/>
            <p:cNvSpPr>
              <a:spLocks noChangeArrowheads="1"/>
            </p:cNvSpPr>
            <p:nvPr/>
          </p:nvSpPr>
          <p:spPr bwMode="auto">
            <a:xfrm>
              <a:off x="1134" y="1270"/>
              <a:ext cx="864" cy="288"/>
            </a:xfrm>
            <a:prstGeom prst="roundRect">
              <a:avLst>
                <a:gd name="adj" fmla="val 16667"/>
              </a:avLst>
            </a:prstGeom>
            <a:blipFill dpi="0" rotWithShape="1">
              <a:blip r:embed="rId4" cstate="print"/>
              <a:srcRect/>
              <a:tile tx="0" ty="0" sx="100000" sy="100000" flip="none" algn="tl"/>
            </a:blipFill>
            <a:ln w="38100">
              <a:solidFill>
                <a:srgbClr val="FF0000"/>
              </a:solidFill>
              <a:prstDash val="dash"/>
              <a:round/>
              <a:headEnd/>
              <a:tailEnd/>
            </a:ln>
          </p:spPr>
          <p:txBody>
            <a:bodyPr vert="horz" wrap="none" lIns="0" tIns="0" rIns="0" bIns="0" numCol="1" anchor="ctr" anchorCtr="0" compatLnSpc="1">
              <a:prstTxWarp prst="textNoShape">
                <a:avLst/>
              </a:prstTxWarp>
            </a:bodyPr>
            <a:lstStyle/>
            <a:p>
              <a:pPr algn="ctr" fontAlgn="base">
                <a:spcBef>
                  <a:spcPct val="0"/>
                </a:spcBef>
                <a:spcAft>
                  <a:spcPct val="0"/>
                </a:spcAft>
              </a:pPr>
              <a:r>
                <a:rPr lang="zh-CN" altLang="en-US" sz="2000" b="1" dirty="0" smtClean="0">
                  <a:solidFill>
                    <a:srgbClr val="A50021"/>
                  </a:solidFill>
                  <a:latin typeface="黑体" pitchFamily="49" charset="-122"/>
                  <a:ea typeface="黑体" pitchFamily="49" charset="-122"/>
                  <a:cs typeface="宋体" pitchFamily="2" charset="-122"/>
                </a:rPr>
                <a:t>个人与他人和谐</a:t>
              </a:r>
            </a:p>
            <a:p>
              <a:pPr algn="ctr" fontAlgn="base">
                <a:spcBef>
                  <a:spcPct val="0"/>
                </a:spcBef>
                <a:spcAft>
                  <a:spcPct val="0"/>
                </a:spcAft>
              </a:pPr>
              <a:r>
                <a:rPr lang="zh-CN" altLang="en-US" sz="2000" b="1" dirty="0" smtClean="0">
                  <a:solidFill>
                    <a:srgbClr val="A50021"/>
                  </a:solidFill>
                  <a:latin typeface="黑体" pitchFamily="49" charset="-122"/>
                  <a:ea typeface="黑体" pitchFamily="49" charset="-122"/>
                  <a:cs typeface="宋体" pitchFamily="2" charset="-122"/>
                </a:rPr>
                <a:t>应坚持的原则</a:t>
              </a:r>
            </a:p>
          </p:txBody>
        </p:sp>
        <p:sp>
          <p:nvSpPr>
            <p:cNvPr id="19" name="_s10249" descr="白色大理石"/>
            <p:cNvSpPr>
              <a:spLocks noChangeArrowheads="1"/>
            </p:cNvSpPr>
            <p:nvPr/>
          </p:nvSpPr>
          <p:spPr bwMode="auto">
            <a:xfrm>
              <a:off x="1700" y="1720"/>
              <a:ext cx="864" cy="288"/>
            </a:xfrm>
            <a:prstGeom prst="roundRect">
              <a:avLst>
                <a:gd name="adj" fmla="val 16667"/>
              </a:avLst>
            </a:prstGeom>
            <a:blipFill dpi="0" rotWithShape="1">
              <a:blip r:embed="rId5" cstate="print"/>
              <a:srcRect/>
              <a:tile tx="0" ty="0" sx="100000" sy="100000" flip="none" algn="tl"/>
            </a:blipFill>
            <a:ln w="28575">
              <a:solidFill>
                <a:srgbClr val="FF00FF"/>
              </a:solidFill>
              <a:round/>
              <a:headEnd/>
              <a:tailEnd/>
            </a:ln>
          </p:spPr>
          <p:txBody>
            <a:bodyPr vert="horz" wrap="none" lIns="0" tIns="0" rIns="0" bIns="0" numCol="1" anchor="ctr" anchorCtr="0" compatLnSpc="1">
              <a:prstTxWarp prst="textNoShape">
                <a:avLst/>
              </a:prstTxWarp>
            </a:bodyPr>
            <a:lstStyle/>
            <a:p>
              <a:pPr algn="ctr" fontAlgn="base">
                <a:spcBef>
                  <a:spcPct val="20000"/>
                </a:spcBef>
                <a:spcAft>
                  <a:spcPct val="0"/>
                </a:spcAft>
                <a:buClr>
                  <a:srgbClr val="0000FF"/>
                </a:buClr>
                <a:buSzPct val="60000"/>
              </a:pPr>
              <a:r>
                <a:rPr lang="zh-CN" altLang="en-US" sz="3200" dirty="0" smtClean="0">
                  <a:solidFill>
                    <a:srgbClr val="0000FF"/>
                  </a:solidFill>
                  <a:latin typeface="黑体" pitchFamily="49" charset="-122"/>
                  <a:ea typeface="黑体" pitchFamily="49" charset="-122"/>
                  <a:cs typeface="宋体" pitchFamily="2" charset="-122"/>
                </a:rPr>
                <a:t>平等原则</a:t>
              </a:r>
            </a:p>
            <a:p>
              <a:pPr algn="ctr" fontAlgn="base">
                <a:spcBef>
                  <a:spcPct val="0"/>
                </a:spcBef>
                <a:spcAft>
                  <a:spcPct val="0"/>
                </a:spcAft>
              </a:pPr>
              <a:endParaRPr lang="en-US" altLang="zh-CN" sz="1600" dirty="0" smtClean="0">
                <a:solidFill>
                  <a:srgbClr val="FFFFFF"/>
                </a:solidFill>
                <a:effectLst>
                  <a:outerShdw blurRad="38100" dist="38100" dir="2700000" algn="tl">
                    <a:srgbClr val="C0C0C0"/>
                  </a:outerShdw>
                </a:effectLst>
                <a:cs typeface="宋体" pitchFamily="2" charset="-122"/>
              </a:endParaRPr>
            </a:p>
          </p:txBody>
        </p:sp>
        <p:sp>
          <p:nvSpPr>
            <p:cNvPr id="20" name="_s10250" descr="白色大理石"/>
            <p:cNvSpPr>
              <a:spLocks noChangeArrowheads="1"/>
            </p:cNvSpPr>
            <p:nvPr/>
          </p:nvSpPr>
          <p:spPr bwMode="auto">
            <a:xfrm>
              <a:off x="1700" y="2170"/>
              <a:ext cx="864" cy="288"/>
            </a:xfrm>
            <a:prstGeom prst="roundRect">
              <a:avLst>
                <a:gd name="adj" fmla="val 16667"/>
              </a:avLst>
            </a:prstGeom>
            <a:blipFill dpi="0" rotWithShape="1">
              <a:blip r:embed="rId5" cstate="print"/>
              <a:srcRect/>
              <a:tile tx="0" ty="0" sx="100000" sy="100000" flip="none" algn="tl"/>
            </a:blipFill>
            <a:ln w="38100">
              <a:solidFill>
                <a:srgbClr val="FF00FF"/>
              </a:solidFill>
              <a:round/>
              <a:headEnd/>
              <a:tailEnd/>
            </a:ln>
          </p:spPr>
          <p:txBody>
            <a:bodyPr vert="horz" wrap="none" lIns="0" tIns="0" rIns="0" bIns="0" numCol="1" anchor="ctr" anchorCtr="0" compatLnSpc="1">
              <a:prstTxWarp prst="textNoShape">
                <a:avLst/>
              </a:prstTxWarp>
            </a:bodyPr>
            <a:lstStyle/>
            <a:p>
              <a:pPr algn="ctr" fontAlgn="base">
                <a:spcBef>
                  <a:spcPct val="20000"/>
                </a:spcBef>
                <a:spcAft>
                  <a:spcPct val="0"/>
                </a:spcAft>
                <a:buClr>
                  <a:srgbClr val="0000FF"/>
                </a:buClr>
                <a:buSzPct val="60000"/>
              </a:pPr>
              <a:r>
                <a:rPr lang="zh-CN" altLang="en-US" sz="3200" dirty="0" smtClean="0">
                  <a:solidFill>
                    <a:srgbClr val="0000FF"/>
                  </a:solidFill>
                  <a:latin typeface="黑体" pitchFamily="49" charset="-122"/>
                  <a:ea typeface="黑体" pitchFamily="49" charset="-122"/>
                  <a:cs typeface="宋体" pitchFamily="2" charset="-122"/>
                </a:rPr>
                <a:t>诚信原则</a:t>
              </a:r>
            </a:p>
          </p:txBody>
        </p:sp>
        <p:sp>
          <p:nvSpPr>
            <p:cNvPr id="21" name="_s10251" descr="白色大理石"/>
            <p:cNvSpPr>
              <a:spLocks noChangeArrowheads="1"/>
            </p:cNvSpPr>
            <p:nvPr/>
          </p:nvSpPr>
          <p:spPr bwMode="auto">
            <a:xfrm>
              <a:off x="1700" y="2620"/>
              <a:ext cx="864" cy="288"/>
            </a:xfrm>
            <a:prstGeom prst="roundRect">
              <a:avLst>
                <a:gd name="adj" fmla="val 16667"/>
              </a:avLst>
            </a:prstGeom>
            <a:blipFill dpi="0" rotWithShape="1">
              <a:blip r:embed="rId5" cstate="print"/>
              <a:srcRect/>
              <a:tile tx="0" ty="0" sx="100000" sy="100000" flip="none" algn="tl"/>
            </a:blipFill>
            <a:ln w="38100">
              <a:solidFill>
                <a:srgbClr val="FF00FF"/>
              </a:solidFill>
              <a:round/>
              <a:headEnd/>
              <a:tailEnd/>
            </a:ln>
          </p:spPr>
          <p:txBody>
            <a:bodyPr vert="horz" wrap="none" lIns="0" tIns="0" rIns="0" bIns="0" numCol="1" anchor="ctr" anchorCtr="0" compatLnSpc="1">
              <a:prstTxWarp prst="textNoShape">
                <a:avLst/>
              </a:prstTxWarp>
            </a:bodyPr>
            <a:lstStyle/>
            <a:p>
              <a:pPr algn="ctr" fontAlgn="base">
                <a:spcBef>
                  <a:spcPct val="20000"/>
                </a:spcBef>
                <a:spcAft>
                  <a:spcPct val="0"/>
                </a:spcAft>
                <a:buClr>
                  <a:srgbClr val="0000FF"/>
                </a:buClr>
                <a:buSzPct val="60000"/>
              </a:pPr>
              <a:r>
                <a:rPr lang="zh-CN" altLang="en-US" sz="3200" dirty="0" smtClean="0">
                  <a:solidFill>
                    <a:srgbClr val="0000FF"/>
                  </a:solidFill>
                  <a:latin typeface="黑体" pitchFamily="49" charset="-122"/>
                  <a:ea typeface="黑体" pitchFamily="49" charset="-122"/>
                  <a:cs typeface="宋体" pitchFamily="2" charset="-122"/>
                </a:rPr>
                <a:t>宽容原则</a:t>
              </a:r>
            </a:p>
          </p:txBody>
        </p:sp>
        <p:sp>
          <p:nvSpPr>
            <p:cNvPr id="22" name="_s10252" descr="白色大理石"/>
            <p:cNvSpPr>
              <a:spLocks noChangeArrowheads="1"/>
            </p:cNvSpPr>
            <p:nvPr/>
          </p:nvSpPr>
          <p:spPr bwMode="auto">
            <a:xfrm>
              <a:off x="1700" y="3070"/>
              <a:ext cx="864" cy="288"/>
            </a:xfrm>
            <a:prstGeom prst="roundRect">
              <a:avLst>
                <a:gd name="adj" fmla="val 16667"/>
              </a:avLst>
            </a:prstGeom>
            <a:blipFill dpi="0" rotWithShape="1">
              <a:blip r:embed="rId5" cstate="print"/>
              <a:srcRect/>
              <a:tile tx="0" ty="0" sx="100000" sy="100000" flip="none" algn="tl"/>
            </a:blipFill>
            <a:ln w="38100">
              <a:solidFill>
                <a:srgbClr val="FF00FF"/>
              </a:solidFill>
              <a:round/>
              <a:headEnd/>
              <a:tailEnd/>
            </a:ln>
          </p:spPr>
          <p:txBody>
            <a:bodyPr vert="horz" wrap="none" lIns="0" tIns="0" rIns="0" bIns="0" numCol="1" anchor="ctr" anchorCtr="0" compatLnSpc="1">
              <a:prstTxWarp prst="textNoShape">
                <a:avLst/>
              </a:prstTxWarp>
            </a:bodyPr>
            <a:lstStyle/>
            <a:p>
              <a:pPr algn="ctr" fontAlgn="base">
                <a:spcBef>
                  <a:spcPct val="20000"/>
                </a:spcBef>
                <a:spcAft>
                  <a:spcPct val="0"/>
                </a:spcAft>
                <a:buClr>
                  <a:srgbClr val="0000FF"/>
                </a:buClr>
                <a:buSzPct val="60000"/>
              </a:pPr>
              <a:r>
                <a:rPr lang="zh-CN" altLang="en-US" sz="3200" dirty="0" smtClean="0">
                  <a:solidFill>
                    <a:srgbClr val="0000FF"/>
                  </a:solidFill>
                  <a:latin typeface="黑体" pitchFamily="49" charset="-122"/>
                  <a:ea typeface="黑体" pitchFamily="49" charset="-122"/>
                  <a:cs typeface="宋体" pitchFamily="2" charset="-122"/>
                </a:rPr>
                <a:t>互助原则</a:t>
              </a:r>
            </a:p>
          </p:txBody>
        </p:sp>
      </p:grpSp>
      <p:pic>
        <p:nvPicPr>
          <p:cNvPr id="4115" name="Picture 29" descr="运动边框"/>
          <p:cNvPicPr>
            <a:picLocks noChangeAspect="1" noChangeArrowheads="1" noCrop="1"/>
          </p:cNvPicPr>
          <p:nvPr/>
        </p:nvPicPr>
        <p:blipFill>
          <a:blip r:embed="rId6" cstate="print"/>
          <a:srcRect/>
          <a:stretch>
            <a:fillRect/>
          </a:stretch>
        </p:blipFill>
        <p:spPr bwMode="auto">
          <a:xfrm>
            <a:off x="5441950" y="6399213"/>
            <a:ext cx="3702050" cy="458787"/>
          </a:xfrm>
          <a:prstGeom prst="rect">
            <a:avLst/>
          </a:prstGeom>
          <a:noFill/>
          <a:ln w="9525">
            <a:noFill/>
            <a:miter lim="800000"/>
            <a:headEnd/>
            <a:tailEnd/>
          </a:ln>
        </p:spPr>
      </p:pic>
      <p:sp>
        <p:nvSpPr>
          <p:cNvPr id="1044" name="TextBox 20"/>
          <p:cNvSpPr txBox="1">
            <a:spLocks noChangeArrowheads="1"/>
          </p:cNvSpPr>
          <p:nvPr/>
        </p:nvSpPr>
        <p:spPr bwMode="auto">
          <a:xfrm>
            <a:off x="5562600" y="6488113"/>
            <a:ext cx="3581400" cy="369887"/>
          </a:xfrm>
          <a:prstGeom prst="rect">
            <a:avLst/>
          </a:prstGeom>
          <a:noFill/>
          <a:ln w="9525">
            <a:noFill/>
            <a:miter lim="800000"/>
            <a:headEnd/>
            <a:tailEnd/>
          </a:ln>
        </p:spPr>
        <p:txBody>
          <a:bodyPr lIns="91389" tIns="45694" rIns="91389" bIns="45694">
            <a:spAutoFit/>
          </a:bodyPr>
          <a:lstStyle/>
          <a:p>
            <a:pPr fontAlgn="base">
              <a:spcBef>
                <a:spcPct val="0"/>
              </a:spcBef>
              <a:spcAft>
                <a:spcPct val="0"/>
              </a:spcAft>
              <a:defRPr/>
            </a:pPr>
            <a:r>
              <a:rPr lang="zh-CN" altLang="en-US" b="1" dirty="0">
                <a:solidFill>
                  <a:srgbClr val="B3D1DF"/>
                </a:solidFill>
                <a:effectLst>
                  <a:outerShdw blurRad="38100" dist="38100" dir="2700000" algn="tl">
                    <a:srgbClr val="000000">
                      <a:alpha val="43137"/>
                    </a:srgbClr>
                  </a:outerShdw>
                </a:effectLst>
                <a:latin typeface="黑体" pitchFamily="49" charset="-122"/>
                <a:ea typeface="黑体" pitchFamily="49" charset="-122"/>
              </a:rPr>
              <a:t>第三节    科学对待人生环境</a:t>
            </a:r>
          </a:p>
        </p:txBody>
      </p:sp>
      <p:graphicFrame>
        <p:nvGraphicFramePr>
          <p:cNvPr id="155653" name="Object 5"/>
          <p:cNvGraphicFramePr>
            <a:graphicFrameLocks noChangeAspect="1"/>
          </p:cNvGraphicFramePr>
          <p:nvPr/>
        </p:nvGraphicFramePr>
        <p:xfrm>
          <a:off x="6629400" y="3657600"/>
          <a:ext cx="2362200" cy="2401888"/>
        </p:xfrm>
        <a:graphic>
          <a:graphicData uri="http://schemas.openxmlformats.org/presentationml/2006/ole">
            <p:oleObj spid="_x0000_s4098" name="BMP 图象" r:id="rId7" imgW="2537680" imgH="2400508" progId="PBrush">
              <p:embed/>
            </p:oleObj>
          </a:graphicData>
        </a:graphic>
      </p:graphicFrame>
    </p:spTree>
  </p:cSld>
  <p:clrMapOvr>
    <a:masterClrMapping/>
  </p:clrMapOvr>
  <p:transition spd="slow">
    <p:plus/>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 presetClass="entr" presetSubtype="10" fill="hold" grpId="0" nodeType="after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checkerboard(across)">
                                      <p:cBhvr>
                                        <p:cTn id="7" dur="500"/>
                                        <p:tgtEl>
                                          <p:spTgt spid="7"/>
                                        </p:tgtEl>
                                      </p:cBhvr>
                                    </p:animEffect>
                                  </p:childTnLst>
                                </p:cTn>
                              </p:par>
                            </p:childTnLst>
                          </p:cTn>
                        </p:par>
                        <p:par>
                          <p:cTn id="8" fill="hold">
                            <p:stCondLst>
                              <p:cond delay="500"/>
                            </p:stCondLst>
                            <p:childTnLst>
                              <p:par>
                                <p:cTn id="9" presetID="27" presetClass="entr" presetSubtype="0" fill="hold" grpId="0" nodeType="afterEffect">
                                  <p:stCondLst>
                                    <p:cond delay="0"/>
                                  </p:stCondLst>
                                  <p:iterate type="lt">
                                    <p:tmPct val="50000"/>
                                  </p:iterate>
                                  <p:childTnLst>
                                    <p:set>
                                      <p:cBhvr>
                                        <p:cTn id="10" dur="1" fill="hold">
                                          <p:stCondLst>
                                            <p:cond delay="0"/>
                                          </p:stCondLst>
                                        </p:cTn>
                                        <p:tgtEl>
                                          <p:spTgt spid="5"/>
                                        </p:tgtEl>
                                        <p:attrNameLst>
                                          <p:attrName>style.visibility</p:attrName>
                                        </p:attrNameLst>
                                      </p:cBhvr>
                                      <p:to>
                                        <p:strVal val="visible"/>
                                      </p:to>
                                    </p:set>
                                    <p:anim calcmode="discrete" valueType="clr">
                                      <p:cBhvr override="childStyle">
                                        <p:cTn id="11" dur="80"/>
                                        <p:tgtEl>
                                          <p:spTgt spid="5"/>
                                        </p:tgtEl>
                                        <p:attrNameLst>
                                          <p:attrName>style.color</p:attrName>
                                        </p:attrNameLst>
                                      </p:cBhvr>
                                      <p:tavLst>
                                        <p:tav tm="0">
                                          <p:val>
                                            <p:clrVal>
                                              <a:schemeClr val="accent2"/>
                                            </p:clrVal>
                                          </p:val>
                                        </p:tav>
                                        <p:tav tm="50000">
                                          <p:val>
                                            <p:clrVal>
                                              <a:schemeClr val="hlink"/>
                                            </p:clrVal>
                                          </p:val>
                                        </p:tav>
                                      </p:tavLst>
                                    </p:anim>
                                    <p:anim calcmode="discrete" valueType="clr">
                                      <p:cBhvr>
                                        <p:cTn id="12" dur="80"/>
                                        <p:tgtEl>
                                          <p:spTgt spid="5"/>
                                        </p:tgtEl>
                                        <p:attrNameLst>
                                          <p:attrName>fillcolor</p:attrName>
                                        </p:attrNameLst>
                                      </p:cBhvr>
                                      <p:tavLst>
                                        <p:tav tm="0">
                                          <p:val>
                                            <p:clrVal>
                                              <a:schemeClr val="accent2"/>
                                            </p:clrVal>
                                          </p:val>
                                        </p:tav>
                                        <p:tav tm="50000">
                                          <p:val>
                                            <p:clrVal>
                                              <a:schemeClr val="hlink"/>
                                            </p:clrVal>
                                          </p:val>
                                        </p:tav>
                                      </p:tavLst>
                                    </p:anim>
                                    <p:set>
                                      <p:cBhvr>
                                        <p:cTn id="13" dur="80"/>
                                        <p:tgtEl>
                                          <p:spTgt spid="5"/>
                                        </p:tgtEl>
                                        <p:attrNameLst>
                                          <p:attrName>fill.type</p:attrName>
                                        </p:attrNameLst>
                                      </p:cBhvr>
                                      <p:to>
                                        <p:strVal val="solid"/>
                                      </p:to>
                                    </p:set>
                                  </p:childTnLst>
                                </p:cTn>
                              </p:par>
                            </p:childTnLst>
                          </p:cTn>
                        </p:par>
                      </p:childTnLst>
                    </p:cTn>
                  </p:par>
                  <p:par>
                    <p:cTn id="14" fill="hold">
                      <p:stCondLst>
                        <p:cond delay="indefinite"/>
                      </p:stCondLst>
                      <p:childTnLst>
                        <p:par>
                          <p:cTn id="15" fill="hold">
                            <p:stCondLst>
                              <p:cond delay="0"/>
                            </p:stCondLst>
                            <p:childTnLst>
                              <p:par>
                                <p:cTn id="16" presetID="5" presetClass="entr" presetSubtype="10" fill="hold" nodeType="clickEffect">
                                  <p:stCondLst>
                                    <p:cond delay="0"/>
                                  </p:stCondLst>
                                  <p:childTnLst>
                                    <p:set>
                                      <p:cBhvr>
                                        <p:cTn id="17" dur="1" fill="hold">
                                          <p:stCondLst>
                                            <p:cond delay="0"/>
                                          </p:stCondLst>
                                        </p:cTn>
                                        <p:tgtEl>
                                          <p:spTgt spid="2"/>
                                        </p:tgtEl>
                                        <p:attrNameLst>
                                          <p:attrName>style.visibility</p:attrName>
                                        </p:attrNameLst>
                                      </p:cBhvr>
                                      <p:to>
                                        <p:strVal val="visible"/>
                                      </p:to>
                                    </p:set>
                                    <p:animEffect transition="in" filter="checkerboard(across)">
                                      <p:cBhvr>
                                        <p:cTn id="18" dur="500"/>
                                        <p:tgtEl>
                                          <p:spTgt spid="2"/>
                                        </p:tgtEl>
                                      </p:cBhvr>
                                    </p:animEffect>
                                  </p:childTnLst>
                                </p:cTn>
                              </p:par>
                            </p:childTnLst>
                          </p:cTn>
                        </p:par>
                        <p:par>
                          <p:cTn id="19" fill="hold">
                            <p:stCondLst>
                              <p:cond delay="500"/>
                            </p:stCondLst>
                            <p:childTnLst>
                              <p:par>
                                <p:cTn id="20" presetID="9" presetClass="entr" presetSubtype="0" fill="hold" nodeType="afterEffect">
                                  <p:stCondLst>
                                    <p:cond delay="0"/>
                                  </p:stCondLst>
                                  <p:childTnLst>
                                    <p:set>
                                      <p:cBhvr>
                                        <p:cTn id="21" dur="1" fill="hold">
                                          <p:stCondLst>
                                            <p:cond delay="0"/>
                                          </p:stCondLst>
                                        </p:cTn>
                                        <p:tgtEl>
                                          <p:spTgt spid="155653"/>
                                        </p:tgtEl>
                                        <p:attrNameLst>
                                          <p:attrName>style.visibility</p:attrName>
                                        </p:attrNameLst>
                                      </p:cBhvr>
                                      <p:to>
                                        <p:strVal val="visible"/>
                                      </p:to>
                                    </p:set>
                                    <p:animEffect transition="in" filter="dissolve">
                                      <p:cBhvr>
                                        <p:cTn id="22" dur="500"/>
                                        <p:tgtEl>
                                          <p:spTgt spid="15565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7"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3970" name="Oval 4"/>
          <p:cNvSpPr>
            <a:spLocks noChangeArrowheads="1"/>
          </p:cNvSpPr>
          <p:nvPr/>
        </p:nvSpPr>
        <p:spPr bwMode="auto">
          <a:xfrm rot="20799867">
            <a:off x="2614613" y="1847850"/>
            <a:ext cx="4703762" cy="2776538"/>
          </a:xfrm>
          <a:prstGeom prst="ellipse">
            <a:avLst/>
          </a:prstGeom>
          <a:solidFill>
            <a:srgbClr val="00CCFF"/>
          </a:solidFill>
          <a:ln w="9525">
            <a:noFill/>
            <a:round/>
            <a:headEnd/>
            <a:tailEnd/>
          </a:ln>
        </p:spPr>
        <p:txBody>
          <a:bodyPr wrap="none" lIns="91389" tIns="45694" rIns="91389" bIns="45694" anchor="ctr"/>
          <a:lstStyle/>
          <a:p>
            <a:pPr fontAlgn="base">
              <a:spcBef>
                <a:spcPct val="0"/>
              </a:spcBef>
              <a:spcAft>
                <a:spcPct val="0"/>
              </a:spcAft>
              <a:defRPr/>
            </a:pPr>
            <a:endParaRPr lang="zh-CN" altLang="zh-CN" dirty="0">
              <a:solidFill>
                <a:srgbClr val="1C1C1C"/>
              </a:solidFill>
              <a:effectLst>
                <a:outerShdw blurRad="38100" dist="38100" dir="2700000" algn="tl">
                  <a:srgbClr val="000000">
                    <a:alpha val="43137"/>
                  </a:srgbClr>
                </a:outerShdw>
              </a:effectLst>
              <a:latin typeface="黑体" pitchFamily="49" charset="-122"/>
              <a:ea typeface="宋体" pitchFamily="2" charset="-122"/>
            </a:endParaRPr>
          </a:p>
        </p:txBody>
      </p:sp>
      <p:sp>
        <p:nvSpPr>
          <p:cNvPr id="723971" name="Oval 6"/>
          <p:cNvSpPr>
            <a:spLocks noChangeArrowheads="1"/>
          </p:cNvSpPr>
          <p:nvPr/>
        </p:nvSpPr>
        <p:spPr bwMode="auto">
          <a:xfrm rot="20799867">
            <a:off x="1981200" y="1846263"/>
            <a:ext cx="5299075" cy="2787650"/>
          </a:xfrm>
          <a:prstGeom prst="ellipse">
            <a:avLst/>
          </a:prstGeom>
          <a:solidFill>
            <a:schemeClr val="bg1"/>
          </a:solidFill>
          <a:ln w="9525">
            <a:noFill/>
            <a:round/>
            <a:headEnd/>
            <a:tailEnd/>
          </a:ln>
        </p:spPr>
        <p:txBody>
          <a:bodyPr wrap="none" lIns="91389" tIns="45694" rIns="91389" bIns="45694" anchor="ctr"/>
          <a:lstStyle/>
          <a:p>
            <a:pPr fontAlgn="base">
              <a:spcBef>
                <a:spcPct val="0"/>
              </a:spcBef>
              <a:spcAft>
                <a:spcPct val="0"/>
              </a:spcAft>
              <a:defRPr/>
            </a:pPr>
            <a:endParaRPr lang="zh-CN" altLang="zh-CN" dirty="0">
              <a:solidFill>
                <a:srgbClr val="1C1C1C"/>
              </a:solidFill>
              <a:effectLst>
                <a:outerShdw blurRad="38100" dist="38100" dir="2700000" algn="tl">
                  <a:srgbClr val="000000">
                    <a:alpha val="43137"/>
                  </a:srgbClr>
                </a:outerShdw>
              </a:effectLst>
              <a:latin typeface="黑体" pitchFamily="49" charset="-122"/>
              <a:ea typeface="宋体" pitchFamily="2" charset="-122"/>
            </a:endParaRPr>
          </a:p>
        </p:txBody>
      </p:sp>
      <p:sp>
        <p:nvSpPr>
          <p:cNvPr id="723972" name="Oval 8"/>
          <p:cNvSpPr>
            <a:spLocks noChangeArrowheads="1"/>
          </p:cNvSpPr>
          <p:nvPr/>
        </p:nvSpPr>
        <p:spPr bwMode="auto">
          <a:xfrm rot="20799867">
            <a:off x="2166938" y="1924050"/>
            <a:ext cx="4943475" cy="2601913"/>
          </a:xfrm>
          <a:prstGeom prst="ellipse">
            <a:avLst/>
          </a:prstGeom>
          <a:solidFill>
            <a:srgbClr val="6699FF"/>
          </a:solidFill>
          <a:ln w="9525">
            <a:noFill/>
            <a:round/>
            <a:headEnd/>
            <a:tailEnd/>
          </a:ln>
        </p:spPr>
        <p:txBody>
          <a:bodyPr wrap="none" lIns="91389" tIns="45694" rIns="91389" bIns="45694" anchor="ctr"/>
          <a:lstStyle/>
          <a:p>
            <a:pPr fontAlgn="base">
              <a:spcBef>
                <a:spcPct val="0"/>
              </a:spcBef>
              <a:spcAft>
                <a:spcPct val="0"/>
              </a:spcAft>
              <a:defRPr/>
            </a:pPr>
            <a:endParaRPr lang="zh-CN" altLang="zh-CN" dirty="0">
              <a:solidFill>
                <a:srgbClr val="1C1C1C"/>
              </a:solidFill>
              <a:effectLst>
                <a:outerShdw blurRad="38100" dist="38100" dir="2700000" algn="tl">
                  <a:srgbClr val="000000">
                    <a:alpha val="43137"/>
                  </a:srgbClr>
                </a:outerShdw>
              </a:effectLst>
              <a:latin typeface="黑体" pitchFamily="49" charset="-122"/>
              <a:ea typeface="宋体" pitchFamily="2" charset="-122"/>
            </a:endParaRPr>
          </a:p>
        </p:txBody>
      </p:sp>
      <p:sp>
        <p:nvSpPr>
          <p:cNvPr id="723973" name="Oval 10"/>
          <p:cNvSpPr>
            <a:spLocks noChangeArrowheads="1"/>
          </p:cNvSpPr>
          <p:nvPr/>
        </p:nvSpPr>
        <p:spPr bwMode="auto">
          <a:xfrm rot="20799867">
            <a:off x="2205038" y="1901825"/>
            <a:ext cx="4835525" cy="2516188"/>
          </a:xfrm>
          <a:prstGeom prst="ellipse">
            <a:avLst/>
          </a:prstGeom>
          <a:solidFill>
            <a:schemeClr val="bg1"/>
          </a:solidFill>
          <a:ln w="9525">
            <a:noFill/>
            <a:round/>
            <a:headEnd/>
            <a:tailEnd/>
          </a:ln>
        </p:spPr>
        <p:txBody>
          <a:bodyPr wrap="none" lIns="91389" tIns="45694" rIns="91389" bIns="45694" anchor="ctr"/>
          <a:lstStyle/>
          <a:p>
            <a:pPr fontAlgn="base">
              <a:spcBef>
                <a:spcPct val="0"/>
              </a:spcBef>
              <a:spcAft>
                <a:spcPct val="0"/>
              </a:spcAft>
              <a:defRPr/>
            </a:pPr>
            <a:endParaRPr lang="zh-CN" altLang="zh-CN" dirty="0">
              <a:solidFill>
                <a:srgbClr val="1C1C1C"/>
              </a:solidFill>
              <a:effectLst>
                <a:outerShdw blurRad="38100" dist="38100" dir="2700000" algn="tl">
                  <a:srgbClr val="000000">
                    <a:alpha val="43137"/>
                  </a:srgbClr>
                </a:outerShdw>
              </a:effectLst>
              <a:latin typeface="黑体" pitchFamily="49" charset="-122"/>
              <a:ea typeface="宋体" pitchFamily="2" charset="-122"/>
            </a:endParaRPr>
          </a:p>
        </p:txBody>
      </p:sp>
      <p:grpSp>
        <p:nvGrpSpPr>
          <p:cNvPr id="2" name="组合 42"/>
          <p:cNvGrpSpPr>
            <a:grpSpLocks/>
          </p:cNvGrpSpPr>
          <p:nvPr/>
        </p:nvGrpSpPr>
        <p:grpSpPr bwMode="auto">
          <a:xfrm>
            <a:off x="179388" y="2601913"/>
            <a:ext cx="2922587" cy="827087"/>
            <a:chOff x="366830" y="2036744"/>
            <a:chExt cx="2922470" cy="826596"/>
          </a:xfrm>
        </p:grpSpPr>
        <p:sp>
          <p:nvSpPr>
            <p:cNvPr id="114734" name="Freeform 40"/>
            <p:cNvSpPr>
              <a:spLocks/>
            </p:cNvSpPr>
            <p:nvPr/>
          </p:nvSpPr>
          <p:spPr bwMode="auto">
            <a:xfrm>
              <a:off x="366830" y="2647568"/>
              <a:ext cx="2230348" cy="215772"/>
            </a:xfrm>
            <a:custGeom>
              <a:avLst/>
              <a:gdLst>
                <a:gd name="T0" fmla="*/ 2147483647 w 1361"/>
                <a:gd name="T1" fmla="*/ 0 h 134"/>
                <a:gd name="T2" fmla="*/ 2147483647 w 1361"/>
                <a:gd name="T3" fmla="*/ 2147483647 h 134"/>
                <a:gd name="T4" fmla="*/ 0 w 1361"/>
                <a:gd name="T5" fmla="*/ 2147483647 h 134"/>
                <a:gd name="T6" fmla="*/ 0 60000 65536"/>
                <a:gd name="T7" fmla="*/ 0 60000 65536"/>
                <a:gd name="T8" fmla="*/ 0 60000 65536"/>
                <a:gd name="T9" fmla="*/ 0 w 1361"/>
                <a:gd name="T10" fmla="*/ 0 h 134"/>
                <a:gd name="T11" fmla="*/ 1361 w 1361"/>
                <a:gd name="T12" fmla="*/ 134 h 134"/>
              </a:gdLst>
              <a:ahLst/>
              <a:cxnLst>
                <a:cxn ang="T6">
                  <a:pos x="T0" y="T1"/>
                </a:cxn>
                <a:cxn ang="T7">
                  <a:pos x="T2" y="T3"/>
                </a:cxn>
                <a:cxn ang="T8">
                  <a:pos x="T4" y="T5"/>
                </a:cxn>
              </a:cxnLst>
              <a:rect l="T9" t="T10" r="T11" b="T12"/>
              <a:pathLst>
                <a:path w="1361" h="134">
                  <a:moveTo>
                    <a:pt x="1361" y="0"/>
                  </a:moveTo>
                  <a:lnTo>
                    <a:pt x="1241" y="134"/>
                  </a:lnTo>
                  <a:lnTo>
                    <a:pt x="0" y="134"/>
                  </a:lnTo>
                </a:path>
              </a:pathLst>
            </a:custGeom>
            <a:solidFill>
              <a:srgbClr val="FFFFFF"/>
            </a:solidFill>
            <a:ln w="19050">
              <a:solidFill>
                <a:srgbClr val="000099"/>
              </a:solidFill>
              <a:round/>
              <a:headEnd/>
              <a:tailEnd/>
            </a:ln>
          </p:spPr>
          <p:txBody>
            <a:bodyPr wrap="none" anchor="ctr"/>
            <a:lstStyle/>
            <a:p>
              <a:pPr fontAlgn="base">
                <a:spcBef>
                  <a:spcPct val="0"/>
                </a:spcBef>
                <a:spcAft>
                  <a:spcPct val="0"/>
                </a:spcAft>
                <a:defRPr/>
              </a:pPr>
              <a:endParaRPr lang="zh-CN" altLang="en-US" dirty="0">
                <a:solidFill>
                  <a:srgbClr val="1C1C1C"/>
                </a:solidFill>
                <a:effectLst>
                  <a:outerShdw blurRad="38100" dist="38100" dir="2700000" algn="tl">
                    <a:srgbClr val="000000">
                      <a:alpha val="43137"/>
                    </a:srgbClr>
                  </a:outerShdw>
                </a:effectLst>
                <a:latin typeface="黑体" pitchFamily="49" charset="-122"/>
                <a:ea typeface="宋体" pitchFamily="2" charset="-122"/>
              </a:endParaRPr>
            </a:p>
          </p:txBody>
        </p:sp>
        <p:sp>
          <p:nvSpPr>
            <p:cNvPr id="114735" name="Rectangle 51"/>
            <p:cNvSpPr>
              <a:spLocks noChangeArrowheads="1"/>
            </p:cNvSpPr>
            <p:nvPr/>
          </p:nvSpPr>
          <p:spPr bwMode="auto">
            <a:xfrm>
              <a:off x="812899" y="2071648"/>
              <a:ext cx="1538226" cy="575920"/>
            </a:xfrm>
            <a:prstGeom prst="rect">
              <a:avLst/>
            </a:prstGeom>
            <a:noFill/>
            <a:ln w="9525">
              <a:noFill/>
              <a:miter lim="800000"/>
              <a:headEnd/>
              <a:tailEnd/>
            </a:ln>
          </p:spPr>
          <p:txBody>
            <a:bodyPr wrap="none"/>
            <a:lstStyle/>
            <a:p>
              <a:pPr algn="r" fontAlgn="base">
                <a:spcBef>
                  <a:spcPct val="0"/>
                </a:spcBef>
                <a:spcAft>
                  <a:spcPct val="0"/>
                </a:spcAft>
                <a:defRPr/>
              </a:pPr>
              <a:endParaRPr lang="ko-KR" altLang="en-US" sz="2000" dirty="0">
                <a:solidFill>
                  <a:srgbClr val="000000"/>
                </a:solidFill>
                <a:effectLst>
                  <a:outerShdw blurRad="38100" dist="38100" dir="2700000" algn="tl">
                    <a:srgbClr val="000000">
                      <a:alpha val="43137"/>
                    </a:srgbClr>
                  </a:outerShdw>
                </a:effectLst>
                <a:latin typeface="黑体" pitchFamily="49" charset="-122"/>
                <a:ea typeface="HY견고딕"/>
                <a:cs typeface="한컴바탕"/>
              </a:endParaRPr>
            </a:p>
          </p:txBody>
        </p:sp>
        <p:grpSp>
          <p:nvGrpSpPr>
            <p:cNvPr id="4" name="组合 35"/>
            <p:cNvGrpSpPr>
              <a:grpSpLocks/>
            </p:cNvGrpSpPr>
            <p:nvPr/>
          </p:nvGrpSpPr>
          <p:grpSpPr bwMode="auto">
            <a:xfrm>
              <a:off x="2597150" y="2036744"/>
              <a:ext cx="692150" cy="692150"/>
              <a:chOff x="2597150" y="2036744"/>
              <a:chExt cx="692150" cy="692150"/>
            </a:xfrm>
          </p:grpSpPr>
          <p:sp>
            <p:nvSpPr>
              <p:cNvPr id="114737" name="Oval 16"/>
              <p:cNvSpPr>
                <a:spLocks noChangeArrowheads="1"/>
              </p:cNvSpPr>
              <p:nvPr/>
            </p:nvSpPr>
            <p:spPr bwMode="auto">
              <a:xfrm>
                <a:off x="2597178" y="2036744"/>
                <a:ext cx="692122" cy="691739"/>
              </a:xfrm>
              <a:prstGeom prst="ellipse">
                <a:avLst/>
              </a:prstGeom>
              <a:solidFill>
                <a:srgbClr val="FFCC00"/>
              </a:solidFill>
              <a:ln w="9525">
                <a:noFill/>
                <a:round/>
                <a:headEnd/>
                <a:tailEnd/>
              </a:ln>
            </p:spPr>
            <p:txBody>
              <a:bodyPr wrap="none" anchor="ctr"/>
              <a:lstStyle/>
              <a:p>
                <a:pPr fontAlgn="base">
                  <a:spcBef>
                    <a:spcPct val="0"/>
                  </a:spcBef>
                  <a:spcAft>
                    <a:spcPct val="0"/>
                  </a:spcAft>
                  <a:defRPr/>
                </a:pPr>
                <a:endParaRPr lang="zh-CN" altLang="zh-CN" dirty="0">
                  <a:solidFill>
                    <a:srgbClr val="1C1C1C"/>
                  </a:solidFill>
                  <a:effectLst>
                    <a:outerShdw blurRad="38100" dist="38100" dir="2700000" algn="tl">
                      <a:srgbClr val="000000">
                        <a:alpha val="43137"/>
                      </a:srgbClr>
                    </a:outerShdw>
                  </a:effectLst>
                  <a:latin typeface="黑体" pitchFamily="49" charset="-122"/>
                  <a:ea typeface="宋体" pitchFamily="2" charset="-122"/>
                </a:endParaRPr>
              </a:p>
            </p:txBody>
          </p:sp>
          <p:sp>
            <p:nvSpPr>
              <p:cNvPr id="114738" name="Oval 19"/>
              <p:cNvSpPr>
                <a:spLocks noChangeArrowheads="1"/>
              </p:cNvSpPr>
              <p:nvPr/>
            </p:nvSpPr>
            <p:spPr bwMode="auto">
              <a:xfrm>
                <a:off x="2676550" y="2049436"/>
                <a:ext cx="533378" cy="395052"/>
              </a:xfrm>
              <a:prstGeom prst="ellipse">
                <a:avLst/>
              </a:prstGeom>
              <a:gradFill rotWithShape="0">
                <a:gsLst>
                  <a:gs pos="0">
                    <a:schemeClr val="bg1"/>
                  </a:gs>
                  <a:gs pos="100000">
                    <a:srgbClr val="FFCC00"/>
                  </a:gs>
                </a:gsLst>
                <a:lin ang="5400000" scaled="1"/>
              </a:gradFill>
              <a:ln w="9525">
                <a:noFill/>
                <a:round/>
                <a:headEnd/>
                <a:tailEnd/>
              </a:ln>
            </p:spPr>
            <p:txBody>
              <a:bodyPr wrap="none" anchor="ctr"/>
              <a:lstStyle/>
              <a:p>
                <a:pPr fontAlgn="base">
                  <a:spcBef>
                    <a:spcPct val="0"/>
                  </a:spcBef>
                  <a:spcAft>
                    <a:spcPct val="0"/>
                  </a:spcAft>
                  <a:defRPr/>
                </a:pPr>
                <a:endParaRPr lang="zh-CN" altLang="zh-CN" dirty="0">
                  <a:solidFill>
                    <a:srgbClr val="1C1C1C"/>
                  </a:solidFill>
                  <a:effectLst>
                    <a:outerShdw blurRad="38100" dist="38100" dir="2700000" algn="tl">
                      <a:srgbClr val="000000">
                        <a:alpha val="43137"/>
                      </a:srgbClr>
                    </a:outerShdw>
                  </a:effectLst>
                  <a:latin typeface="黑体" pitchFamily="49" charset="-122"/>
                  <a:ea typeface="宋体" pitchFamily="2" charset="-122"/>
                </a:endParaRPr>
              </a:p>
            </p:txBody>
          </p:sp>
          <p:sp>
            <p:nvSpPr>
              <p:cNvPr id="114739" name="Rectangle 52"/>
              <p:cNvSpPr>
                <a:spLocks noChangeArrowheads="1"/>
              </p:cNvSpPr>
              <p:nvPr/>
            </p:nvSpPr>
            <p:spPr bwMode="auto">
              <a:xfrm>
                <a:off x="2647976" y="2227131"/>
                <a:ext cx="595289" cy="310965"/>
              </a:xfrm>
              <a:prstGeom prst="rect">
                <a:avLst/>
              </a:prstGeom>
              <a:noFill/>
              <a:ln w="9525">
                <a:noFill/>
                <a:miter lim="800000"/>
                <a:headEnd/>
                <a:tailEnd/>
              </a:ln>
            </p:spPr>
            <p:txBody>
              <a:bodyPr wrap="none" anchor="ctr"/>
              <a:lstStyle/>
              <a:p>
                <a:pPr algn="ctr" fontAlgn="base">
                  <a:spcBef>
                    <a:spcPct val="0"/>
                  </a:spcBef>
                  <a:spcAft>
                    <a:spcPct val="0"/>
                  </a:spcAft>
                  <a:defRPr/>
                </a:pPr>
                <a:endParaRPr lang="en-US" altLang="ko-KR" sz="3200" i="1" dirty="0">
                  <a:solidFill>
                    <a:srgbClr val="1C1C1C"/>
                  </a:solidFill>
                  <a:effectLst>
                    <a:outerShdw blurRad="38100" dist="38100" dir="2700000" algn="tl">
                      <a:srgbClr val="000000">
                        <a:alpha val="43137"/>
                      </a:srgbClr>
                    </a:outerShdw>
                  </a:effectLst>
                  <a:latin typeface="黑体" pitchFamily="49" charset="-122"/>
                  <a:ea typeface="Gulim" pitchFamily="34" charset="-127"/>
                </a:endParaRPr>
              </a:p>
            </p:txBody>
          </p:sp>
        </p:grpSp>
      </p:grpSp>
      <p:grpSp>
        <p:nvGrpSpPr>
          <p:cNvPr id="6" name="组合 43"/>
          <p:cNvGrpSpPr>
            <a:grpSpLocks/>
          </p:cNvGrpSpPr>
          <p:nvPr/>
        </p:nvGrpSpPr>
        <p:grpSpPr bwMode="auto">
          <a:xfrm>
            <a:off x="527050" y="3868738"/>
            <a:ext cx="2749550" cy="1144587"/>
            <a:chOff x="251474" y="3862369"/>
            <a:chExt cx="2748890" cy="1144588"/>
          </a:xfrm>
        </p:grpSpPr>
        <p:sp>
          <p:nvSpPr>
            <p:cNvPr id="114729" name="Freeform 45"/>
            <p:cNvSpPr>
              <a:spLocks/>
            </p:cNvSpPr>
            <p:nvPr/>
          </p:nvSpPr>
          <p:spPr bwMode="auto">
            <a:xfrm>
              <a:off x="251474" y="4589445"/>
              <a:ext cx="2177527" cy="417512"/>
            </a:xfrm>
            <a:custGeom>
              <a:avLst/>
              <a:gdLst>
                <a:gd name="T0" fmla="*/ 2147483647 w 1038"/>
                <a:gd name="T1" fmla="*/ 0 h 263"/>
                <a:gd name="T2" fmla="*/ 2147483647 w 1038"/>
                <a:gd name="T3" fmla="*/ 2147483647 h 263"/>
                <a:gd name="T4" fmla="*/ 0 w 1038"/>
                <a:gd name="T5" fmla="*/ 2147483647 h 263"/>
                <a:gd name="T6" fmla="*/ 0 60000 65536"/>
                <a:gd name="T7" fmla="*/ 0 60000 65536"/>
                <a:gd name="T8" fmla="*/ 0 60000 65536"/>
                <a:gd name="T9" fmla="*/ 0 w 1038"/>
                <a:gd name="T10" fmla="*/ 0 h 263"/>
                <a:gd name="T11" fmla="*/ 1038 w 1038"/>
                <a:gd name="T12" fmla="*/ 263 h 263"/>
              </a:gdLst>
              <a:ahLst/>
              <a:cxnLst>
                <a:cxn ang="T6">
                  <a:pos x="T0" y="T1"/>
                </a:cxn>
                <a:cxn ang="T7">
                  <a:pos x="T2" y="T3"/>
                </a:cxn>
                <a:cxn ang="T8">
                  <a:pos x="T4" y="T5"/>
                </a:cxn>
              </a:cxnLst>
              <a:rect l="T9" t="T10" r="T11" b="T12"/>
              <a:pathLst>
                <a:path w="1038" h="263">
                  <a:moveTo>
                    <a:pt x="1038" y="0"/>
                  </a:moveTo>
                  <a:lnTo>
                    <a:pt x="847" y="260"/>
                  </a:lnTo>
                  <a:lnTo>
                    <a:pt x="0" y="263"/>
                  </a:lnTo>
                </a:path>
              </a:pathLst>
            </a:custGeom>
            <a:noFill/>
            <a:ln w="19050">
              <a:solidFill>
                <a:srgbClr val="000099"/>
              </a:solidFill>
              <a:round/>
              <a:headEnd/>
              <a:tailEnd/>
            </a:ln>
          </p:spPr>
          <p:txBody>
            <a:bodyPr wrap="none" anchor="ctr"/>
            <a:lstStyle/>
            <a:p>
              <a:pPr fontAlgn="base">
                <a:spcBef>
                  <a:spcPct val="0"/>
                </a:spcBef>
                <a:spcAft>
                  <a:spcPct val="0"/>
                </a:spcAft>
                <a:defRPr/>
              </a:pPr>
              <a:endParaRPr lang="zh-CN" altLang="en-US" dirty="0">
                <a:solidFill>
                  <a:srgbClr val="1C1C1C"/>
                </a:solidFill>
                <a:effectLst>
                  <a:outerShdw blurRad="38100" dist="38100" dir="2700000" algn="tl">
                    <a:srgbClr val="000000">
                      <a:alpha val="43137"/>
                    </a:srgbClr>
                  </a:outerShdw>
                </a:effectLst>
                <a:latin typeface="黑体" pitchFamily="49" charset="-122"/>
                <a:ea typeface="宋体" pitchFamily="2" charset="-122"/>
              </a:endParaRPr>
            </a:p>
          </p:txBody>
        </p:sp>
        <p:grpSp>
          <p:nvGrpSpPr>
            <p:cNvPr id="8" name="组合 36"/>
            <p:cNvGrpSpPr>
              <a:grpSpLocks/>
            </p:cNvGrpSpPr>
            <p:nvPr/>
          </p:nvGrpSpPr>
          <p:grpSpPr bwMode="auto">
            <a:xfrm>
              <a:off x="2149463" y="3862369"/>
              <a:ext cx="850901" cy="823913"/>
              <a:chOff x="2149463" y="3862369"/>
              <a:chExt cx="850901" cy="823913"/>
            </a:xfrm>
          </p:grpSpPr>
          <p:sp>
            <p:nvSpPr>
              <p:cNvPr id="114731" name="Oval 20"/>
              <p:cNvSpPr>
                <a:spLocks noChangeArrowheads="1"/>
              </p:cNvSpPr>
              <p:nvPr/>
            </p:nvSpPr>
            <p:spPr bwMode="auto">
              <a:xfrm>
                <a:off x="2176649" y="3862369"/>
                <a:ext cx="823715" cy="823913"/>
              </a:xfrm>
              <a:prstGeom prst="ellipse">
                <a:avLst/>
              </a:prstGeom>
              <a:solidFill>
                <a:srgbClr val="FFCC00"/>
              </a:solidFill>
              <a:ln w="9525">
                <a:noFill/>
                <a:round/>
                <a:headEnd/>
                <a:tailEnd/>
              </a:ln>
            </p:spPr>
            <p:txBody>
              <a:bodyPr wrap="none" anchor="ctr"/>
              <a:lstStyle/>
              <a:p>
                <a:pPr algn="ctr" fontAlgn="base">
                  <a:spcBef>
                    <a:spcPct val="0"/>
                  </a:spcBef>
                  <a:spcAft>
                    <a:spcPct val="0"/>
                  </a:spcAft>
                  <a:defRPr/>
                </a:pPr>
                <a:endParaRPr lang="zh-CN" altLang="zh-CN" sz="3200" b="1" i="1" dirty="0">
                  <a:solidFill>
                    <a:srgbClr val="CC6600"/>
                  </a:solidFill>
                  <a:effectLst>
                    <a:outerShdw blurRad="38100" dist="38100" dir="2700000" algn="tl">
                      <a:srgbClr val="000000">
                        <a:alpha val="43137"/>
                      </a:srgbClr>
                    </a:outerShdw>
                  </a:effectLst>
                  <a:latin typeface="黑体" pitchFamily="49" charset="-122"/>
                  <a:ea typeface="宋体" pitchFamily="2" charset="-122"/>
                </a:endParaRPr>
              </a:p>
            </p:txBody>
          </p:sp>
          <p:sp>
            <p:nvSpPr>
              <p:cNvPr id="114732" name="Oval 21"/>
              <p:cNvSpPr>
                <a:spLocks noChangeArrowheads="1"/>
              </p:cNvSpPr>
              <p:nvPr/>
            </p:nvSpPr>
            <p:spPr bwMode="auto">
              <a:xfrm>
                <a:off x="2214740" y="3878244"/>
                <a:ext cx="633260" cy="469901"/>
              </a:xfrm>
              <a:prstGeom prst="ellipse">
                <a:avLst/>
              </a:prstGeom>
              <a:gradFill rotWithShape="0">
                <a:gsLst>
                  <a:gs pos="0">
                    <a:schemeClr val="bg1"/>
                  </a:gs>
                  <a:gs pos="100000">
                    <a:srgbClr val="FFCC00"/>
                  </a:gs>
                </a:gsLst>
                <a:lin ang="5400000" scaled="1"/>
              </a:gradFill>
              <a:ln w="9525">
                <a:noFill/>
                <a:round/>
                <a:headEnd/>
                <a:tailEnd/>
              </a:ln>
            </p:spPr>
            <p:txBody>
              <a:bodyPr wrap="none" anchor="ctr"/>
              <a:lstStyle/>
              <a:p>
                <a:pPr fontAlgn="base">
                  <a:spcBef>
                    <a:spcPct val="0"/>
                  </a:spcBef>
                  <a:spcAft>
                    <a:spcPct val="0"/>
                  </a:spcAft>
                  <a:defRPr/>
                </a:pPr>
                <a:endParaRPr lang="zh-CN" altLang="zh-CN" dirty="0">
                  <a:solidFill>
                    <a:srgbClr val="1C1C1C"/>
                  </a:solidFill>
                  <a:effectLst>
                    <a:outerShdw blurRad="38100" dist="38100" dir="2700000" algn="tl">
                      <a:srgbClr val="000000">
                        <a:alpha val="43137"/>
                      </a:srgbClr>
                    </a:outerShdw>
                  </a:effectLst>
                  <a:latin typeface="黑体" pitchFamily="49" charset="-122"/>
                  <a:ea typeface="宋体" pitchFamily="2" charset="-122"/>
                </a:endParaRPr>
              </a:p>
            </p:txBody>
          </p:sp>
          <p:sp>
            <p:nvSpPr>
              <p:cNvPr id="114733" name="Rectangle 53"/>
              <p:cNvSpPr>
                <a:spLocks noChangeArrowheads="1"/>
              </p:cNvSpPr>
              <p:nvPr/>
            </p:nvSpPr>
            <p:spPr bwMode="auto">
              <a:xfrm>
                <a:off x="2149668" y="4089381"/>
                <a:ext cx="707855" cy="369888"/>
              </a:xfrm>
              <a:prstGeom prst="rect">
                <a:avLst/>
              </a:prstGeom>
              <a:noFill/>
              <a:ln w="9525">
                <a:noFill/>
                <a:miter lim="800000"/>
                <a:headEnd/>
                <a:tailEnd/>
              </a:ln>
            </p:spPr>
            <p:txBody>
              <a:bodyPr wrap="none" anchor="ctr"/>
              <a:lstStyle/>
              <a:p>
                <a:pPr algn="ctr" fontAlgn="base">
                  <a:spcBef>
                    <a:spcPct val="0"/>
                  </a:spcBef>
                  <a:spcAft>
                    <a:spcPct val="0"/>
                  </a:spcAft>
                  <a:defRPr/>
                </a:pPr>
                <a:endParaRPr lang="en-US" altLang="ko-KR" sz="3200" i="1" dirty="0">
                  <a:solidFill>
                    <a:srgbClr val="1C1C1C"/>
                  </a:solidFill>
                  <a:effectLst>
                    <a:outerShdw blurRad="38100" dist="38100" dir="2700000" algn="tl">
                      <a:srgbClr val="000000">
                        <a:alpha val="43137"/>
                      </a:srgbClr>
                    </a:outerShdw>
                  </a:effectLst>
                  <a:latin typeface="黑体" pitchFamily="49" charset="-122"/>
                  <a:ea typeface="Gulim" pitchFamily="34" charset="-127"/>
                </a:endParaRPr>
              </a:p>
            </p:txBody>
          </p:sp>
        </p:grpSp>
      </p:grpSp>
      <p:grpSp>
        <p:nvGrpSpPr>
          <p:cNvPr id="9" name="组合 44"/>
          <p:cNvGrpSpPr>
            <a:grpSpLocks/>
          </p:cNvGrpSpPr>
          <p:nvPr/>
        </p:nvGrpSpPr>
        <p:grpSpPr bwMode="auto">
          <a:xfrm>
            <a:off x="4211638" y="4076700"/>
            <a:ext cx="3343275" cy="1076325"/>
            <a:chOff x="4371975" y="4210032"/>
            <a:chExt cx="3343297" cy="1076356"/>
          </a:xfrm>
        </p:grpSpPr>
        <p:sp>
          <p:nvSpPr>
            <p:cNvPr id="114724" name="Freeform 43"/>
            <p:cNvSpPr>
              <a:spLocks/>
            </p:cNvSpPr>
            <p:nvPr/>
          </p:nvSpPr>
          <p:spPr bwMode="auto">
            <a:xfrm>
              <a:off x="5213356" y="4884739"/>
              <a:ext cx="2501916" cy="401649"/>
            </a:xfrm>
            <a:custGeom>
              <a:avLst/>
              <a:gdLst>
                <a:gd name="T0" fmla="*/ 0 w 1126"/>
                <a:gd name="T1" fmla="*/ 0 h 253"/>
                <a:gd name="T2" fmla="*/ 2147483647 w 1126"/>
                <a:gd name="T3" fmla="*/ 2147483647 h 253"/>
                <a:gd name="T4" fmla="*/ 2147483647 w 1126"/>
                <a:gd name="T5" fmla="*/ 2147483647 h 253"/>
                <a:gd name="T6" fmla="*/ 0 60000 65536"/>
                <a:gd name="T7" fmla="*/ 0 60000 65536"/>
                <a:gd name="T8" fmla="*/ 0 60000 65536"/>
                <a:gd name="T9" fmla="*/ 0 w 1126"/>
                <a:gd name="T10" fmla="*/ 0 h 253"/>
                <a:gd name="T11" fmla="*/ 1126 w 1126"/>
                <a:gd name="T12" fmla="*/ 253 h 253"/>
              </a:gdLst>
              <a:ahLst/>
              <a:cxnLst>
                <a:cxn ang="T6">
                  <a:pos x="T0" y="T1"/>
                </a:cxn>
                <a:cxn ang="T7">
                  <a:pos x="T2" y="T3"/>
                </a:cxn>
                <a:cxn ang="T8">
                  <a:pos x="T4" y="T5"/>
                </a:cxn>
              </a:cxnLst>
              <a:rect l="T9" t="T10" r="T11" b="T12"/>
              <a:pathLst>
                <a:path w="1126" h="253">
                  <a:moveTo>
                    <a:pt x="0" y="0"/>
                  </a:moveTo>
                  <a:lnTo>
                    <a:pt x="205" y="249"/>
                  </a:lnTo>
                  <a:lnTo>
                    <a:pt x="1126" y="253"/>
                  </a:lnTo>
                </a:path>
              </a:pathLst>
            </a:custGeom>
            <a:noFill/>
            <a:ln w="19050">
              <a:solidFill>
                <a:srgbClr val="000099"/>
              </a:solidFill>
              <a:round/>
              <a:headEnd/>
              <a:tailEnd/>
            </a:ln>
          </p:spPr>
          <p:txBody>
            <a:bodyPr wrap="none" anchor="ctr"/>
            <a:lstStyle/>
            <a:p>
              <a:pPr fontAlgn="base">
                <a:spcBef>
                  <a:spcPct val="0"/>
                </a:spcBef>
                <a:spcAft>
                  <a:spcPct val="0"/>
                </a:spcAft>
                <a:defRPr/>
              </a:pPr>
              <a:endParaRPr lang="zh-CN" altLang="en-US" dirty="0">
                <a:solidFill>
                  <a:srgbClr val="1C1C1C"/>
                </a:solidFill>
                <a:effectLst>
                  <a:outerShdw blurRad="38100" dist="38100" dir="2700000" algn="tl">
                    <a:srgbClr val="000000">
                      <a:alpha val="43137"/>
                    </a:srgbClr>
                  </a:outerShdw>
                </a:effectLst>
                <a:latin typeface="黑体" pitchFamily="49" charset="-122"/>
                <a:ea typeface="宋体" pitchFamily="2" charset="-122"/>
              </a:endParaRPr>
            </a:p>
          </p:txBody>
        </p:sp>
        <p:grpSp>
          <p:nvGrpSpPr>
            <p:cNvPr id="10" name="组合 37"/>
            <p:cNvGrpSpPr>
              <a:grpSpLocks/>
            </p:cNvGrpSpPr>
            <p:nvPr/>
          </p:nvGrpSpPr>
          <p:grpSpPr bwMode="auto">
            <a:xfrm>
              <a:off x="4371975" y="4210032"/>
              <a:ext cx="936625" cy="936625"/>
              <a:chOff x="4371975" y="4210032"/>
              <a:chExt cx="936625" cy="936625"/>
            </a:xfrm>
          </p:grpSpPr>
          <p:sp>
            <p:nvSpPr>
              <p:cNvPr id="114726" name="Oval 22"/>
              <p:cNvSpPr>
                <a:spLocks noChangeArrowheads="1"/>
              </p:cNvSpPr>
              <p:nvPr/>
            </p:nvSpPr>
            <p:spPr bwMode="auto">
              <a:xfrm>
                <a:off x="4371975" y="4210032"/>
                <a:ext cx="936631" cy="936652"/>
              </a:xfrm>
              <a:prstGeom prst="ellipse">
                <a:avLst/>
              </a:prstGeom>
              <a:solidFill>
                <a:srgbClr val="FFCC00"/>
              </a:solidFill>
              <a:ln w="9525">
                <a:noFill/>
                <a:round/>
                <a:headEnd/>
                <a:tailEnd/>
              </a:ln>
            </p:spPr>
            <p:txBody>
              <a:bodyPr wrap="none" anchor="ctr"/>
              <a:lstStyle/>
              <a:p>
                <a:pPr algn="ctr" fontAlgn="base">
                  <a:spcBef>
                    <a:spcPct val="0"/>
                  </a:spcBef>
                  <a:spcAft>
                    <a:spcPct val="0"/>
                  </a:spcAft>
                  <a:defRPr/>
                </a:pPr>
                <a:endParaRPr lang="zh-CN" altLang="zh-CN" sz="3200" b="1" i="1" dirty="0">
                  <a:solidFill>
                    <a:srgbClr val="CC6600"/>
                  </a:solidFill>
                  <a:effectLst>
                    <a:outerShdw blurRad="38100" dist="38100" dir="2700000" algn="tl">
                      <a:srgbClr val="000000">
                        <a:alpha val="43137"/>
                      </a:srgbClr>
                    </a:outerShdw>
                  </a:effectLst>
                  <a:latin typeface="黑体" pitchFamily="49" charset="-122"/>
                  <a:ea typeface="宋体" pitchFamily="2" charset="-122"/>
                </a:endParaRPr>
              </a:p>
            </p:txBody>
          </p:sp>
          <p:sp>
            <p:nvSpPr>
              <p:cNvPr id="114727" name="Oval 23"/>
              <p:cNvSpPr>
                <a:spLocks noChangeArrowheads="1"/>
              </p:cNvSpPr>
              <p:nvPr/>
            </p:nvSpPr>
            <p:spPr bwMode="auto">
              <a:xfrm>
                <a:off x="4479926" y="4227496"/>
                <a:ext cx="720730" cy="535002"/>
              </a:xfrm>
              <a:prstGeom prst="ellipse">
                <a:avLst/>
              </a:prstGeom>
              <a:gradFill rotWithShape="0">
                <a:gsLst>
                  <a:gs pos="0">
                    <a:schemeClr val="bg1"/>
                  </a:gs>
                  <a:gs pos="100000">
                    <a:srgbClr val="FFCC00"/>
                  </a:gs>
                </a:gsLst>
                <a:lin ang="5400000" scaled="1"/>
              </a:gradFill>
              <a:ln w="9525">
                <a:noFill/>
                <a:round/>
                <a:headEnd/>
                <a:tailEnd/>
              </a:ln>
            </p:spPr>
            <p:txBody>
              <a:bodyPr wrap="none" anchor="ctr"/>
              <a:lstStyle/>
              <a:p>
                <a:pPr fontAlgn="base">
                  <a:spcBef>
                    <a:spcPct val="0"/>
                  </a:spcBef>
                  <a:spcAft>
                    <a:spcPct val="0"/>
                  </a:spcAft>
                  <a:defRPr/>
                </a:pPr>
                <a:endParaRPr lang="zh-CN" altLang="zh-CN" dirty="0">
                  <a:solidFill>
                    <a:srgbClr val="1C1C1C"/>
                  </a:solidFill>
                  <a:effectLst>
                    <a:outerShdw blurRad="38100" dist="38100" dir="2700000" algn="tl">
                      <a:srgbClr val="000000">
                        <a:alpha val="43137"/>
                      </a:srgbClr>
                    </a:outerShdw>
                  </a:effectLst>
                  <a:latin typeface="黑体" pitchFamily="49" charset="-122"/>
                  <a:ea typeface="宋体" pitchFamily="2" charset="-122"/>
                </a:endParaRPr>
              </a:p>
            </p:txBody>
          </p:sp>
          <p:sp>
            <p:nvSpPr>
              <p:cNvPr id="114728" name="Rectangle 54"/>
              <p:cNvSpPr>
                <a:spLocks noChangeArrowheads="1"/>
              </p:cNvSpPr>
              <p:nvPr/>
            </p:nvSpPr>
            <p:spPr bwMode="auto">
              <a:xfrm>
                <a:off x="4440237" y="4467214"/>
                <a:ext cx="806455" cy="422287"/>
              </a:xfrm>
              <a:prstGeom prst="rect">
                <a:avLst/>
              </a:prstGeom>
              <a:noFill/>
              <a:ln w="9525">
                <a:noFill/>
                <a:miter lim="800000"/>
                <a:headEnd/>
                <a:tailEnd/>
              </a:ln>
            </p:spPr>
            <p:txBody>
              <a:bodyPr wrap="none" anchor="ctr"/>
              <a:lstStyle/>
              <a:p>
                <a:pPr algn="ctr" fontAlgn="base">
                  <a:spcBef>
                    <a:spcPct val="0"/>
                  </a:spcBef>
                  <a:spcAft>
                    <a:spcPct val="0"/>
                  </a:spcAft>
                  <a:defRPr/>
                </a:pPr>
                <a:endParaRPr lang="en-US" altLang="ko-KR" sz="3200" i="1" dirty="0">
                  <a:solidFill>
                    <a:srgbClr val="1C1C1C"/>
                  </a:solidFill>
                  <a:effectLst>
                    <a:outerShdw blurRad="38100" dist="38100" dir="2700000" algn="tl">
                      <a:srgbClr val="000000">
                        <a:alpha val="43137"/>
                      </a:srgbClr>
                    </a:outerShdw>
                  </a:effectLst>
                  <a:latin typeface="黑体" pitchFamily="49" charset="-122"/>
                  <a:ea typeface="Gulim" pitchFamily="34" charset="-127"/>
                </a:endParaRPr>
              </a:p>
            </p:txBody>
          </p:sp>
        </p:grpSp>
      </p:grpSp>
      <p:grpSp>
        <p:nvGrpSpPr>
          <p:cNvPr id="12" name="组合 45"/>
          <p:cNvGrpSpPr>
            <a:grpSpLocks/>
          </p:cNvGrpSpPr>
          <p:nvPr/>
        </p:nvGrpSpPr>
        <p:grpSpPr bwMode="auto">
          <a:xfrm>
            <a:off x="6156325" y="3246438"/>
            <a:ext cx="2760663" cy="1046162"/>
            <a:chOff x="6454775" y="3097194"/>
            <a:chExt cx="2760694" cy="1046186"/>
          </a:xfrm>
        </p:grpSpPr>
        <p:sp>
          <p:nvSpPr>
            <p:cNvPr id="114719" name="Freeform 47"/>
            <p:cNvSpPr>
              <a:spLocks/>
            </p:cNvSpPr>
            <p:nvPr/>
          </p:nvSpPr>
          <p:spPr bwMode="auto">
            <a:xfrm>
              <a:off x="7065970" y="3768721"/>
              <a:ext cx="2149499" cy="374659"/>
            </a:xfrm>
            <a:custGeom>
              <a:avLst/>
              <a:gdLst>
                <a:gd name="T0" fmla="*/ 0 w 1015"/>
                <a:gd name="T1" fmla="*/ 0 h 236"/>
                <a:gd name="T2" fmla="*/ 2147483647 w 1015"/>
                <a:gd name="T3" fmla="*/ 2147483647 h 236"/>
                <a:gd name="T4" fmla="*/ 2147483647 w 1015"/>
                <a:gd name="T5" fmla="*/ 2147483647 h 236"/>
                <a:gd name="T6" fmla="*/ 0 60000 65536"/>
                <a:gd name="T7" fmla="*/ 0 60000 65536"/>
                <a:gd name="T8" fmla="*/ 0 60000 65536"/>
                <a:gd name="T9" fmla="*/ 0 w 1015"/>
                <a:gd name="T10" fmla="*/ 0 h 236"/>
                <a:gd name="T11" fmla="*/ 1015 w 1015"/>
                <a:gd name="T12" fmla="*/ 236 h 236"/>
              </a:gdLst>
              <a:ahLst/>
              <a:cxnLst>
                <a:cxn ang="T6">
                  <a:pos x="T0" y="T1"/>
                </a:cxn>
                <a:cxn ang="T7">
                  <a:pos x="T2" y="T3"/>
                </a:cxn>
                <a:cxn ang="T8">
                  <a:pos x="T4" y="T5"/>
                </a:cxn>
              </a:cxnLst>
              <a:rect l="T9" t="T10" r="T11" b="T12"/>
              <a:pathLst>
                <a:path w="1015" h="236">
                  <a:moveTo>
                    <a:pt x="0" y="0"/>
                  </a:moveTo>
                  <a:lnTo>
                    <a:pt x="184" y="233"/>
                  </a:lnTo>
                  <a:lnTo>
                    <a:pt x="1015" y="236"/>
                  </a:lnTo>
                </a:path>
              </a:pathLst>
            </a:custGeom>
            <a:noFill/>
            <a:ln w="19050">
              <a:solidFill>
                <a:srgbClr val="000099"/>
              </a:solidFill>
              <a:round/>
              <a:headEnd/>
              <a:tailEnd/>
            </a:ln>
          </p:spPr>
          <p:txBody>
            <a:bodyPr wrap="none" anchor="ctr"/>
            <a:lstStyle/>
            <a:p>
              <a:pPr fontAlgn="base">
                <a:spcBef>
                  <a:spcPct val="0"/>
                </a:spcBef>
                <a:spcAft>
                  <a:spcPct val="0"/>
                </a:spcAft>
                <a:defRPr/>
              </a:pPr>
              <a:endParaRPr lang="zh-CN" altLang="en-US" dirty="0">
                <a:solidFill>
                  <a:srgbClr val="1C1C1C"/>
                </a:solidFill>
                <a:effectLst>
                  <a:outerShdw blurRad="38100" dist="38100" dir="2700000" algn="tl">
                    <a:srgbClr val="000000">
                      <a:alpha val="43137"/>
                    </a:srgbClr>
                  </a:outerShdw>
                </a:effectLst>
                <a:latin typeface="黑体" pitchFamily="49" charset="-122"/>
                <a:ea typeface="宋体" pitchFamily="2" charset="-122"/>
              </a:endParaRPr>
            </a:p>
          </p:txBody>
        </p:sp>
        <p:grpSp>
          <p:nvGrpSpPr>
            <p:cNvPr id="13" name="组合 38"/>
            <p:cNvGrpSpPr>
              <a:grpSpLocks/>
            </p:cNvGrpSpPr>
            <p:nvPr/>
          </p:nvGrpSpPr>
          <p:grpSpPr bwMode="auto">
            <a:xfrm>
              <a:off x="6454775" y="3097194"/>
              <a:ext cx="863600" cy="863600"/>
              <a:chOff x="6454775" y="3097194"/>
              <a:chExt cx="863600" cy="863600"/>
            </a:xfrm>
          </p:grpSpPr>
          <p:sp>
            <p:nvSpPr>
              <p:cNvPr id="114721" name="Oval 24"/>
              <p:cNvSpPr>
                <a:spLocks noChangeArrowheads="1"/>
              </p:cNvSpPr>
              <p:nvPr/>
            </p:nvSpPr>
            <p:spPr bwMode="auto">
              <a:xfrm>
                <a:off x="6454775" y="3097194"/>
                <a:ext cx="863610" cy="863620"/>
              </a:xfrm>
              <a:prstGeom prst="ellipse">
                <a:avLst/>
              </a:prstGeom>
              <a:solidFill>
                <a:srgbClr val="FFCC00"/>
              </a:solidFill>
              <a:ln w="9525">
                <a:noFill/>
                <a:round/>
                <a:headEnd/>
                <a:tailEnd/>
              </a:ln>
            </p:spPr>
            <p:txBody>
              <a:bodyPr wrap="none" anchor="ctr"/>
              <a:lstStyle/>
              <a:p>
                <a:pPr algn="ctr" fontAlgn="base">
                  <a:spcBef>
                    <a:spcPct val="0"/>
                  </a:spcBef>
                  <a:spcAft>
                    <a:spcPct val="0"/>
                  </a:spcAft>
                  <a:defRPr/>
                </a:pPr>
                <a:endParaRPr lang="zh-CN" altLang="zh-CN" sz="3200" b="1" i="1" dirty="0">
                  <a:solidFill>
                    <a:srgbClr val="CC6600"/>
                  </a:solidFill>
                  <a:effectLst>
                    <a:outerShdw blurRad="38100" dist="38100" dir="2700000" algn="tl">
                      <a:srgbClr val="000000">
                        <a:alpha val="43137"/>
                      </a:srgbClr>
                    </a:outerShdw>
                  </a:effectLst>
                  <a:latin typeface="黑体" pitchFamily="49" charset="-122"/>
                  <a:ea typeface="宋体" pitchFamily="2" charset="-122"/>
                </a:endParaRPr>
              </a:p>
            </p:txBody>
          </p:sp>
          <p:sp>
            <p:nvSpPr>
              <p:cNvPr id="114722" name="Oval 25"/>
              <p:cNvSpPr>
                <a:spLocks noChangeArrowheads="1"/>
              </p:cNvSpPr>
              <p:nvPr/>
            </p:nvSpPr>
            <p:spPr bwMode="auto">
              <a:xfrm>
                <a:off x="6553201" y="3113069"/>
                <a:ext cx="666758" cy="493723"/>
              </a:xfrm>
              <a:prstGeom prst="ellipse">
                <a:avLst/>
              </a:prstGeom>
              <a:gradFill rotWithShape="0">
                <a:gsLst>
                  <a:gs pos="0">
                    <a:schemeClr val="bg1"/>
                  </a:gs>
                  <a:gs pos="100000">
                    <a:srgbClr val="FFCC00"/>
                  </a:gs>
                </a:gsLst>
                <a:lin ang="5400000" scaled="1"/>
              </a:gradFill>
              <a:ln w="9525">
                <a:noFill/>
                <a:round/>
                <a:headEnd/>
                <a:tailEnd/>
              </a:ln>
            </p:spPr>
            <p:txBody>
              <a:bodyPr wrap="none" anchor="ctr"/>
              <a:lstStyle/>
              <a:p>
                <a:pPr fontAlgn="base">
                  <a:spcBef>
                    <a:spcPct val="0"/>
                  </a:spcBef>
                  <a:spcAft>
                    <a:spcPct val="0"/>
                  </a:spcAft>
                  <a:defRPr/>
                </a:pPr>
                <a:endParaRPr lang="zh-CN" altLang="zh-CN" dirty="0">
                  <a:solidFill>
                    <a:srgbClr val="1C1C1C"/>
                  </a:solidFill>
                  <a:effectLst>
                    <a:outerShdw blurRad="38100" dist="38100" dir="2700000" algn="tl">
                      <a:srgbClr val="000000">
                        <a:alpha val="43137"/>
                      </a:srgbClr>
                    </a:outerShdw>
                  </a:effectLst>
                  <a:latin typeface="黑体" pitchFamily="49" charset="-122"/>
                  <a:ea typeface="宋体" pitchFamily="2" charset="-122"/>
                </a:endParaRPr>
              </a:p>
            </p:txBody>
          </p:sp>
          <p:sp>
            <p:nvSpPr>
              <p:cNvPr id="114723" name="Rectangle 55"/>
              <p:cNvSpPr>
                <a:spLocks noChangeArrowheads="1"/>
              </p:cNvSpPr>
              <p:nvPr/>
            </p:nvSpPr>
            <p:spPr bwMode="auto">
              <a:xfrm>
                <a:off x="6521451" y="3327386"/>
                <a:ext cx="742959" cy="387359"/>
              </a:xfrm>
              <a:prstGeom prst="rect">
                <a:avLst/>
              </a:prstGeom>
              <a:noFill/>
              <a:ln w="9525">
                <a:noFill/>
                <a:miter lim="800000"/>
                <a:headEnd/>
                <a:tailEnd/>
              </a:ln>
            </p:spPr>
            <p:txBody>
              <a:bodyPr wrap="none" anchor="ctr"/>
              <a:lstStyle/>
              <a:p>
                <a:pPr algn="ctr" fontAlgn="base">
                  <a:spcBef>
                    <a:spcPct val="0"/>
                  </a:spcBef>
                  <a:spcAft>
                    <a:spcPct val="0"/>
                  </a:spcAft>
                  <a:defRPr/>
                </a:pPr>
                <a:endParaRPr lang="en-US" altLang="ko-KR" sz="3200" i="1" dirty="0">
                  <a:solidFill>
                    <a:srgbClr val="1C1C1C"/>
                  </a:solidFill>
                  <a:effectLst>
                    <a:outerShdw blurRad="38100" dist="38100" dir="2700000" algn="tl">
                      <a:srgbClr val="000000">
                        <a:alpha val="43137"/>
                      </a:srgbClr>
                    </a:outerShdw>
                  </a:effectLst>
                  <a:latin typeface="黑体" pitchFamily="49" charset="-122"/>
                  <a:ea typeface="Gulim" pitchFamily="34" charset="-127"/>
                </a:endParaRPr>
              </a:p>
            </p:txBody>
          </p:sp>
        </p:grpSp>
      </p:grpSp>
      <p:grpSp>
        <p:nvGrpSpPr>
          <p:cNvPr id="14" name="组合 46"/>
          <p:cNvGrpSpPr>
            <a:grpSpLocks/>
          </p:cNvGrpSpPr>
          <p:nvPr/>
        </p:nvGrpSpPr>
        <p:grpSpPr bwMode="auto">
          <a:xfrm>
            <a:off x="6329363" y="1773238"/>
            <a:ext cx="2419350" cy="692150"/>
            <a:chOff x="5815013" y="1490644"/>
            <a:chExt cx="2418973" cy="692151"/>
          </a:xfrm>
        </p:grpSpPr>
        <p:sp>
          <p:nvSpPr>
            <p:cNvPr id="114714" name="Freeform 49"/>
            <p:cNvSpPr>
              <a:spLocks/>
            </p:cNvSpPr>
            <p:nvPr/>
          </p:nvSpPr>
          <p:spPr bwMode="auto">
            <a:xfrm>
              <a:off x="6459438" y="2000232"/>
              <a:ext cx="1774548" cy="182563"/>
            </a:xfrm>
            <a:custGeom>
              <a:avLst/>
              <a:gdLst>
                <a:gd name="T0" fmla="*/ 0 w 1225"/>
                <a:gd name="T1" fmla="*/ 0 h 161"/>
                <a:gd name="T2" fmla="*/ 2147483647 w 1225"/>
                <a:gd name="T3" fmla="*/ 2147483647 h 161"/>
                <a:gd name="T4" fmla="*/ 2147483647 w 1225"/>
                <a:gd name="T5" fmla="*/ 2147483647 h 161"/>
                <a:gd name="T6" fmla="*/ 0 60000 65536"/>
                <a:gd name="T7" fmla="*/ 0 60000 65536"/>
                <a:gd name="T8" fmla="*/ 0 60000 65536"/>
                <a:gd name="T9" fmla="*/ 0 w 1225"/>
                <a:gd name="T10" fmla="*/ 0 h 161"/>
                <a:gd name="T11" fmla="*/ 1225 w 1225"/>
                <a:gd name="T12" fmla="*/ 161 h 161"/>
              </a:gdLst>
              <a:ahLst/>
              <a:cxnLst>
                <a:cxn ang="T6">
                  <a:pos x="T0" y="T1"/>
                </a:cxn>
                <a:cxn ang="T7">
                  <a:pos x="T2" y="T3"/>
                </a:cxn>
                <a:cxn ang="T8">
                  <a:pos x="T4" y="T5"/>
                </a:cxn>
              </a:cxnLst>
              <a:rect l="T9" t="T10" r="T11" b="T12"/>
              <a:pathLst>
                <a:path w="1225" h="161">
                  <a:moveTo>
                    <a:pt x="0" y="0"/>
                  </a:moveTo>
                  <a:lnTo>
                    <a:pt x="222" y="157"/>
                  </a:lnTo>
                  <a:lnTo>
                    <a:pt x="1225" y="161"/>
                  </a:lnTo>
                </a:path>
              </a:pathLst>
            </a:custGeom>
            <a:noFill/>
            <a:ln w="19050">
              <a:solidFill>
                <a:srgbClr val="000099"/>
              </a:solidFill>
              <a:round/>
              <a:headEnd/>
              <a:tailEnd/>
            </a:ln>
          </p:spPr>
          <p:txBody>
            <a:bodyPr wrap="none" anchor="ctr"/>
            <a:lstStyle/>
            <a:p>
              <a:pPr fontAlgn="base">
                <a:spcBef>
                  <a:spcPct val="0"/>
                </a:spcBef>
                <a:spcAft>
                  <a:spcPct val="0"/>
                </a:spcAft>
                <a:defRPr/>
              </a:pPr>
              <a:endParaRPr lang="zh-CN" altLang="en-US" dirty="0">
                <a:solidFill>
                  <a:srgbClr val="1C1C1C"/>
                </a:solidFill>
                <a:effectLst>
                  <a:outerShdw blurRad="38100" dist="38100" dir="2700000" algn="tl">
                    <a:srgbClr val="000000">
                      <a:alpha val="43137"/>
                    </a:srgbClr>
                  </a:outerShdw>
                </a:effectLst>
                <a:latin typeface="黑体" pitchFamily="49" charset="-122"/>
                <a:ea typeface="宋体" pitchFamily="2" charset="-122"/>
              </a:endParaRPr>
            </a:p>
          </p:txBody>
        </p:sp>
        <p:grpSp>
          <p:nvGrpSpPr>
            <p:cNvPr id="15" name="组合 40"/>
            <p:cNvGrpSpPr>
              <a:grpSpLocks/>
            </p:cNvGrpSpPr>
            <p:nvPr/>
          </p:nvGrpSpPr>
          <p:grpSpPr bwMode="auto">
            <a:xfrm>
              <a:off x="5815013" y="1490644"/>
              <a:ext cx="692150" cy="692150"/>
              <a:chOff x="5815013" y="1490644"/>
              <a:chExt cx="692150" cy="692150"/>
            </a:xfrm>
          </p:grpSpPr>
          <p:sp>
            <p:nvSpPr>
              <p:cNvPr id="114716" name="Oval 30"/>
              <p:cNvSpPr>
                <a:spLocks noChangeArrowheads="1"/>
              </p:cNvSpPr>
              <p:nvPr/>
            </p:nvSpPr>
            <p:spPr bwMode="auto">
              <a:xfrm>
                <a:off x="5815013" y="1490644"/>
                <a:ext cx="692042" cy="692151"/>
              </a:xfrm>
              <a:prstGeom prst="ellipse">
                <a:avLst/>
              </a:prstGeom>
              <a:solidFill>
                <a:srgbClr val="FFCC00"/>
              </a:solidFill>
              <a:ln w="9525">
                <a:noFill/>
                <a:round/>
                <a:headEnd/>
                <a:tailEnd/>
              </a:ln>
            </p:spPr>
            <p:txBody>
              <a:bodyPr wrap="none" anchor="ctr"/>
              <a:lstStyle/>
              <a:p>
                <a:pPr fontAlgn="base">
                  <a:spcBef>
                    <a:spcPct val="0"/>
                  </a:spcBef>
                  <a:spcAft>
                    <a:spcPct val="0"/>
                  </a:spcAft>
                  <a:defRPr/>
                </a:pPr>
                <a:endParaRPr lang="zh-CN" altLang="zh-CN" dirty="0">
                  <a:solidFill>
                    <a:srgbClr val="1C1C1C"/>
                  </a:solidFill>
                  <a:effectLst>
                    <a:outerShdw blurRad="38100" dist="38100" dir="2700000" algn="tl">
                      <a:srgbClr val="000000">
                        <a:alpha val="43137"/>
                      </a:srgbClr>
                    </a:outerShdw>
                  </a:effectLst>
                  <a:latin typeface="黑体" pitchFamily="49" charset="-122"/>
                  <a:ea typeface="宋体" pitchFamily="2" charset="-122"/>
                </a:endParaRPr>
              </a:p>
            </p:txBody>
          </p:sp>
          <p:sp>
            <p:nvSpPr>
              <p:cNvPr id="114717" name="Oval 31"/>
              <p:cNvSpPr>
                <a:spLocks noChangeArrowheads="1"/>
              </p:cNvSpPr>
              <p:nvPr/>
            </p:nvSpPr>
            <p:spPr bwMode="auto">
              <a:xfrm>
                <a:off x="5894376" y="1503344"/>
                <a:ext cx="533317" cy="395288"/>
              </a:xfrm>
              <a:prstGeom prst="ellipse">
                <a:avLst/>
              </a:prstGeom>
              <a:gradFill rotWithShape="0">
                <a:gsLst>
                  <a:gs pos="0">
                    <a:schemeClr val="bg1"/>
                  </a:gs>
                  <a:gs pos="100000">
                    <a:srgbClr val="FFCC00"/>
                  </a:gs>
                </a:gsLst>
                <a:lin ang="5400000" scaled="1"/>
              </a:gradFill>
              <a:ln w="9525">
                <a:noFill/>
                <a:round/>
                <a:headEnd/>
                <a:tailEnd/>
              </a:ln>
            </p:spPr>
            <p:txBody>
              <a:bodyPr wrap="none" anchor="ctr"/>
              <a:lstStyle/>
              <a:p>
                <a:pPr fontAlgn="base">
                  <a:spcBef>
                    <a:spcPct val="0"/>
                  </a:spcBef>
                  <a:spcAft>
                    <a:spcPct val="0"/>
                  </a:spcAft>
                  <a:defRPr/>
                </a:pPr>
                <a:endParaRPr lang="zh-CN" altLang="zh-CN" dirty="0">
                  <a:solidFill>
                    <a:srgbClr val="1C1C1C"/>
                  </a:solidFill>
                  <a:effectLst>
                    <a:outerShdw blurRad="38100" dist="38100" dir="2700000" algn="tl">
                      <a:srgbClr val="000000">
                        <a:alpha val="43137"/>
                      </a:srgbClr>
                    </a:outerShdw>
                  </a:effectLst>
                  <a:latin typeface="黑体" pitchFamily="49" charset="-122"/>
                  <a:ea typeface="宋体" pitchFamily="2" charset="-122"/>
                </a:endParaRPr>
              </a:p>
            </p:txBody>
          </p:sp>
          <p:sp>
            <p:nvSpPr>
              <p:cNvPr id="114718" name="Rectangle 56"/>
              <p:cNvSpPr>
                <a:spLocks noChangeArrowheads="1"/>
              </p:cNvSpPr>
              <p:nvPr/>
            </p:nvSpPr>
            <p:spPr bwMode="auto">
              <a:xfrm>
                <a:off x="5853107" y="1682731"/>
                <a:ext cx="620615" cy="323850"/>
              </a:xfrm>
              <a:prstGeom prst="rect">
                <a:avLst/>
              </a:prstGeom>
              <a:noFill/>
              <a:ln w="9525">
                <a:noFill/>
                <a:miter lim="800000"/>
                <a:headEnd/>
                <a:tailEnd/>
              </a:ln>
            </p:spPr>
            <p:txBody>
              <a:bodyPr wrap="none" anchor="ctr"/>
              <a:lstStyle/>
              <a:p>
                <a:pPr algn="ctr" fontAlgn="base">
                  <a:spcBef>
                    <a:spcPct val="0"/>
                  </a:spcBef>
                  <a:spcAft>
                    <a:spcPct val="0"/>
                  </a:spcAft>
                  <a:defRPr/>
                </a:pPr>
                <a:endParaRPr lang="en-US" altLang="ko-KR" sz="3200" i="1" dirty="0">
                  <a:solidFill>
                    <a:srgbClr val="1C1C1C"/>
                  </a:solidFill>
                  <a:effectLst>
                    <a:outerShdw blurRad="38100" dist="38100" dir="2700000" algn="tl">
                      <a:srgbClr val="000000">
                        <a:alpha val="43137"/>
                      </a:srgbClr>
                    </a:outerShdw>
                  </a:effectLst>
                  <a:latin typeface="黑体" pitchFamily="49" charset="-122"/>
                  <a:ea typeface="Gulim" pitchFamily="34" charset="-127"/>
                </a:endParaRPr>
              </a:p>
            </p:txBody>
          </p:sp>
        </p:grpSp>
      </p:grpSp>
      <p:grpSp>
        <p:nvGrpSpPr>
          <p:cNvPr id="16" name="组合 34"/>
          <p:cNvGrpSpPr>
            <a:grpSpLocks/>
          </p:cNvGrpSpPr>
          <p:nvPr/>
        </p:nvGrpSpPr>
        <p:grpSpPr bwMode="auto">
          <a:xfrm>
            <a:off x="2819400" y="1371600"/>
            <a:ext cx="3835400" cy="3035300"/>
            <a:chOff x="1976438" y="841361"/>
            <a:chExt cx="5295900" cy="4000500"/>
          </a:xfrm>
        </p:grpSpPr>
        <p:pic>
          <p:nvPicPr>
            <p:cNvPr id="359448" name="Picture 39" descr="26_5"/>
            <p:cNvPicPr>
              <a:picLocks noChangeAspect="1" noChangeArrowheads="1"/>
            </p:cNvPicPr>
            <p:nvPr/>
          </p:nvPicPr>
          <p:blipFill>
            <a:blip r:embed="rId3" cstate="print"/>
            <a:srcRect/>
            <a:stretch>
              <a:fillRect/>
            </a:stretch>
          </p:blipFill>
          <p:spPr bwMode="auto">
            <a:xfrm>
              <a:off x="1976438" y="841361"/>
              <a:ext cx="5295900" cy="4000500"/>
            </a:xfrm>
            <a:prstGeom prst="rect">
              <a:avLst/>
            </a:prstGeom>
            <a:noFill/>
            <a:ln w="9525">
              <a:noFill/>
              <a:miter lim="800000"/>
              <a:headEnd/>
              <a:tailEnd/>
            </a:ln>
          </p:spPr>
        </p:pic>
        <p:pic>
          <p:nvPicPr>
            <p:cNvPr id="359449" name="Picture 2" descr="G:\PPT\制图图片\美国战略转移\W020120323289645843892副本.png"/>
            <p:cNvPicPr>
              <a:picLocks noChangeAspect="1" noChangeArrowheads="1"/>
            </p:cNvPicPr>
            <p:nvPr/>
          </p:nvPicPr>
          <p:blipFill>
            <a:blip r:embed="rId4" cstate="print"/>
            <a:srcRect/>
            <a:stretch>
              <a:fillRect/>
            </a:stretch>
          </p:blipFill>
          <p:spPr bwMode="auto">
            <a:xfrm>
              <a:off x="2786050" y="1595676"/>
              <a:ext cx="3443316" cy="2762018"/>
            </a:xfrm>
            <a:prstGeom prst="rect">
              <a:avLst/>
            </a:prstGeom>
            <a:noFill/>
            <a:ln w="9525">
              <a:noFill/>
              <a:miter lim="800000"/>
              <a:headEnd/>
              <a:tailEnd/>
            </a:ln>
          </p:spPr>
        </p:pic>
      </p:grpSp>
      <p:sp>
        <p:nvSpPr>
          <p:cNvPr id="46" name="矩形 45"/>
          <p:cNvSpPr/>
          <p:nvPr/>
        </p:nvSpPr>
        <p:spPr>
          <a:xfrm>
            <a:off x="2412119" y="152400"/>
            <a:ext cx="2786237" cy="646278"/>
          </a:xfrm>
          <a:prstGeom prst="rect">
            <a:avLst/>
          </a:prstGeom>
        </p:spPr>
        <p:txBody>
          <a:bodyPr wrap="none" lIns="91389" tIns="45694" rIns="91389" bIns="45694">
            <a:spAutoFit/>
          </a:bodyPr>
          <a:lstStyle/>
          <a:p>
            <a:pPr algn="ctr">
              <a:defRPr/>
            </a:pPr>
            <a:r>
              <a:rPr lang="en-US" altLang="zh-CN" sz="3600" b="1" dirty="0">
                <a:ln w="1905"/>
                <a:solidFill>
                  <a:srgbClr val="FFFFFF"/>
                </a:solidFill>
                <a:effectLst>
                  <a:outerShdw blurRad="38100" dist="38100" dir="2700000" algn="tl">
                    <a:srgbClr val="000000">
                      <a:alpha val="43137"/>
                    </a:srgbClr>
                  </a:outerShdw>
                </a:effectLst>
                <a:latin typeface="黑体" pitchFamily="49" charset="-122"/>
                <a:ea typeface="黑体" pitchFamily="49" charset="-122"/>
              </a:rPr>
              <a:t>1</a:t>
            </a:r>
            <a:r>
              <a:rPr lang="zh-CN" altLang="en-US" sz="3600" b="1" dirty="0">
                <a:ln w="1905"/>
                <a:solidFill>
                  <a:srgbClr val="FFFFFF"/>
                </a:solidFill>
                <a:effectLst>
                  <a:outerShdw blurRad="38100" dist="38100" dir="2700000" algn="tl">
                    <a:srgbClr val="000000">
                      <a:alpha val="43137"/>
                    </a:srgbClr>
                  </a:outerShdw>
                </a:effectLst>
                <a:latin typeface="黑体" pitchFamily="49" charset="-122"/>
                <a:ea typeface="黑体" pitchFamily="49" charset="-122"/>
              </a:rPr>
              <a:t>、平等原则</a:t>
            </a:r>
          </a:p>
        </p:txBody>
      </p:sp>
      <p:sp>
        <p:nvSpPr>
          <p:cNvPr id="3" name="矩形 2"/>
          <p:cNvSpPr>
            <a:spLocks noChangeArrowheads="1"/>
          </p:cNvSpPr>
          <p:nvPr/>
        </p:nvSpPr>
        <p:spPr bwMode="auto">
          <a:xfrm>
            <a:off x="0" y="2514600"/>
            <a:ext cx="2514600" cy="923925"/>
          </a:xfrm>
          <a:prstGeom prst="rect">
            <a:avLst/>
          </a:prstGeom>
          <a:noFill/>
          <a:ln w="9525">
            <a:noFill/>
            <a:miter lim="800000"/>
            <a:headEnd/>
            <a:tailEnd/>
          </a:ln>
        </p:spPr>
        <p:txBody>
          <a:bodyPr lIns="91389" tIns="45694" rIns="91389" bIns="45694">
            <a:spAutoFit/>
          </a:bodyPr>
          <a:lstStyle/>
          <a:p>
            <a:pPr fontAlgn="base">
              <a:spcBef>
                <a:spcPct val="0"/>
              </a:spcBef>
              <a:spcAft>
                <a:spcPct val="0"/>
              </a:spcAft>
            </a:pPr>
            <a:r>
              <a:rPr lang="zh-CN" altLang="en-US" b="1" smtClean="0">
                <a:solidFill>
                  <a:srgbClr val="000000"/>
                </a:solidFill>
                <a:latin typeface="宋体" pitchFamily="2" charset="-122"/>
                <a:ea typeface="한컴바탕"/>
                <a:cs typeface="한컴바탕"/>
              </a:rPr>
              <a:t>要学会将心比心，学会换位思考，不能对人差别对待。</a:t>
            </a:r>
            <a:endParaRPr lang="ko-KR" altLang="en-US" b="1" smtClean="0">
              <a:solidFill>
                <a:srgbClr val="000000"/>
              </a:solidFill>
              <a:latin typeface="宋体" pitchFamily="2" charset="-122"/>
              <a:ea typeface="HY견고딕"/>
              <a:cs typeface="한컴바탕"/>
            </a:endParaRPr>
          </a:p>
        </p:txBody>
      </p:sp>
      <p:sp>
        <p:nvSpPr>
          <p:cNvPr id="49" name="矩形 48"/>
          <p:cNvSpPr>
            <a:spLocks noChangeArrowheads="1"/>
          </p:cNvSpPr>
          <p:nvPr/>
        </p:nvSpPr>
        <p:spPr bwMode="auto">
          <a:xfrm>
            <a:off x="304800" y="4114800"/>
            <a:ext cx="2101850" cy="646113"/>
          </a:xfrm>
          <a:prstGeom prst="rect">
            <a:avLst/>
          </a:prstGeom>
          <a:noFill/>
          <a:ln w="9525">
            <a:noFill/>
            <a:miter lim="800000"/>
            <a:headEnd/>
            <a:tailEnd/>
          </a:ln>
        </p:spPr>
        <p:txBody>
          <a:bodyPr lIns="91389" tIns="45694" rIns="91389" bIns="45694">
            <a:spAutoFit/>
          </a:bodyPr>
          <a:lstStyle/>
          <a:p>
            <a:pPr fontAlgn="base">
              <a:spcBef>
                <a:spcPct val="0"/>
              </a:spcBef>
              <a:spcAft>
                <a:spcPct val="0"/>
              </a:spcAft>
            </a:pPr>
            <a:r>
              <a:rPr lang="zh-CN" altLang="en-US" b="1" smtClean="0">
                <a:solidFill>
                  <a:srgbClr val="000000"/>
                </a:solidFill>
                <a:latin typeface="宋体" pitchFamily="2" charset="-122"/>
                <a:ea typeface="한컴바탕"/>
                <a:cs typeface="한컴바탕"/>
              </a:rPr>
              <a:t>把自尊和尊重他人有机地结合起来。</a:t>
            </a:r>
            <a:endParaRPr lang="ko-KR" altLang="en-US" b="1" smtClean="0">
              <a:solidFill>
                <a:srgbClr val="000000"/>
              </a:solidFill>
              <a:latin typeface="宋体" pitchFamily="2" charset="-122"/>
              <a:ea typeface="HY견고딕"/>
              <a:cs typeface="한컴바탕"/>
            </a:endParaRPr>
          </a:p>
        </p:txBody>
      </p:sp>
      <p:sp>
        <p:nvSpPr>
          <p:cNvPr id="5" name="矩形 4"/>
          <p:cNvSpPr>
            <a:spLocks noChangeArrowheads="1"/>
          </p:cNvSpPr>
          <p:nvPr/>
        </p:nvSpPr>
        <p:spPr bwMode="auto">
          <a:xfrm>
            <a:off x="6948488" y="3476625"/>
            <a:ext cx="2349500" cy="646113"/>
          </a:xfrm>
          <a:prstGeom prst="rect">
            <a:avLst/>
          </a:prstGeom>
          <a:noFill/>
          <a:ln w="9525">
            <a:noFill/>
            <a:miter lim="800000"/>
            <a:headEnd/>
            <a:tailEnd/>
          </a:ln>
        </p:spPr>
        <p:txBody>
          <a:bodyPr lIns="91389" tIns="45694" rIns="91389" bIns="45694">
            <a:spAutoFit/>
          </a:bodyPr>
          <a:lstStyle/>
          <a:p>
            <a:pPr fontAlgn="base">
              <a:spcBef>
                <a:spcPct val="0"/>
              </a:spcBef>
              <a:spcAft>
                <a:spcPct val="0"/>
              </a:spcAft>
              <a:defRPr/>
            </a:pPr>
            <a:r>
              <a:rPr lang="zh-CN" altLang="en-US" b="1" dirty="0">
                <a:solidFill>
                  <a:srgbClr val="000000"/>
                </a:solidFill>
                <a:effectLst>
                  <a:outerShdw blurRad="38100" dist="38100" dir="2700000" algn="tl">
                    <a:srgbClr val="000000">
                      <a:alpha val="43137"/>
                    </a:srgbClr>
                  </a:outerShdw>
                </a:effectLst>
                <a:latin typeface="宋体" pitchFamily="2" charset="-122"/>
                <a:ea typeface="한컴바탕"/>
                <a:cs typeface="한컴바탕"/>
              </a:rPr>
              <a:t>只有尊重他人才能得到他人的尊重</a:t>
            </a:r>
          </a:p>
        </p:txBody>
      </p:sp>
      <p:sp>
        <p:nvSpPr>
          <p:cNvPr id="7" name="矩形 6"/>
          <p:cNvSpPr>
            <a:spLocks noChangeArrowheads="1"/>
          </p:cNvSpPr>
          <p:nvPr/>
        </p:nvSpPr>
        <p:spPr bwMode="auto">
          <a:xfrm>
            <a:off x="7148513" y="1295400"/>
            <a:ext cx="1995487" cy="1200150"/>
          </a:xfrm>
          <a:prstGeom prst="rect">
            <a:avLst/>
          </a:prstGeom>
          <a:noFill/>
          <a:ln w="9525">
            <a:noFill/>
            <a:miter lim="800000"/>
            <a:headEnd/>
            <a:tailEnd/>
          </a:ln>
        </p:spPr>
        <p:txBody>
          <a:bodyPr lIns="91389" tIns="45694" rIns="91389" bIns="45694">
            <a:spAutoFit/>
          </a:bodyPr>
          <a:lstStyle/>
          <a:p>
            <a:pPr fontAlgn="base">
              <a:spcBef>
                <a:spcPct val="0"/>
              </a:spcBef>
              <a:spcAft>
                <a:spcPct val="0"/>
              </a:spcAft>
            </a:pPr>
            <a:r>
              <a:rPr lang="zh-CN" altLang="en-US" b="1" smtClean="0">
                <a:solidFill>
                  <a:srgbClr val="000000"/>
                </a:solidFill>
                <a:latin typeface="宋体" pitchFamily="2" charset="-122"/>
                <a:ea typeface="한컴바탕"/>
                <a:cs typeface="한컴바탕"/>
              </a:rPr>
              <a:t>对于我们不喜欢的人，可以选择少交往但没有理由不尊重他们。</a:t>
            </a:r>
          </a:p>
        </p:txBody>
      </p:sp>
      <p:sp>
        <p:nvSpPr>
          <p:cNvPr id="11" name="矩形 10"/>
          <p:cNvSpPr>
            <a:spLocks noChangeArrowheads="1"/>
          </p:cNvSpPr>
          <p:nvPr/>
        </p:nvSpPr>
        <p:spPr bwMode="auto">
          <a:xfrm>
            <a:off x="5334000" y="4419600"/>
            <a:ext cx="3505200" cy="646113"/>
          </a:xfrm>
          <a:prstGeom prst="rect">
            <a:avLst/>
          </a:prstGeom>
          <a:noFill/>
          <a:ln w="9525">
            <a:noFill/>
            <a:miter lim="800000"/>
            <a:headEnd/>
            <a:tailEnd/>
          </a:ln>
        </p:spPr>
        <p:txBody>
          <a:bodyPr lIns="91389" tIns="45694" rIns="91389" bIns="45694">
            <a:spAutoFit/>
          </a:bodyPr>
          <a:lstStyle/>
          <a:p>
            <a:pPr fontAlgn="base">
              <a:spcBef>
                <a:spcPct val="0"/>
              </a:spcBef>
              <a:spcAft>
                <a:spcPct val="0"/>
              </a:spcAft>
            </a:pPr>
            <a:r>
              <a:rPr lang="zh-CN" altLang="en-US" b="1" smtClean="0">
                <a:solidFill>
                  <a:srgbClr val="000000"/>
                </a:solidFill>
                <a:latin typeface="宋体" pitchFamily="2" charset="-122"/>
                <a:ea typeface="한컴바탕"/>
                <a:cs typeface="한컴바탕"/>
              </a:rPr>
              <a:t>每个人在</a:t>
            </a:r>
            <a:r>
              <a:rPr lang="zh-CN" altLang="en-US" b="1" u="sng" smtClean="0">
                <a:solidFill>
                  <a:srgbClr val="000000"/>
                </a:solidFill>
                <a:latin typeface="宋体" pitchFamily="2" charset="-122"/>
                <a:ea typeface="한컴바탕"/>
                <a:cs typeface="한컴바탕"/>
              </a:rPr>
              <a:t>人格与法律地位</a:t>
            </a:r>
            <a:r>
              <a:rPr lang="zh-CN" altLang="en-US" b="1" smtClean="0">
                <a:solidFill>
                  <a:srgbClr val="000000"/>
                </a:solidFill>
                <a:latin typeface="宋体" pitchFamily="2" charset="-122"/>
                <a:ea typeface="한컴바탕"/>
                <a:cs typeface="한컴바탕"/>
              </a:rPr>
              <a:t>上</a:t>
            </a:r>
            <a:endParaRPr lang="en-US" altLang="zh-CN" b="1" smtClean="0">
              <a:solidFill>
                <a:srgbClr val="000000"/>
              </a:solidFill>
              <a:latin typeface="宋体" pitchFamily="2" charset="-122"/>
              <a:ea typeface="한컴바탕"/>
              <a:cs typeface="한컴바탕"/>
            </a:endParaRPr>
          </a:p>
          <a:p>
            <a:pPr fontAlgn="base">
              <a:spcBef>
                <a:spcPct val="0"/>
              </a:spcBef>
              <a:spcAft>
                <a:spcPct val="0"/>
              </a:spcAft>
            </a:pPr>
            <a:r>
              <a:rPr lang="zh-CN" altLang="en-US" b="1" smtClean="0">
                <a:solidFill>
                  <a:srgbClr val="000000"/>
                </a:solidFill>
                <a:latin typeface="宋体" pitchFamily="2" charset="-122"/>
                <a:ea typeface="한컴바탕"/>
                <a:cs typeface="한컴바탕"/>
              </a:rPr>
              <a:t>是平等的</a:t>
            </a:r>
            <a:endParaRPr lang="ko-KR" altLang="en-US" b="1" smtClean="0">
              <a:solidFill>
                <a:srgbClr val="000000"/>
              </a:solidFill>
              <a:latin typeface="宋体" pitchFamily="2" charset="-122"/>
              <a:ea typeface="한컴바탕"/>
              <a:cs typeface="한컴바탕"/>
            </a:endParaRPr>
          </a:p>
        </p:txBody>
      </p:sp>
      <p:sp>
        <p:nvSpPr>
          <p:cNvPr id="55" name="Rounded Rectangle 19"/>
          <p:cNvSpPr/>
          <p:nvPr/>
        </p:nvSpPr>
        <p:spPr bwMode="auto">
          <a:xfrm>
            <a:off x="1371600" y="5334000"/>
            <a:ext cx="4648200" cy="914400"/>
          </a:xfrm>
          <a:prstGeom prst="roundRect">
            <a:avLst/>
          </a:prstGeom>
          <a:gradFill>
            <a:gsLst>
              <a:gs pos="0">
                <a:schemeClr val="accent1">
                  <a:shade val="51000"/>
                  <a:satMod val="130000"/>
                  <a:alpha val="41000"/>
                </a:schemeClr>
              </a:gs>
              <a:gs pos="80000">
                <a:schemeClr val="accent1">
                  <a:shade val="93000"/>
                  <a:satMod val="130000"/>
                </a:schemeClr>
              </a:gs>
              <a:gs pos="100000">
                <a:schemeClr val="accent1">
                  <a:shade val="94000"/>
                  <a:satMod val="135000"/>
                </a:schemeClr>
              </a:gs>
            </a:gsLst>
          </a:gradFill>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lIns="91389" tIns="45694" rIns="91389" bIns="45694"/>
          <a:lstStyle/>
          <a:p>
            <a:pPr fontAlgn="base">
              <a:spcBef>
                <a:spcPct val="0"/>
              </a:spcBef>
              <a:spcAft>
                <a:spcPct val="0"/>
              </a:spcAft>
              <a:defRPr/>
            </a:pPr>
            <a:r>
              <a:rPr lang="zh-CN" altLang="en-US" sz="2500" b="1" dirty="0">
                <a:solidFill>
                  <a:srgbClr val="1C1C1C"/>
                </a:solidFill>
                <a:effectLst>
                  <a:outerShdw blurRad="38100" dist="38100" dir="2700000" algn="tl">
                    <a:srgbClr val="000000">
                      <a:alpha val="43137"/>
                    </a:srgbClr>
                  </a:outerShdw>
                </a:effectLst>
                <a:latin typeface="黑体" pitchFamily="49" charset="-122"/>
                <a:ea typeface="黑体" pitchFamily="49" charset="-122"/>
              </a:rPr>
              <a:t>己欲立而立人，己欲达而达人</a:t>
            </a:r>
            <a:endParaRPr lang="en-US" altLang="zh-CN" sz="2500" b="1" dirty="0">
              <a:solidFill>
                <a:srgbClr val="1C1C1C"/>
              </a:solidFill>
              <a:effectLst>
                <a:outerShdw blurRad="38100" dist="38100" dir="2700000" algn="tl">
                  <a:srgbClr val="000000">
                    <a:alpha val="43137"/>
                  </a:srgbClr>
                </a:outerShdw>
              </a:effectLst>
              <a:latin typeface="黑体" pitchFamily="49" charset="-122"/>
              <a:ea typeface="黑体" pitchFamily="49" charset="-122"/>
            </a:endParaRPr>
          </a:p>
          <a:p>
            <a:pPr fontAlgn="base">
              <a:spcBef>
                <a:spcPct val="0"/>
              </a:spcBef>
              <a:spcAft>
                <a:spcPct val="0"/>
              </a:spcAft>
              <a:defRPr/>
            </a:pPr>
            <a:r>
              <a:rPr lang="zh-CN" altLang="en-US" sz="2500" b="1" dirty="0">
                <a:solidFill>
                  <a:srgbClr val="1C1C1C"/>
                </a:solidFill>
                <a:effectLst>
                  <a:outerShdw blurRad="38100" dist="38100" dir="2700000" algn="tl">
                    <a:srgbClr val="000000">
                      <a:alpha val="43137"/>
                    </a:srgbClr>
                  </a:outerShdw>
                </a:effectLst>
                <a:latin typeface="黑体" pitchFamily="49" charset="-122"/>
                <a:ea typeface="黑体" pitchFamily="49" charset="-122"/>
              </a:rPr>
              <a:t>己所不欲，勿施于人</a:t>
            </a:r>
            <a:endParaRPr lang="en-US" altLang="zh-CN" sz="2500" b="1" dirty="0">
              <a:solidFill>
                <a:srgbClr val="1C1C1C"/>
              </a:solidFill>
              <a:effectLst>
                <a:outerShdw blurRad="38100" dist="38100" dir="2700000" algn="tl">
                  <a:srgbClr val="000000">
                    <a:alpha val="43137"/>
                  </a:srgbClr>
                </a:outerShdw>
              </a:effectLst>
              <a:latin typeface="黑体" pitchFamily="49" charset="-122"/>
              <a:ea typeface="黑体" pitchFamily="49" charset="-122"/>
            </a:endParaRPr>
          </a:p>
          <a:p>
            <a:pPr fontAlgn="base">
              <a:spcBef>
                <a:spcPct val="0"/>
              </a:spcBef>
              <a:spcAft>
                <a:spcPct val="0"/>
              </a:spcAft>
              <a:defRPr/>
            </a:pPr>
            <a:endParaRPr lang="zh-CN" altLang="en-US" sz="2500" b="1" dirty="0">
              <a:solidFill>
                <a:srgbClr val="1C1C1C"/>
              </a:solidFill>
              <a:effectLst>
                <a:outerShdw blurRad="38100" dist="38100" dir="2700000" algn="tl">
                  <a:srgbClr val="000000"/>
                </a:outerShdw>
              </a:effectLst>
              <a:ea typeface="宋体" pitchFamily="2" charset="-122"/>
            </a:endParaRPr>
          </a:p>
        </p:txBody>
      </p:sp>
      <p:grpSp>
        <p:nvGrpSpPr>
          <p:cNvPr id="17" name="组合 287"/>
          <p:cNvGrpSpPr/>
          <p:nvPr/>
        </p:nvGrpSpPr>
        <p:grpSpPr>
          <a:xfrm>
            <a:off x="719880" y="1736824"/>
            <a:ext cx="2772000" cy="108000"/>
            <a:chOff x="251520" y="4843041"/>
            <a:chExt cx="8474393" cy="360040"/>
          </a:xfrm>
          <a:solidFill>
            <a:schemeClr val="accent5">
              <a:lumMod val="75000"/>
            </a:schemeClr>
          </a:solidFill>
          <a:effectLst>
            <a:outerShdw blurRad="50800" dist="38100" dir="16200000" rotWithShape="0">
              <a:prstClr val="black">
                <a:alpha val="40000"/>
              </a:prstClr>
            </a:outerShdw>
          </a:effectLst>
          <a:scene3d>
            <a:camera prst="perspectiveBelow"/>
            <a:lightRig rig="threePt" dir="t"/>
          </a:scene3d>
        </p:grpSpPr>
        <p:sp>
          <p:nvSpPr>
            <p:cNvPr id="50" name="五边形 49"/>
            <p:cNvSpPr/>
            <p:nvPr/>
          </p:nvSpPr>
          <p:spPr>
            <a:xfrm>
              <a:off x="251520" y="4843041"/>
              <a:ext cx="7383117" cy="360040"/>
            </a:xfrm>
            <a:prstGeom prst="homePlate">
              <a:avLst/>
            </a:prstGeom>
            <a:grpFill/>
            <a:ln>
              <a:solidFill>
                <a:schemeClr val="accent1"/>
              </a:solidFill>
            </a:ln>
          </p:spPr>
          <p:style>
            <a:lnRef idx="2">
              <a:schemeClr val="accent1"/>
            </a:lnRef>
            <a:fillRef idx="1">
              <a:schemeClr val="lt1"/>
            </a:fillRef>
            <a:effectRef idx="0">
              <a:schemeClr val="accent1"/>
            </a:effectRef>
            <a:fontRef idx="minor">
              <a:schemeClr val="dk1"/>
            </a:fontRef>
          </p:style>
          <p:txBody>
            <a:bodyPr anchor="ctr"/>
            <a:lstStyle/>
            <a:p>
              <a:pPr algn="ctr">
                <a:defRPr/>
              </a:pPr>
              <a:endParaRPr lang="zh-CN" altLang="en-US" dirty="0">
                <a:solidFill>
                  <a:srgbClr val="1C1C1C"/>
                </a:solidFill>
                <a:effectLst>
                  <a:outerShdw blurRad="38100" dist="38100" dir="2700000" algn="tl">
                    <a:srgbClr val="000000">
                      <a:alpha val="43137"/>
                    </a:srgbClr>
                  </a:outerShdw>
                </a:effectLst>
              </a:endParaRPr>
            </a:p>
          </p:txBody>
        </p:sp>
        <p:sp>
          <p:nvSpPr>
            <p:cNvPr id="51" name="燕尾形 50"/>
            <p:cNvSpPr/>
            <p:nvPr/>
          </p:nvSpPr>
          <p:spPr>
            <a:xfrm>
              <a:off x="7704352" y="4843041"/>
              <a:ext cx="336210" cy="360040"/>
            </a:xfrm>
            <a:prstGeom prst="chevron">
              <a:avLst/>
            </a:prstGeom>
            <a:grpFill/>
            <a:ln>
              <a:solidFill>
                <a:schemeClr val="accent1"/>
              </a:solidFill>
            </a:ln>
          </p:spPr>
          <p:style>
            <a:lnRef idx="2">
              <a:schemeClr val="accent1"/>
            </a:lnRef>
            <a:fillRef idx="1">
              <a:schemeClr val="lt1"/>
            </a:fillRef>
            <a:effectRef idx="0">
              <a:schemeClr val="accent1"/>
            </a:effectRef>
            <a:fontRef idx="minor">
              <a:schemeClr val="dk1"/>
            </a:fontRef>
          </p:style>
          <p:txBody>
            <a:bodyPr anchor="ctr"/>
            <a:lstStyle/>
            <a:p>
              <a:pPr algn="ctr">
                <a:defRPr/>
              </a:pPr>
              <a:endParaRPr lang="zh-CN" altLang="en-US" dirty="0">
                <a:solidFill>
                  <a:srgbClr val="1C1C1C"/>
                </a:solidFill>
                <a:effectLst>
                  <a:outerShdw blurRad="38100" dist="38100" dir="2700000" algn="tl">
                    <a:srgbClr val="000000">
                      <a:alpha val="43137"/>
                    </a:srgbClr>
                  </a:outerShdw>
                </a:effectLst>
              </a:endParaRPr>
            </a:p>
          </p:txBody>
        </p:sp>
        <p:sp>
          <p:nvSpPr>
            <p:cNvPr id="52" name="燕尾形 51"/>
            <p:cNvSpPr/>
            <p:nvPr/>
          </p:nvSpPr>
          <p:spPr>
            <a:xfrm>
              <a:off x="8053493" y="4843041"/>
              <a:ext cx="336210" cy="360040"/>
            </a:xfrm>
            <a:prstGeom prst="chevron">
              <a:avLst/>
            </a:prstGeom>
            <a:grpFill/>
            <a:ln>
              <a:solidFill>
                <a:schemeClr val="accent1"/>
              </a:solidFill>
            </a:ln>
          </p:spPr>
          <p:style>
            <a:lnRef idx="2">
              <a:schemeClr val="accent1"/>
            </a:lnRef>
            <a:fillRef idx="1">
              <a:schemeClr val="lt1"/>
            </a:fillRef>
            <a:effectRef idx="0">
              <a:schemeClr val="accent1"/>
            </a:effectRef>
            <a:fontRef idx="minor">
              <a:schemeClr val="dk1"/>
            </a:fontRef>
          </p:style>
          <p:txBody>
            <a:bodyPr anchor="ctr"/>
            <a:lstStyle/>
            <a:p>
              <a:pPr algn="ctr">
                <a:defRPr/>
              </a:pPr>
              <a:endParaRPr lang="zh-CN" altLang="en-US" dirty="0">
                <a:solidFill>
                  <a:srgbClr val="1C1C1C"/>
                </a:solidFill>
                <a:effectLst>
                  <a:outerShdw blurRad="38100" dist="38100" dir="2700000" algn="tl">
                    <a:srgbClr val="000000">
                      <a:alpha val="43137"/>
                    </a:srgbClr>
                  </a:outerShdw>
                </a:effectLst>
              </a:endParaRPr>
            </a:p>
          </p:txBody>
        </p:sp>
        <p:sp>
          <p:nvSpPr>
            <p:cNvPr id="53" name="燕尾形 52"/>
            <p:cNvSpPr/>
            <p:nvPr/>
          </p:nvSpPr>
          <p:spPr>
            <a:xfrm>
              <a:off x="8389703" y="4843041"/>
              <a:ext cx="336210" cy="360040"/>
            </a:xfrm>
            <a:prstGeom prst="chevron">
              <a:avLst/>
            </a:prstGeom>
            <a:grpFill/>
            <a:ln>
              <a:solidFill>
                <a:schemeClr val="accent1"/>
              </a:solidFill>
            </a:ln>
          </p:spPr>
          <p:style>
            <a:lnRef idx="2">
              <a:schemeClr val="accent1"/>
            </a:lnRef>
            <a:fillRef idx="1">
              <a:schemeClr val="lt1"/>
            </a:fillRef>
            <a:effectRef idx="0">
              <a:schemeClr val="accent1"/>
            </a:effectRef>
            <a:fontRef idx="minor">
              <a:schemeClr val="dk1"/>
            </a:fontRef>
          </p:style>
          <p:txBody>
            <a:bodyPr anchor="ctr"/>
            <a:lstStyle/>
            <a:p>
              <a:pPr algn="ctr">
                <a:defRPr/>
              </a:pPr>
              <a:endParaRPr lang="zh-CN" altLang="en-US" dirty="0">
                <a:solidFill>
                  <a:srgbClr val="1C1C1C"/>
                </a:solidFill>
                <a:effectLst>
                  <a:outerShdw blurRad="38100" dist="38100" dir="2700000" algn="tl">
                    <a:srgbClr val="000000">
                      <a:alpha val="43137"/>
                    </a:srgbClr>
                  </a:outerShdw>
                </a:effectLst>
              </a:endParaRPr>
            </a:p>
          </p:txBody>
        </p:sp>
      </p:grpSp>
      <p:sp>
        <p:nvSpPr>
          <p:cNvPr id="54" name="矩形 53"/>
          <p:cNvSpPr/>
          <p:nvPr/>
        </p:nvSpPr>
        <p:spPr>
          <a:xfrm>
            <a:off x="407988" y="1160463"/>
            <a:ext cx="6845300" cy="523875"/>
          </a:xfrm>
          <a:prstGeom prst="rect">
            <a:avLst/>
          </a:prstGeom>
        </p:spPr>
        <p:txBody>
          <a:bodyPr wrap="none" lIns="91389" tIns="45694" rIns="91389" bIns="45694">
            <a:spAutoFit/>
          </a:bodyPr>
          <a:lstStyle/>
          <a:p>
            <a:pPr algn="r">
              <a:defRPr/>
            </a:pPr>
            <a:r>
              <a:rPr lang="zh-CN" altLang="en-US" sz="2800" b="1" dirty="0">
                <a:solidFill>
                  <a:srgbClr val="1C1C1C"/>
                </a:solidFill>
                <a:effectLst>
                  <a:outerShdw blurRad="38100" dist="38100" dir="2700000" algn="tl">
                    <a:srgbClr val="000000">
                      <a:alpha val="43137"/>
                    </a:srgbClr>
                  </a:outerShdw>
                </a:effectLst>
                <a:latin typeface="黑体" pitchFamily="49" charset="-122"/>
                <a:ea typeface="黑体" pitchFamily="49" charset="-122"/>
              </a:rPr>
              <a:t>平等待人是促进个人与他人和谐的</a:t>
            </a:r>
            <a:r>
              <a:rPr lang="zh-CN" altLang="en-US" sz="2800" b="1" dirty="0">
                <a:solidFill>
                  <a:srgbClr val="FF0000"/>
                </a:solidFill>
                <a:effectLst>
                  <a:outerShdw blurRad="38100" dist="38100" dir="2700000" algn="tl">
                    <a:srgbClr val="000000">
                      <a:alpha val="43137"/>
                    </a:srgbClr>
                  </a:outerShdw>
                </a:effectLst>
                <a:latin typeface="黑体" pitchFamily="49" charset="-122"/>
                <a:ea typeface="黑体" pitchFamily="49" charset="-122"/>
              </a:rPr>
              <a:t>前提。</a:t>
            </a:r>
            <a:r>
              <a:rPr lang="zh-CN" altLang="en-US" sz="2800" b="1" dirty="0">
                <a:solidFill>
                  <a:srgbClr val="1C1C1C"/>
                </a:solidFill>
                <a:effectLst>
                  <a:outerShdw blurRad="38100" dist="38100" dir="2700000" algn="tl">
                    <a:srgbClr val="000000">
                      <a:alpha val="43137"/>
                    </a:srgbClr>
                  </a:outerShdw>
                </a:effectLst>
                <a:latin typeface="黑体" pitchFamily="49" charset="-122"/>
                <a:ea typeface="黑体" pitchFamily="49" charset="-122"/>
              </a:rPr>
              <a:t> </a:t>
            </a:r>
          </a:p>
        </p:txBody>
      </p:sp>
      <p:pic>
        <p:nvPicPr>
          <p:cNvPr id="359445" name="Picture 5" descr="20153S3b47"/>
          <p:cNvPicPr>
            <a:picLocks noChangeAspect="1" noChangeArrowheads="1"/>
          </p:cNvPicPr>
          <p:nvPr/>
        </p:nvPicPr>
        <p:blipFill>
          <a:blip r:embed="rId5" cstate="print"/>
          <a:srcRect/>
          <a:stretch>
            <a:fillRect/>
          </a:stretch>
        </p:blipFill>
        <p:spPr bwMode="auto">
          <a:xfrm>
            <a:off x="3886200" y="2133600"/>
            <a:ext cx="1600200" cy="1295400"/>
          </a:xfrm>
          <a:prstGeom prst="rect">
            <a:avLst/>
          </a:prstGeom>
          <a:noFill/>
          <a:ln w="9525">
            <a:noFill/>
            <a:miter lim="800000"/>
            <a:headEnd/>
            <a:tailEnd/>
          </a:ln>
        </p:spPr>
      </p:pic>
      <p:pic>
        <p:nvPicPr>
          <p:cNvPr id="359446" name="Picture 29" descr="运动边框"/>
          <p:cNvPicPr>
            <a:picLocks noChangeAspect="1" noChangeArrowheads="1" noCrop="1"/>
          </p:cNvPicPr>
          <p:nvPr/>
        </p:nvPicPr>
        <p:blipFill>
          <a:blip r:embed="rId6" cstate="print"/>
          <a:srcRect/>
          <a:stretch>
            <a:fillRect/>
          </a:stretch>
        </p:blipFill>
        <p:spPr bwMode="auto">
          <a:xfrm>
            <a:off x="5441950" y="6486525"/>
            <a:ext cx="3702050" cy="371475"/>
          </a:xfrm>
          <a:prstGeom prst="rect">
            <a:avLst/>
          </a:prstGeom>
          <a:noFill/>
          <a:ln w="9525">
            <a:noFill/>
            <a:miter lim="800000"/>
            <a:headEnd/>
            <a:tailEnd/>
          </a:ln>
        </p:spPr>
      </p:pic>
      <p:sp>
        <p:nvSpPr>
          <p:cNvPr id="114711" name="TextBox 6"/>
          <p:cNvSpPr txBox="1">
            <a:spLocks noChangeArrowheads="1"/>
          </p:cNvSpPr>
          <p:nvPr/>
        </p:nvSpPr>
        <p:spPr bwMode="auto">
          <a:xfrm>
            <a:off x="5518150" y="6488113"/>
            <a:ext cx="3473450" cy="646278"/>
          </a:xfrm>
          <a:prstGeom prst="rect">
            <a:avLst/>
          </a:prstGeom>
          <a:noFill/>
          <a:ln w="9525">
            <a:noFill/>
            <a:miter lim="800000"/>
            <a:headEnd/>
            <a:tailEnd/>
          </a:ln>
        </p:spPr>
        <p:txBody>
          <a:bodyPr lIns="91389" tIns="45694" rIns="91389" bIns="45694">
            <a:spAutoFit/>
          </a:bodyPr>
          <a:lstStyle/>
          <a:p>
            <a:pPr fontAlgn="base">
              <a:spcBef>
                <a:spcPct val="0"/>
              </a:spcBef>
              <a:spcAft>
                <a:spcPct val="0"/>
              </a:spcAft>
              <a:defRPr/>
            </a:pPr>
            <a:r>
              <a:rPr lang="zh-CN" altLang="en-US" b="1" dirty="0">
                <a:solidFill>
                  <a:srgbClr val="FFFFFF"/>
                </a:solidFill>
                <a:effectLst>
                  <a:outerShdw blurRad="38100" dist="38100" dir="2700000" algn="tl">
                    <a:srgbClr val="000000">
                      <a:alpha val="43137"/>
                    </a:srgbClr>
                  </a:outerShdw>
                </a:effectLst>
                <a:latin typeface="黑体" pitchFamily="49" charset="-122"/>
                <a:ea typeface="宋体" pitchFamily="2" charset="-122"/>
              </a:rPr>
              <a:t>第三节       科学对待人生环境</a:t>
            </a:r>
          </a:p>
        </p:txBody>
      </p:sp>
    </p:spTree>
  </p:cSld>
  <p:clrMapOvr>
    <a:masterClrMapping/>
  </p:clrMapOvr>
  <p:transition spd="slow"/>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afterGroup">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46"/>
                                        </p:tgtEl>
                                        <p:attrNameLst>
                                          <p:attrName>style.visibility</p:attrName>
                                        </p:attrNameLst>
                                      </p:cBhvr>
                                      <p:to>
                                        <p:strVal val="visible"/>
                                      </p:to>
                                    </p:set>
                                    <p:animEffect transition="in" filter="wipe(left)">
                                      <p:cBhvr>
                                        <p:cTn id="7" dur="500"/>
                                        <p:tgtEl>
                                          <p:spTgt spid="46"/>
                                        </p:tgtEl>
                                      </p:cBhvr>
                                    </p:animEffect>
                                  </p:childTnLst>
                                </p:cTn>
                              </p:par>
                            </p:childTnLst>
                          </p:cTn>
                        </p:par>
                        <p:par>
                          <p:cTn id="8" fill="hold">
                            <p:stCondLst>
                              <p:cond delay="500"/>
                            </p:stCondLst>
                            <p:childTnLst>
                              <p:par>
                                <p:cTn id="9" presetID="22" presetClass="entr" presetSubtype="8" fill="hold" nodeType="afterEffect">
                                  <p:stCondLst>
                                    <p:cond delay="0"/>
                                  </p:stCondLst>
                                  <p:childTnLst>
                                    <p:set>
                                      <p:cBhvr>
                                        <p:cTn id="10" dur="1" fill="hold">
                                          <p:stCondLst>
                                            <p:cond delay="0"/>
                                          </p:stCondLst>
                                        </p:cTn>
                                        <p:tgtEl>
                                          <p:spTgt spid="17"/>
                                        </p:tgtEl>
                                        <p:attrNameLst>
                                          <p:attrName>style.visibility</p:attrName>
                                        </p:attrNameLst>
                                      </p:cBhvr>
                                      <p:to>
                                        <p:strVal val="visible"/>
                                      </p:to>
                                    </p:set>
                                    <p:animEffect transition="in" filter="wipe(left)">
                                      <p:cBhvr>
                                        <p:cTn id="11" dur="500"/>
                                        <p:tgtEl>
                                          <p:spTgt spid="17"/>
                                        </p:tgtEl>
                                      </p:cBhvr>
                                    </p:animEffect>
                                  </p:childTnLst>
                                </p:cTn>
                              </p:par>
                              <p:par>
                                <p:cTn id="12" presetID="22" presetClass="entr" presetSubtype="8" fill="hold" grpId="0" nodeType="withEffect">
                                  <p:stCondLst>
                                    <p:cond delay="0"/>
                                  </p:stCondLst>
                                  <p:childTnLst>
                                    <p:set>
                                      <p:cBhvr>
                                        <p:cTn id="13" dur="1" fill="hold">
                                          <p:stCondLst>
                                            <p:cond delay="0"/>
                                          </p:stCondLst>
                                        </p:cTn>
                                        <p:tgtEl>
                                          <p:spTgt spid="54"/>
                                        </p:tgtEl>
                                        <p:attrNameLst>
                                          <p:attrName>style.visibility</p:attrName>
                                        </p:attrNameLst>
                                      </p:cBhvr>
                                      <p:to>
                                        <p:strVal val="visible"/>
                                      </p:to>
                                    </p:set>
                                    <p:animEffect transition="in" filter="wipe(left)">
                                      <p:cBhvr>
                                        <p:cTn id="14" dur="500"/>
                                        <p:tgtEl>
                                          <p:spTgt spid="54"/>
                                        </p:tgtEl>
                                      </p:cBhvr>
                                    </p:animEffect>
                                  </p:childTnLst>
                                </p:cTn>
                              </p:par>
                            </p:childTnLst>
                          </p:cTn>
                        </p:par>
                        <p:par>
                          <p:cTn id="15" fill="hold">
                            <p:stCondLst>
                              <p:cond delay="1000"/>
                            </p:stCondLst>
                            <p:childTnLst>
                              <p:par>
                                <p:cTn id="16" presetID="22" presetClass="entr" presetSubtype="4" fill="hold" grpId="0" nodeType="afterEffect">
                                  <p:stCondLst>
                                    <p:cond delay="0"/>
                                  </p:stCondLst>
                                  <p:childTnLst>
                                    <p:set>
                                      <p:cBhvr>
                                        <p:cTn id="17" dur="1" fill="hold">
                                          <p:stCondLst>
                                            <p:cond delay="0"/>
                                          </p:stCondLst>
                                        </p:cTn>
                                        <p:tgtEl>
                                          <p:spTgt spid="723972"/>
                                        </p:tgtEl>
                                        <p:attrNameLst>
                                          <p:attrName>style.visibility</p:attrName>
                                        </p:attrNameLst>
                                      </p:cBhvr>
                                      <p:to>
                                        <p:strVal val="visible"/>
                                      </p:to>
                                    </p:set>
                                    <p:animEffect transition="in" filter="wipe(down)">
                                      <p:cBhvr>
                                        <p:cTn id="18" dur="500"/>
                                        <p:tgtEl>
                                          <p:spTgt spid="723972"/>
                                        </p:tgtEl>
                                      </p:cBhvr>
                                    </p:animEffect>
                                  </p:childTnLst>
                                </p:cTn>
                              </p:par>
                              <p:par>
                                <p:cTn id="19" presetID="22" presetClass="entr" presetSubtype="4" fill="hold" grpId="0" nodeType="withEffect">
                                  <p:stCondLst>
                                    <p:cond delay="0"/>
                                  </p:stCondLst>
                                  <p:childTnLst>
                                    <p:set>
                                      <p:cBhvr>
                                        <p:cTn id="20" dur="1" fill="hold">
                                          <p:stCondLst>
                                            <p:cond delay="0"/>
                                          </p:stCondLst>
                                        </p:cTn>
                                        <p:tgtEl>
                                          <p:spTgt spid="723973"/>
                                        </p:tgtEl>
                                        <p:attrNameLst>
                                          <p:attrName>style.visibility</p:attrName>
                                        </p:attrNameLst>
                                      </p:cBhvr>
                                      <p:to>
                                        <p:strVal val="visible"/>
                                      </p:to>
                                    </p:set>
                                    <p:animEffect transition="in" filter="wipe(down)">
                                      <p:cBhvr>
                                        <p:cTn id="21" dur="500"/>
                                        <p:tgtEl>
                                          <p:spTgt spid="723973"/>
                                        </p:tgtEl>
                                      </p:cBhvr>
                                    </p:animEffect>
                                  </p:childTnLst>
                                </p:cTn>
                              </p:par>
                              <p:par>
                                <p:cTn id="22" presetID="22" presetClass="entr" presetSubtype="4" fill="hold" nodeType="withEffect">
                                  <p:stCondLst>
                                    <p:cond delay="0"/>
                                  </p:stCondLst>
                                  <p:childTnLst>
                                    <p:set>
                                      <p:cBhvr>
                                        <p:cTn id="23" dur="1" fill="hold">
                                          <p:stCondLst>
                                            <p:cond delay="0"/>
                                          </p:stCondLst>
                                        </p:cTn>
                                        <p:tgtEl>
                                          <p:spTgt spid="16"/>
                                        </p:tgtEl>
                                        <p:attrNameLst>
                                          <p:attrName>style.visibility</p:attrName>
                                        </p:attrNameLst>
                                      </p:cBhvr>
                                      <p:to>
                                        <p:strVal val="visible"/>
                                      </p:to>
                                    </p:set>
                                    <p:animEffect transition="in" filter="wipe(down)">
                                      <p:cBhvr>
                                        <p:cTn id="24" dur="500"/>
                                        <p:tgtEl>
                                          <p:spTgt spid="16"/>
                                        </p:tgtEl>
                                      </p:cBhvr>
                                    </p:animEffect>
                                  </p:childTnLst>
                                </p:cTn>
                              </p:par>
                              <p:par>
                                <p:cTn id="25" presetID="21" presetClass="entr" presetSubtype="4" fill="hold" grpId="0" nodeType="withEffect">
                                  <p:stCondLst>
                                    <p:cond delay="0"/>
                                  </p:stCondLst>
                                  <p:childTnLst>
                                    <p:set>
                                      <p:cBhvr>
                                        <p:cTn id="26" dur="1" fill="hold">
                                          <p:stCondLst>
                                            <p:cond delay="0"/>
                                          </p:stCondLst>
                                        </p:cTn>
                                        <p:tgtEl>
                                          <p:spTgt spid="723970"/>
                                        </p:tgtEl>
                                        <p:attrNameLst>
                                          <p:attrName>style.visibility</p:attrName>
                                        </p:attrNameLst>
                                      </p:cBhvr>
                                      <p:to>
                                        <p:strVal val="visible"/>
                                      </p:to>
                                    </p:set>
                                    <p:animEffect transition="in" filter="wheel(4)">
                                      <p:cBhvr>
                                        <p:cTn id="27" dur="1250"/>
                                        <p:tgtEl>
                                          <p:spTgt spid="723970"/>
                                        </p:tgtEl>
                                      </p:cBhvr>
                                    </p:animEffect>
                                  </p:childTnLst>
                                </p:cTn>
                              </p:par>
                            </p:childTnLst>
                          </p:cTn>
                        </p:par>
                        <p:par>
                          <p:cTn id="28" fill="hold">
                            <p:stCondLst>
                              <p:cond delay="2250"/>
                            </p:stCondLst>
                            <p:childTnLst>
                              <p:par>
                                <p:cTn id="29" presetID="22" presetClass="entr" presetSubtype="4" fill="hold" grpId="0" nodeType="afterEffect">
                                  <p:stCondLst>
                                    <p:cond delay="0"/>
                                  </p:stCondLst>
                                  <p:childTnLst>
                                    <p:set>
                                      <p:cBhvr>
                                        <p:cTn id="30" dur="1" fill="hold">
                                          <p:stCondLst>
                                            <p:cond delay="0"/>
                                          </p:stCondLst>
                                        </p:cTn>
                                        <p:tgtEl>
                                          <p:spTgt spid="723971"/>
                                        </p:tgtEl>
                                        <p:attrNameLst>
                                          <p:attrName>style.visibility</p:attrName>
                                        </p:attrNameLst>
                                      </p:cBhvr>
                                      <p:to>
                                        <p:strVal val="visible"/>
                                      </p:to>
                                    </p:set>
                                    <p:animEffect transition="in" filter="wipe(down)">
                                      <p:cBhvr>
                                        <p:cTn id="31" dur="250"/>
                                        <p:tgtEl>
                                          <p:spTgt spid="723971"/>
                                        </p:tgtEl>
                                      </p:cBhvr>
                                    </p:animEffect>
                                  </p:childTnLst>
                                </p:cTn>
                              </p:par>
                            </p:childTnLst>
                          </p:cTn>
                        </p:par>
                        <p:par>
                          <p:cTn id="32" fill="hold">
                            <p:stCondLst>
                              <p:cond delay="2500"/>
                            </p:stCondLst>
                            <p:childTnLst>
                              <p:par>
                                <p:cTn id="33" presetID="47" presetClass="entr" presetSubtype="0" fill="hold" nodeType="afterEffect">
                                  <p:stCondLst>
                                    <p:cond delay="0"/>
                                  </p:stCondLst>
                                  <p:childTnLst>
                                    <p:set>
                                      <p:cBhvr>
                                        <p:cTn id="34" dur="1" fill="hold">
                                          <p:stCondLst>
                                            <p:cond delay="0"/>
                                          </p:stCondLst>
                                        </p:cTn>
                                        <p:tgtEl>
                                          <p:spTgt spid="2"/>
                                        </p:tgtEl>
                                        <p:attrNameLst>
                                          <p:attrName>style.visibility</p:attrName>
                                        </p:attrNameLst>
                                      </p:cBhvr>
                                      <p:to>
                                        <p:strVal val="visible"/>
                                      </p:to>
                                    </p:set>
                                    <p:animEffect transition="in" filter="fade">
                                      <p:cBhvr>
                                        <p:cTn id="35" dur="500"/>
                                        <p:tgtEl>
                                          <p:spTgt spid="2"/>
                                        </p:tgtEl>
                                      </p:cBhvr>
                                    </p:animEffect>
                                    <p:anim calcmode="lin" valueType="num">
                                      <p:cBhvr>
                                        <p:cTn id="36" dur="500" fill="hold"/>
                                        <p:tgtEl>
                                          <p:spTgt spid="2"/>
                                        </p:tgtEl>
                                        <p:attrNameLst>
                                          <p:attrName>ppt_x</p:attrName>
                                        </p:attrNameLst>
                                      </p:cBhvr>
                                      <p:tavLst>
                                        <p:tav tm="0">
                                          <p:val>
                                            <p:strVal val="#ppt_x"/>
                                          </p:val>
                                        </p:tav>
                                        <p:tav tm="100000">
                                          <p:val>
                                            <p:strVal val="#ppt_x"/>
                                          </p:val>
                                        </p:tav>
                                      </p:tavLst>
                                    </p:anim>
                                    <p:anim calcmode="lin" valueType="num">
                                      <p:cBhvr>
                                        <p:cTn id="37" dur="500" fill="hold"/>
                                        <p:tgtEl>
                                          <p:spTgt spid="2"/>
                                        </p:tgtEl>
                                        <p:attrNameLst>
                                          <p:attrName>ppt_y</p:attrName>
                                        </p:attrNameLst>
                                      </p:cBhvr>
                                      <p:tavLst>
                                        <p:tav tm="0">
                                          <p:val>
                                            <p:strVal val="#ppt_y-.1"/>
                                          </p:val>
                                        </p:tav>
                                        <p:tav tm="100000">
                                          <p:val>
                                            <p:strVal val="#ppt_y"/>
                                          </p:val>
                                        </p:tav>
                                      </p:tavLst>
                                    </p:anim>
                                  </p:childTnLst>
                                </p:cTn>
                              </p:par>
                            </p:childTnLst>
                          </p:cTn>
                        </p:par>
                        <p:par>
                          <p:cTn id="38" fill="hold">
                            <p:stCondLst>
                              <p:cond delay="3000"/>
                            </p:stCondLst>
                            <p:childTnLst>
                              <p:par>
                                <p:cTn id="39" presetID="3" presetClass="entr" presetSubtype="10" fill="hold" grpId="0" nodeType="afterEffect">
                                  <p:stCondLst>
                                    <p:cond delay="0"/>
                                  </p:stCondLst>
                                  <p:childTnLst>
                                    <p:set>
                                      <p:cBhvr>
                                        <p:cTn id="40" dur="1" fill="hold">
                                          <p:stCondLst>
                                            <p:cond delay="0"/>
                                          </p:stCondLst>
                                        </p:cTn>
                                        <p:tgtEl>
                                          <p:spTgt spid="3"/>
                                        </p:tgtEl>
                                        <p:attrNameLst>
                                          <p:attrName>style.visibility</p:attrName>
                                        </p:attrNameLst>
                                      </p:cBhvr>
                                      <p:to>
                                        <p:strVal val="visible"/>
                                      </p:to>
                                    </p:set>
                                    <p:animEffect transition="in" filter="blinds(horizontal)">
                                      <p:cBhvr>
                                        <p:cTn id="41" dur="500"/>
                                        <p:tgtEl>
                                          <p:spTgt spid="3"/>
                                        </p:tgtEl>
                                      </p:cBhvr>
                                    </p:animEffect>
                                  </p:childTnLst>
                                </p:cTn>
                              </p:par>
                            </p:childTnLst>
                          </p:cTn>
                        </p:par>
                        <p:par>
                          <p:cTn id="42" fill="hold">
                            <p:stCondLst>
                              <p:cond delay="3500"/>
                            </p:stCondLst>
                            <p:childTnLst>
                              <p:par>
                                <p:cTn id="43" presetID="47" presetClass="entr" presetSubtype="0" fill="hold" nodeType="afterEffect">
                                  <p:stCondLst>
                                    <p:cond delay="0"/>
                                  </p:stCondLst>
                                  <p:childTnLst>
                                    <p:set>
                                      <p:cBhvr>
                                        <p:cTn id="44" dur="1" fill="hold">
                                          <p:stCondLst>
                                            <p:cond delay="0"/>
                                          </p:stCondLst>
                                        </p:cTn>
                                        <p:tgtEl>
                                          <p:spTgt spid="6"/>
                                        </p:tgtEl>
                                        <p:attrNameLst>
                                          <p:attrName>style.visibility</p:attrName>
                                        </p:attrNameLst>
                                      </p:cBhvr>
                                      <p:to>
                                        <p:strVal val="visible"/>
                                      </p:to>
                                    </p:set>
                                    <p:animEffect transition="in" filter="fade">
                                      <p:cBhvr>
                                        <p:cTn id="45" dur="500"/>
                                        <p:tgtEl>
                                          <p:spTgt spid="6"/>
                                        </p:tgtEl>
                                      </p:cBhvr>
                                    </p:animEffect>
                                    <p:anim calcmode="lin" valueType="num">
                                      <p:cBhvr>
                                        <p:cTn id="46" dur="500" fill="hold"/>
                                        <p:tgtEl>
                                          <p:spTgt spid="6"/>
                                        </p:tgtEl>
                                        <p:attrNameLst>
                                          <p:attrName>ppt_x</p:attrName>
                                        </p:attrNameLst>
                                      </p:cBhvr>
                                      <p:tavLst>
                                        <p:tav tm="0">
                                          <p:val>
                                            <p:strVal val="#ppt_x"/>
                                          </p:val>
                                        </p:tav>
                                        <p:tav tm="100000">
                                          <p:val>
                                            <p:strVal val="#ppt_x"/>
                                          </p:val>
                                        </p:tav>
                                      </p:tavLst>
                                    </p:anim>
                                    <p:anim calcmode="lin" valueType="num">
                                      <p:cBhvr>
                                        <p:cTn id="47" dur="500" fill="hold"/>
                                        <p:tgtEl>
                                          <p:spTgt spid="6"/>
                                        </p:tgtEl>
                                        <p:attrNameLst>
                                          <p:attrName>ppt_y</p:attrName>
                                        </p:attrNameLst>
                                      </p:cBhvr>
                                      <p:tavLst>
                                        <p:tav tm="0">
                                          <p:val>
                                            <p:strVal val="#ppt_y-.1"/>
                                          </p:val>
                                        </p:tav>
                                        <p:tav tm="100000">
                                          <p:val>
                                            <p:strVal val="#ppt_y"/>
                                          </p:val>
                                        </p:tav>
                                      </p:tavLst>
                                    </p:anim>
                                  </p:childTnLst>
                                </p:cTn>
                              </p:par>
                            </p:childTnLst>
                          </p:cTn>
                        </p:par>
                        <p:par>
                          <p:cTn id="48" fill="hold">
                            <p:stCondLst>
                              <p:cond delay="4000"/>
                            </p:stCondLst>
                            <p:childTnLst>
                              <p:par>
                                <p:cTn id="49" presetID="3" presetClass="entr" presetSubtype="10" fill="hold" grpId="0" nodeType="afterEffect">
                                  <p:stCondLst>
                                    <p:cond delay="0"/>
                                  </p:stCondLst>
                                  <p:childTnLst>
                                    <p:set>
                                      <p:cBhvr>
                                        <p:cTn id="50" dur="1" fill="hold">
                                          <p:stCondLst>
                                            <p:cond delay="0"/>
                                          </p:stCondLst>
                                        </p:cTn>
                                        <p:tgtEl>
                                          <p:spTgt spid="49"/>
                                        </p:tgtEl>
                                        <p:attrNameLst>
                                          <p:attrName>style.visibility</p:attrName>
                                        </p:attrNameLst>
                                      </p:cBhvr>
                                      <p:to>
                                        <p:strVal val="visible"/>
                                      </p:to>
                                    </p:set>
                                    <p:animEffect transition="in" filter="blinds(horizontal)">
                                      <p:cBhvr>
                                        <p:cTn id="51" dur="500"/>
                                        <p:tgtEl>
                                          <p:spTgt spid="49"/>
                                        </p:tgtEl>
                                      </p:cBhvr>
                                    </p:animEffect>
                                  </p:childTnLst>
                                </p:cTn>
                              </p:par>
                            </p:childTnLst>
                          </p:cTn>
                        </p:par>
                        <p:par>
                          <p:cTn id="52" fill="hold">
                            <p:stCondLst>
                              <p:cond delay="4500"/>
                            </p:stCondLst>
                            <p:childTnLst>
                              <p:par>
                                <p:cTn id="53" presetID="53" presetClass="entr" presetSubtype="16" fill="hold" grpId="0" nodeType="afterEffect">
                                  <p:stCondLst>
                                    <p:cond delay="0"/>
                                  </p:stCondLst>
                                  <p:childTnLst>
                                    <p:set>
                                      <p:cBhvr>
                                        <p:cTn id="54" dur="1" fill="hold">
                                          <p:stCondLst>
                                            <p:cond delay="0"/>
                                          </p:stCondLst>
                                        </p:cTn>
                                        <p:tgtEl>
                                          <p:spTgt spid="55"/>
                                        </p:tgtEl>
                                        <p:attrNameLst>
                                          <p:attrName>style.visibility</p:attrName>
                                        </p:attrNameLst>
                                      </p:cBhvr>
                                      <p:to>
                                        <p:strVal val="visible"/>
                                      </p:to>
                                    </p:set>
                                    <p:anim calcmode="lin" valueType="num">
                                      <p:cBhvr>
                                        <p:cTn id="55" dur="750" fill="hold"/>
                                        <p:tgtEl>
                                          <p:spTgt spid="55"/>
                                        </p:tgtEl>
                                        <p:attrNameLst>
                                          <p:attrName>ppt_w</p:attrName>
                                        </p:attrNameLst>
                                      </p:cBhvr>
                                      <p:tavLst>
                                        <p:tav tm="0">
                                          <p:val>
                                            <p:fltVal val="0"/>
                                          </p:val>
                                        </p:tav>
                                        <p:tav tm="100000">
                                          <p:val>
                                            <p:strVal val="#ppt_w"/>
                                          </p:val>
                                        </p:tav>
                                      </p:tavLst>
                                    </p:anim>
                                    <p:anim calcmode="lin" valueType="num">
                                      <p:cBhvr>
                                        <p:cTn id="56" dur="750" fill="hold"/>
                                        <p:tgtEl>
                                          <p:spTgt spid="55"/>
                                        </p:tgtEl>
                                        <p:attrNameLst>
                                          <p:attrName>ppt_h</p:attrName>
                                        </p:attrNameLst>
                                      </p:cBhvr>
                                      <p:tavLst>
                                        <p:tav tm="0">
                                          <p:val>
                                            <p:fltVal val="0"/>
                                          </p:val>
                                        </p:tav>
                                        <p:tav tm="100000">
                                          <p:val>
                                            <p:strVal val="#ppt_h"/>
                                          </p:val>
                                        </p:tav>
                                      </p:tavLst>
                                    </p:anim>
                                    <p:animEffect transition="in" filter="fade">
                                      <p:cBhvr>
                                        <p:cTn id="57" dur="750"/>
                                        <p:tgtEl>
                                          <p:spTgt spid="55"/>
                                        </p:tgtEl>
                                      </p:cBhvr>
                                    </p:animEffect>
                                  </p:childTnLst>
                                </p:cTn>
                              </p:par>
                            </p:childTnLst>
                          </p:cTn>
                        </p:par>
                        <p:par>
                          <p:cTn id="58" fill="hold">
                            <p:stCondLst>
                              <p:cond delay="5250"/>
                            </p:stCondLst>
                            <p:childTnLst>
                              <p:par>
                                <p:cTn id="59" presetID="42" presetClass="entr" presetSubtype="0" fill="hold" nodeType="afterEffect">
                                  <p:stCondLst>
                                    <p:cond delay="0"/>
                                  </p:stCondLst>
                                  <p:childTnLst>
                                    <p:set>
                                      <p:cBhvr>
                                        <p:cTn id="60" dur="1" fill="hold">
                                          <p:stCondLst>
                                            <p:cond delay="0"/>
                                          </p:stCondLst>
                                        </p:cTn>
                                        <p:tgtEl>
                                          <p:spTgt spid="9"/>
                                        </p:tgtEl>
                                        <p:attrNameLst>
                                          <p:attrName>style.visibility</p:attrName>
                                        </p:attrNameLst>
                                      </p:cBhvr>
                                      <p:to>
                                        <p:strVal val="visible"/>
                                      </p:to>
                                    </p:set>
                                    <p:animEffect transition="in" filter="fade">
                                      <p:cBhvr>
                                        <p:cTn id="61" dur="500"/>
                                        <p:tgtEl>
                                          <p:spTgt spid="9"/>
                                        </p:tgtEl>
                                      </p:cBhvr>
                                    </p:animEffect>
                                    <p:anim calcmode="lin" valueType="num">
                                      <p:cBhvr>
                                        <p:cTn id="62" dur="500" fill="hold"/>
                                        <p:tgtEl>
                                          <p:spTgt spid="9"/>
                                        </p:tgtEl>
                                        <p:attrNameLst>
                                          <p:attrName>ppt_x</p:attrName>
                                        </p:attrNameLst>
                                      </p:cBhvr>
                                      <p:tavLst>
                                        <p:tav tm="0">
                                          <p:val>
                                            <p:strVal val="#ppt_x"/>
                                          </p:val>
                                        </p:tav>
                                        <p:tav tm="100000">
                                          <p:val>
                                            <p:strVal val="#ppt_x"/>
                                          </p:val>
                                        </p:tav>
                                      </p:tavLst>
                                    </p:anim>
                                    <p:anim calcmode="lin" valueType="num">
                                      <p:cBhvr>
                                        <p:cTn id="63" dur="500" fill="hold"/>
                                        <p:tgtEl>
                                          <p:spTgt spid="9"/>
                                        </p:tgtEl>
                                        <p:attrNameLst>
                                          <p:attrName>ppt_y</p:attrName>
                                        </p:attrNameLst>
                                      </p:cBhvr>
                                      <p:tavLst>
                                        <p:tav tm="0">
                                          <p:val>
                                            <p:strVal val="#ppt_y+.1"/>
                                          </p:val>
                                        </p:tav>
                                        <p:tav tm="100000">
                                          <p:val>
                                            <p:strVal val="#ppt_y"/>
                                          </p:val>
                                        </p:tav>
                                      </p:tavLst>
                                    </p:anim>
                                  </p:childTnLst>
                                </p:cTn>
                              </p:par>
                            </p:childTnLst>
                          </p:cTn>
                        </p:par>
                        <p:par>
                          <p:cTn id="64" fill="hold">
                            <p:stCondLst>
                              <p:cond delay="5750"/>
                            </p:stCondLst>
                            <p:childTnLst>
                              <p:par>
                                <p:cTn id="65" presetID="3" presetClass="entr" presetSubtype="10" fill="hold" grpId="0" nodeType="afterEffect">
                                  <p:stCondLst>
                                    <p:cond delay="0"/>
                                  </p:stCondLst>
                                  <p:childTnLst>
                                    <p:set>
                                      <p:cBhvr>
                                        <p:cTn id="66" dur="1" fill="hold">
                                          <p:stCondLst>
                                            <p:cond delay="0"/>
                                          </p:stCondLst>
                                        </p:cTn>
                                        <p:tgtEl>
                                          <p:spTgt spid="11"/>
                                        </p:tgtEl>
                                        <p:attrNameLst>
                                          <p:attrName>style.visibility</p:attrName>
                                        </p:attrNameLst>
                                      </p:cBhvr>
                                      <p:to>
                                        <p:strVal val="visible"/>
                                      </p:to>
                                    </p:set>
                                    <p:animEffect transition="in" filter="blinds(horizontal)">
                                      <p:cBhvr>
                                        <p:cTn id="67" dur="500"/>
                                        <p:tgtEl>
                                          <p:spTgt spid="11"/>
                                        </p:tgtEl>
                                      </p:cBhvr>
                                    </p:animEffect>
                                  </p:childTnLst>
                                </p:cTn>
                              </p:par>
                            </p:childTnLst>
                          </p:cTn>
                        </p:par>
                        <p:par>
                          <p:cTn id="68" fill="hold">
                            <p:stCondLst>
                              <p:cond delay="6250"/>
                            </p:stCondLst>
                            <p:childTnLst>
                              <p:par>
                                <p:cTn id="69" presetID="47" presetClass="entr" presetSubtype="0" fill="hold" nodeType="afterEffect">
                                  <p:stCondLst>
                                    <p:cond delay="0"/>
                                  </p:stCondLst>
                                  <p:childTnLst>
                                    <p:set>
                                      <p:cBhvr>
                                        <p:cTn id="70" dur="1" fill="hold">
                                          <p:stCondLst>
                                            <p:cond delay="0"/>
                                          </p:stCondLst>
                                        </p:cTn>
                                        <p:tgtEl>
                                          <p:spTgt spid="12"/>
                                        </p:tgtEl>
                                        <p:attrNameLst>
                                          <p:attrName>style.visibility</p:attrName>
                                        </p:attrNameLst>
                                      </p:cBhvr>
                                      <p:to>
                                        <p:strVal val="visible"/>
                                      </p:to>
                                    </p:set>
                                    <p:animEffect transition="in" filter="fade">
                                      <p:cBhvr>
                                        <p:cTn id="71" dur="500"/>
                                        <p:tgtEl>
                                          <p:spTgt spid="12"/>
                                        </p:tgtEl>
                                      </p:cBhvr>
                                    </p:animEffect>
                                    <p:anim calcmode="lin" valueType="num">
                                      <p:cBhvr>
                                        <p:cTn id="72" dur="500" fill="hold"/>
                                        <p:tgtEl>
                                          <p:spTgt spid="12"/>
                                        </p:tgtEl>
                                        <p:attrNameLst>
                                          <p:attrName>ppt_x</p:attrName>
                                        </p:attrNameLst>
                                      </p:cBhvr>
                                      <p:tavLst>
                                        <p:tav tm="0">
                                          <p:val>
                                            <p:strVal val="#ppt_x"/>
                                          </p:val>
                                        </p:tav>
                                        <p:tav tm="100000">
                                          <p:val>
                                            <p:strVal val="#ppt_x"/>
                                          </p:val>
                                        </p:tav>
                                      </p:tavLst>
                                    </p:anim>
                                    <p:anim calcmode="lin" valueType="num">
                                      <p:cBhvr>
                                        <p:cTn id="73" dur="500" fill="hold"/>
                                        <p:tgtEl>
                                          <p:spTgt spid="12"/>
                                        </p:tgtEl>
                                        <p:attrNameLst>
                                          <p:attrName>ppt_y</p:attrName>
                                        </p:attrNameLst>
                                      </p:cBhvr>
                                      <p:tavLst>
                                        <p:tav tm="0">
                                          <p:val>
                                            <p:strVal val="#ppt_y-.1"/>
                                          </p:val>
                                        </p:tav>
                                        <p:tav tm="100000">
                                          <p:val>
                                            <p:strVal val="#ppt_y"/>
                                          </p:val>
                                        </p:tav>
                                      </p:tavLst>
                                    </p:anim>
                                  </p:childTnLst>
                                </p:cTn>
                              </p:par>
                            </p:childTnLst>
                          </p:cTn>
                        </p:par>
                        <p:par>
                          <p:cTn id="74" fill="hold">
                            <p:stCondLst>
                              <p:cond delay="6750"/>
                            </p:stCondLst>
                            <p:childTnLst>
                              <p:par>
                                <p:cTn id="75" presetID="3" presetClass="entr" presetSubtype="10" fill="hold" grpId="0" nodeType="afterEffect">
                                  <p:stCondLst>
                                    <p:cond delay="0"/>
                                  </p:stCondLst>
                                  <p:childTnLst>
                                    <p:set>
                                      <p:cBhvr>
                                        <p:cTn id="76" dur="1" fill="hold">
                                          <p:stCondLst>
                                            <p:cond delay="0"/>
                                          </p:stCondLst>
                                        </p:cTn>
                                        <p:tgtEl>
                                          <p:spTgt spid="5"/>
                                        </p:tgtEl>
                                        <p:attrNameLst>
                                          <p:attrName>style.visibility</p:attrName>
                                        </p:attrNameLst>
                                      </p:cBhvr>
                                      <p:to>
                                        <p:strVal val="visible"/>
                                      </p:to>
                                    </p:set>
                                    <p:animEffect transition="in" filter="blinds(horizontal)">
                                      <p:cBhvr>
                                        <p:cTn id="77" dur="500"/>
                                        <p:tgtEl>
                                          <p:spTgt spid="5"/>
                                        </p:tgtEl>
                                      </p:cBhvr>
                                    </p:animEffect>
                                  </p:childTnLst>
                                </p:cTn>
                              </p:par>
                            </p:childTnLst>
                          </p:cTn>
                        </p:par>
                        <p:par>
                          <p:cTn id="78" fill="hold">
                            <p:stCondLst>
                              <p:cond delay="7250"/>
                            </p:stCondLst>
                            <p:childTnLst>
                              <p:par>
                                <p:cTn id="79" presetID="42" presetClass="entr" presetSubtype="0" fill="hold" nodeType="afterEffect">
                                  <p:stCondLst>
                                    <p:cond delay="0"/>
                                  </p:stCondLst>
                                  <p:childTnLst>
                                    <p:set>
                                      <p:cBhvr>
                                        <p:cTn id="80" dur="1" fill="hold">
                                          <p:stCondLst>
                                            <p:cond delay="0"/>
                                          </p:stCondLst>
                                        </p:cTn>
                                        <p:tgtEl>
                                          <p:spTgt spid="14"/>
                                        </p:tgtEl>
                                        <p:attrNameLst>
                                          <p:attrName>style.visibility</p:attrName>
                                        </p:attrNameLst>
                                      </p:cBhvr>
                                      <p:to>
                                        <p:strVal val="visible"/>
                                      </p:to>
                                    </p:set>
                                    <p:animEffect transition="in" filter="fade">
                                      <p:cBhvr>
                                        <p:cTn id="81" dur="500"/>
                                        <p:tgtEl>
                                          <p:spTgt spid="14"/>
                                        </p:tgtEl>
                                      </p:cBhvr>
                                    </p:animEffect>
                                    <p:anim calcmode="lin" valueType="num">
                                      <p:cBhvr>
                                        <p:cTn id="82" dur="500" fill="hold"/>
                                        <p:tgtEl>
                                          <p:spTgt spid="14"/>
                                        </p:tgtEl>
                                        <p:attrNameLst>
                                          <p:attrName>ppt_x</p:attrName>
                                        </p:attrNameLst>
                                      </p:cBhvr>
                                      <p:tavLst>
                                        <p:tav tm="0">
                                          <p:val>
                                            <p:strVal val="#ppt_x"/>
                                          </p:val>
                                        </p:tav>
                                        <p:tav tm="100000">
                                          <p:val>
                                            <p:strVal val="#ppt_x"/>
                                          </p:val>
                                        </p:tav>
                                      </p:tavLst>
                                    </p:anim>
                                    <p:anim calcmode="lin" valueType="num">
                                      <p:cBhvr>
                                        <p:cTn id="83" dur="500" fill="hold"/>
                                        <p:tgtEl>
                                          <p:spTgt spid="14"/>
                                        </p:tgtEl>
                                        <p:attrNameLst>
                                          <p:attrName>ppt_y</p:attrName>
                                        </p:attrNameLst>
                                      </p:cBhvr>
                                      <p:tavLst>
                                        <p:tav tm="0">
                                          <p:val>
                                            <p:strVal val="#ppt_y+.1"/>
                                          </p:val>
                                        </p:tav>
                                        <p:tav tm="100000">
                                          <p:val>
                                            <p:strVal val="#ppt_y"/>
                                          </p:val>
                                        </p:tav>
                                      </p:tavLst>
                                    </p:anim>
                                  </p:childTnLst>
                                </p:cTn>
                              </p:par>
                            </p:childTnLst>
                          </p:cTn>
                        </p:par>
                        <p:par>
                          <p:cTn id="84" fill="hold">
                            <p:stCondLst>
                              <p:cond delay="7750"/>
                            </p:stCondLst>
                            <p:childTnLst>
                              <p:par>
                                <p:cTn id="85" presetID="3" presetClass="entr" presetSubtype="10" fill="hold" grpId="0" nodeType="afterEffect">
                                  <p:stCondLst>
                                    <p:cond delay="0"/>
                                  </p:stCondLst>
                                  <p:childTnLst>
                                    <p:set>
                                      <p:cBhvr>
                                        <p:cTn id="86" dur="1" fill="hold">
                                          <p:stCondLst>
                                            <p:cond delay="0"/>
                                          </p:stCondLst>
                                        </p:cTn>
                                        <p:tgtEl>
                                          <p:spTgt spid="7"/>
                                        </p:tgtEl>
                                        <p:attrNameLst>
                                          <p:attrName>style.visibility</p:attrName>
                                        </p:attrNameLst>
                                      </p:cBhvr>
                                      <p:to>
                                        <p:strVal val="visible"/>
                                      </p:to>
                                    </p:set>
                                    <p:animEffect transition="in" filter="blinds(horizontal)">
                                      <p:cBhvr>
                                        <p:cTn id="8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23970" grpId="0" animBg="1"/>
      <p:bldP spid="723971" grpId="0" animBg="1"/>
      <p:bldP spid="723972" grpId="0" animBg="1"/>
      <p:bldP spid="723973" grpId="0" animBg="1"/>
      <p:bldP spid="46" grpId="0"/>
      <p:bldP spid="3" grpId="0"/>
      <p:bldP spid="49" grpId="0"/>
      <p:bldP spid="5" grpId="0"/>
      <p:bldP spid="7" grpId="0"/>
      <p:bldP spid="11" grpId="0"/>
      <p:bldP spid="55" grpId="0" animBg="1"/>
      <p:bldP spid="54"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42" name="Rectangle 2"/>
          <p:cNvSpPr>
            <a:spLocks noGrp="1" noChangeArrowheads="1"/>
          </p:cNvSpPr>
          <p:nvPr>
            <p:ph type="title"/>
          </p:nvPr>
        </p:nvSpPr>
        <p:spPr>
          <a:xfrm>
            <a:off x="533400" y="0"/>
            <a:ext cx="8229600" cy="1143000"/>
          </a:xfrm>
        </p:spPr>
        <p:txBody>
          <a:bodyPr/>
          <a:lstStyle/>
          <a:p>
            <a:pPr eaLnBrk="1" hangingPunct="1">
              <a:defRPr/>
            </a:pPr>
            <a:r>
              <a:rPr lang="en-US" altLang="zh-CN" sz="4100" dirty="0" smtClean="0"/>
              <a:t/>
            </a:r>
            <a:br>
              <a:rPr lang="en-US" altLang="zh-CN" sz="4100" dirty="0" smtClean="0"/>
            </a:br>
            <a:r>
              <a:rPr lang="en-US" altLang="zh-CN" sz="4100" dirty="0" smtClean="0"/>
              <a:t/>
            </a:r>
            <a:br>
              <a:rPr lang="en-US" altLang="zh-CN" sz="4100" dirty="0" smtClean="0"/>
            </a:br>
            <a:endParaRPr lang="en-US" altLang="zh-CN" sz="4100" dirty="0" smtClean="0"/>
          </a:p>
        </p:txBody>
      </p:sp>
      <p:pic>
        <p:nvPicPr>
          <p:cNvPr id="360451" name="Picture 29" descr="运动边框"/>
          <p:cNvPicPr>
            <a:picLocks noChangeAspect="1" noChangeArrowheads="1" noCrop="1"/>
          </p:cNvPicPr>
          <p:nvPr/>
        </p:nvPicPr>
        <p:blipFill>
          <a:blip r:embed="rId2" cstate="print"/>
          <a:srcRect/>
          <a:stretch>
            <a:fillRect/>
          </a:stretch>
        </p:blipFill>
        <p:spPr bwMode="auto">
          <a:xfrm>
            <a:off x="5715000" y="6399213"/>
            <a:ext cx="3429000" cy="458787"/>
          </a:xfrm>
          <a:prstGeom prst="rect">
            <a:avLst/>
          </a:prstGeom>
          <a:noFill/>
          <a:ln w="9525">
            <a:noFill/>
            <a:miter lim="800000"/>
            <a:headEnd/>
            <a:tailEnd/>
          </a:ln>
        </p:spPr>
      </p:pic>
      <p:sp>
        <p:nvSpPr>
          <p:cNvPr id="115716" name="TextBox 6"/>
          <p:cNvSpPr txBox="1">
            <a:spLocks noChangeArrowheads="1"/>
          </p:cNvSpPr>
          <p:nvPr/>
        </p:nvSpPr>
        <p:spPr bwMode="auto">
          <a:xfrm>
            <a:off x="5715000" y="6488113"/>
            <a:ext cx="3429000" cy="369887"/>
          </a:xfrm>
          <a:prstGeom prst="rect">
            <a:avLst/>
          </a:prstGeom>
          <a:noFill/>
          <a:ln w="9525">
            <a:noFill/>
            <a:miter lim="800000"/>
            <a:headEnd/>
            <a:tailEnd/>
          </a:ln>
        </p:spPr>
        <p:txBody>
          <a:bodyPr lIns="91389" tIns="45694" rIns="91389" bIns="45694">
            <a:spAutoFit/>
          </a:bodyPr>
          <a:lstStyle/>
          <a:p>
            <a:pPr fontAlgn="base">
              <a:spcBef>
                <a:spcPct val="0"/>
              </a:spcBef>
              <a:spcAft>
                <a:spcPct val="0"/>
              </a:spcAft>
              <a:defRPr/>
            </a:pPr>
            <a:r>
              <a:rPr lang="zh-CN" altLang="en-US" b="1" dirty="0">
                <a:solidFill>
                  <a:srgbClr val="B3D1DF"/>
                </a:solidFill>
                <a:effectLst>
                  <a:outerShdw blurRad="38100" dist="38100" dir="2700000" algn="tl">
                    <a:srgbClr val="000000">
                      <a:alpha val="43137"/>
                    </a:srgbClr>
                  </a:outerShdw>
                </a:effectLst>
                <a:latin typeface="黑体" pitchFamily="49" charset="-122"/>
                <a:ea typeface="黑体" pitchFamily="49" charset="-122"/>
              </a:rPr>
              <a:t>第三节    科学对待人生环境</a:t>
            </a:r>
          </a:p>
        </p:txBody>
      </p:sp>
      <p:sp>
        <p:nvSpPr>
          <p:cNvPr id="8" name="内容占位符 7"/>
          <p:cNvSpPr>
            <a:spLocks noGrp="1"/>
          </p:cNvSpPr>
          <p:nvPr>
            <p:ph idx="1"/>
          </p:nvPr>
        </p:nvSpPr>
        <p:spPr>
          <a:xfrm>
            <a:off x="5181600" y="1600200"/>
            <a:ext cx="3505200" cy="3200400"/>
          </a:xfrm>
          <a:solidFill>
            <a:srgbClr val="00B0F0">
              <a:alpha val="55000"/>
            </a:srgbClr>
          </a:solidFill>
          <a:ln w="38100">
            <a:solidFill>
              <a:srgbClr val="FF0000"/>
            </a:solidFill>
            <a:prstDash val="sysDash"/>
          </a:ln>
        </p:spPr>
        <p:txBody>
          <a:bodyPr/>
          <a:lstStyle/>
          <a:p>
            <a:pPr marL="342708" indent="-342708">
              <a:defRPr/>
            </a:pPr>
            <a:r>
              <a:rPr lang="zh-CN" altLang="en-US" sz="2000" b="1" dirty="0" smtClean="0">
                <a:ea typeface="黑体" pitchFamily="49" charset="-122"/>
              </a:rPr>
              <a:t>这使肖伯纳大吃一惊，立刻意识到自己太傲慢了。以后，他经常想起这件事，并感慨万分地说：“一个人无论有多大成就</a:t>
            </a:r>
            <a:r>
              <a:rPr lang="en-US" sz="2000" b="1" dirty="0" smtClean="0">
                <a:ea typeface="黑体" pitchFamily="49" charset="-122"/>
              </a:rPr>
              <a:t>, </a:t>
            </a:r>
            <a:r>
              <a:rPr lang="zh-CN" altLang="en-US" sz="2000" b="1" dirty="0" smtClean="0">
                <a:ea typeface="黑体" pitchFamily="49" charset="-122"/>
              </a:rPr>
              <a:t>对任何人都应该平等相待。要永远谦虚，这就是苏联小姑娘给我的教训，我一辈子也忘不了她！”</a:t>
            </a:r>
          </a:p>
          <a:p>
            <a:pPr marL="342708" indent="-342708">
              <a:defRPr/>
            </a:pPr>
            <a:endParaRPr lang="zh-CN" altLang="en-US" dirty="0"/>
          </a:p>
        </p:txBody>
      </p:sp>
      <p:pic>
        <p:nvPicPr>
          <p:cNvPr id="116745" name="Picture 9" descr="http://p4.so.qhmsg.com/t01b5a2715528344b2e.jpg"/>
          <p:cNvPicPr>
            <a:picLocks noChangeAspect="1" noChangeArrowheads="1"/>
          </p:cNvPicPr>
          <p:nvPr/>
        </p:nvPicPr>
        <p:blipFill>
          <a:blip r:embed="rId3" cstate="print"/>
          <a:srcRect/>
          <a:stretch>
            <a:fillRect/>
          </a:stretch>
        </p:blipFill>
        <p:spPr bwMode="auto">
          <a:xfrm>
            <a:off x="152400" y="1371599"/>
            <a:ext cx="4648200" cy="4419600"/>
          </a:xfrm>
          <a:prstGeom prst="snip2DiagRect">
            <a:avLst/>
          </a:prstGeom>
          <a:solidFill>
            <a:srgbClr val="FFFFFF">
              <a:shade val="85000"/>
            </a:srgbClr>
          </a:solidFill>
          <a:ln w="88900" cap="sq">
            <a:solidFill>
              <a:srgbClr val="FFFFFF"/>
            </a:solidFill>
            <a:miter lim="800000"/>
          </a:ln>
          <a:effectLst>
            <a:outerShdw blurRad="88900" algn="tl" rotWithShape="0">
              <a:srgbClr val="000000">
                <a:alpha val="45000"/>
              </a:srgbClr>
            </a:outerShdw>
          </a:effectLst>
          <a:scene3d>
            <a:camera prst="orthographicFront"/>
            <a:lightRig rig="twoPt" dir="t">
              <a:rot lat="0" lon="0" rev="7200000"/>
            </a:lightRig>
          </a:scene3d>
          <a:sp3d>
            <a:bevelT w="25400" h="19050"/>
            <a:contourClr>
              <a:srgbClr val="FFFFFF"/>
            </a:contourClr>
          </a:sp3d>
        </p:spPr>
      </p:pic>
      <p:sp>
        <p:nvSpPr>
          <p:cNvPr id="10" name="矩形 9"/>
          <p:cNvSpPr/>
          <p:nvPr/>
        </p:nvSpPr>
        <p:spPr>
          <a:xfrm>
            <a:off x="1676445" y="381001"/>
            <a:ext cx="5054487" cy="923277"/>
          </a:xfrm>
          <a:prstGeom prst="rect">
            <a:avLst/>
          </a:prstGeom>
          <a:gradFill>
            <a:gsLst>
              <a:gs pos="0">
                <a:srgbClr val="8488C4"/>
              </a:gs>
              <a:gs pos="53000">
                <a:srgbClr val="D4DEFF"/>
              </a:gs>
              <a:gs pos="83000">
                <a:srgbClr val="D4DEFF"/>
              </a:gs>
              <a:gs pos="100000">
                <a:srgbClr val="96AB94"/>
              </a:gs>
            </a:gsLst>
            <a:lin ang="5400000" scaled="0"/>
          </a:gradFill>
        </p:spPr>
        <p:txBody>
          <a:bodyPr wrap="none" lIns="91389" tIns="45694" rIns="91389" bIns="45694">
            <a:spAutoFit/>
          </a:bodyPr>
          <a:lstStyle/>
          <a:p>
            <a:pPr algn="ctr" fontAlgn="base">
              <a:spcBef>
                <a:spcPct val="0"/>
              </a:spcBef>
              <a:spcAft>
                <a:spcPct val="0"/>
              </a:spcAft>
              <a:defRPr/>
            </a:pPr>
            <a:r>
              <a:rPr lang="zh-CN" altLang="en-US" sz="5400" b="1" dirty="0">
                <a:ln w="10541" cmpd="sng">
                  <a:solidFill>
                    <a:srgbClr val="5089A8">
                      <a:shade val="88000"/>
                      <a:satMod val="110000"/>
                    </a:srgbClr>
                  </a:solidFill>
                  <a:prstDash val="solid"/>
                </a:ln>
                <a:solidFill>
                  <a:srgbClr val="FF0000"/>
                </a:solidFill>
                <a:effectLst>
                  <a:outerShdw blurRad="38100" dist="38100" dir="2700000" algn="tl">
                    <a:srgbClr val="000000">
                      <a:alpha val="43137"/>
                    </a:srgbClr>
                  </a:outerShdw>
                </a:effectLst>
                <a:latin typeface="黑体" pitchFamily="49" charset="-122"/>
              </a:rPr>
              <a:t>大作家的小老师</a:t>
            </a:r>
          </a:p>
        </p:txBody>
      </p:sp>
    </p:spTree>
  </p:cSld>
  <p:clrMapOvr>
    <a:masterClrMapping/>
  </p:clrMapOvr>
  <p:transition spd="slow">
    <p:plus/>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 presetClass="entr" presetSubtype="10" fill="hold" nodeType="afterEffect">
                                  <p:stCondLst>
                                    <p:cond delay="0"/>
                                  </p:stCondLst>
                                  <p:childTnLst>
                                    <p:set>
                                      <p:cBhvr>
                                        <p:cTn id="6" dur="1" fill="hold">
                                          <p:stCondLst>
                                            <p:cond delay="0"/>
                                          </p:stCondLst>
                                        </p:cTn>
                                        <p:tgtEl>
                                          <p:spTgt spid="116745"/>
                                        </p:tgtEl>
                                        <p:attrNameLst>
                                          <p:attrName>style.visibility</p:attrName>
                                        </p:attrNameLst>
                                      </p:cBhvr>
                                      <p:to>
                                        <p:strVal val="visible"/>
                                      </p:to>
                                    </p:set>
                                    <p:animEffect transition="in" filter="checkerboard(across)">
                                      <p:cBhvr>
                                        <p:cTn id="7" dur="500"/>
                                        <p:tgtEl>
                                          <p:spTgt spid="116745"/>
                                        </p:tgtEl>
                                      </p:cBhvr>
                                    </p:animEffect>
                                  </p:childTnLst>
                                </p:cTn>
                              </p:par>
                            </p:childTnLst>
                          </p:cTn>
                        </p:par>
                        <p:par>
                          <p:cTn id="8" fill="hold">
                            <p:stCondLst>
                              <p:cond delay="500"/>
                            </p:stCondLst>
                            <p:childTnLst>
                              <p:par>
                                <p:cTn id="9" presetID="5" presetClass="entr" presetSubtype="10" fill="hold" grpId="0" nodeType="afterEffect">
                                  <p:stCondLst>
                                    <p:cond delay="0"/>
                                  </p:stCondLst>
                                  <p:childTnLst>
                                    <p:set>
                                      <p:cBhvr>
                                        <p:cTn id="10" dur="1" fill="hold">
                                          <p:stCondLst>
                                            <p:cond delay="0"/>
                                          </p:stCondLst>
                                        </p:cTn>
                                        <p:tgtEl>
                                          <p:spTgt spid="8">
                                            <p:bg/>
                                          </p:spTgt>
                                        </p:tgtEl>
                                        <p:attrNameLst>
                                          <p:attrName>style.visibility</p:attrName>
                                        </p:attrNameLst>
                                      </p:cBhvr>
                                      <p:to>
                                        <p:strVal val="visible"/>
                                      </p:to>
                                    </p:set>
                                    <p:animEffect transition="in" filter="checkerboard(across)">
                                      <p:cBhvr>
                                        <p:cTn id="11" dur="500"/>
                                        <p:tgtEl>
                                          <p:spTgt spid="8">
                                            <p:bg/>
                                          </p:spTgt>
                                        </p:tgtEl>
                                      </p:cBhvr>
                                    </p:animEffect>
                                  </p:childTnLst>
                                </p:cTn>
                              </p:par>
                            </p:childTnLst>
                          </p:cTn>
                        </p:par>
                        <p:par>
                          <p:cTn id="12" fill="hold">
                            <p:stCondLst>
                              <p:cond delay="1000"/>
                            </p:stCondLst>
                            <p:childTnLst>
                              <p:par>
                                <p:cTn id="13" presetID="5" presetClass="entr" presetSubtype="10" fill="hold" grpId="0" nodeType="afterEffect">
                                  <p:stCondLst>
                                    <p:cond delay="0"/>
                                  </p:stCondLst>
                                  <p:childTnLst>
                                    <p:set>
                                      <p:cBhvr>
                                        <p:cTn id="14" dur="1" fill="hold">
                                          <p:stCondLst>
                                            <p:cond delay="0"/>
                                          </p:stCondLst>
                                        </p:cTn>
                                        <p:tgtEl>
                                          <p:spTgt spid="8">
                                            <p:txEl>
                                              <p:pRg st="0" end="0"/>
                                            </p:txEl>
                                          </p:spTgt>
                                        </p:tgtEl>
                                        <p:attrNameLst>
                                          <p:attrName>style.visibility</p:attrName>
                                        </p:attrNameLst>
                                      </p:cBhvr>
                                      <p:to>
                                        <p:strVal val="visible"/>
                                      </p:to>
                                    </p:set>
                                    <p:animEffect transition="in" filter="checkerboard(across)">
                                      <p:cBhvr>
                                        <p:cTn id="15" dur="500"/>
                                        <p:tgtEl>
                                          <p:spTgt spid="8">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build="p"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pPr>
              <a:defRPr/>
            </a:pPr>
            <a:endParaRPr lang="zh-CN" altLang="en-US" dirty="0"/>
          </a:p>
        </p:txBody>
      </p:sp>
      <p:pic>
        <p:nvPicPr>
          <p:cNvPr id="361475" name="Picture 2"/>
          <p:cNvPicPr>
            <a:picLocks noChangeAspect="1" noChangeArrowheads="1"/>
          </p:cNvPicPr>
          <p:nvPr/>
        </p:nvPicPr>
        <p:blipFill>
          <a:blip r:embed="rId2" cstate="print"/>
          <a:srcRect/>
          <a:stretch>
            <a:fillRect/>
          </a:stretch>
        </p:blipFill>
        <p:spPr bwMode="auto">
          <a:xfrm>
            <a:off x="1357313" y="357188"/>
            <a:ext cx="6000750" cy="928687"/>
          </a:xfrm>
          <a:prstGeom prst="rect">
            <a:avLst/>
          </a:prstGeom>
          <a:noFill/>
          <a:ln w="38100">
            <a:noFill/>
            <a:miter lim="800000"/>
            <a:headEnd/>
            <a:tailEnd/>
          </a:ln>
          <a:effectLst>
            <a:prstShdw prst="shdw17" dist="17961" dir="2700000">
              <a:srgbClr val="848D93"/>
            </a:prstShdw>
          </a:effectLst>
        </p:spPr>
      </p:pic>
      <p:sp>
        <p:nvSpPr>
          <p:cNvPr id="5" name="TextBox 4"/>
          <p:cNvSpPr txBox="1"/>
          <p:nvPr/>
        </p:nvSpPr>
        <p:spPr>
          <a:xfrm>
            <a:off x="714375" y="1357313"/>
            <a:ext cx="4214813" cy="5262562"/>
          </a:xfrm>
          <a:prstGeom prst="rect">
            <a:avLst/>
          </a:prstGeom>
        </p:spPr>
        <p:style>
          <a:lnRef idx="2">
            <a:schemeClr val="accent1"/>
          </a:lnRef>
          <a:fillRef idx="1">
            <a:schemeClr val="lt1"/>
          </a:fillRef>
          <a:effectRef idx="0">
            <a:schemeClr val="accent1"/>
          </a:effectRef>
          <a:fontRef idx="minor">
            <a:schemeClr val="dk1"/>
          </a:fontRef>
        </p:style>
        <p:txBody>
          <a:bodyPr>
            <a:spAutoFit/>
          </a:bodyPr>
          <a:lstStyle/>
          <a:p>
            <a:pPr fontAlgn="base">
              <a:spcBef>
                <a:spcPct val="0"/>
              </a:spcBef>
              <a:spcAft>
                <a:spcPct val="0"/>
              </a:spcAft>
              <a:defRPr/>
            </a:pPr>
            <a:r>
              <a:rPr lang="zh-CN" altLang="en-US" sz="2400" b="1" dirty="0">
                <a:solidFill>
                  <a:srgbClr val="002060"/>
                </a:solidFill>
                <a:latin typeface="黑体" pitchFamily="49" charset="-122"/>
                <a:ea typeface="黑体" pitchFamily="49" charset="-122"/>
              </a:rPr>
              <a:t>“杭州图书馆对所有读者免费开放，因此也有了乞丐和拾荒者进门阅览。图书馆对他们的唯一要求就是把手洗干净再阅读。有读者无法接受，说此举是对其他读者不尊重。褚树青回答：</a:t>
            </a:r>
            <a:r>
              <a:rPr lang="zh-CN" altLang="en-US" sz="2400" b="1" dirty="0">
                <a:solidFill>
                  <a:srgbClr val="FF0000"/>
                </a:solidFill>
                <a:latin typeface="黑体" pitchFamily="49" charset="-122"/>
                <a:ea typeface="黑体" pitchFamily="49" charset="-122"/>
              </a:rPr>
              <a:t>我无权拒绝他们入内读书，但您有权利选择离开。”</a:t>
            </a:r>
            <a:r>
              <a:rPr lang="zh-CN" altLang="en-US" sz="2400" b="1" dirty="0">
                <a:solidFill>
                  <a:srgbClr val="002060"/>
                </a:solidFill>
                <a:latin typeface="黑体" pitchFamily="49" charset="-122"/>
                <a:ea typeface="黑体" pitchFamily="49" charset="-122"/>
              </a:rPr>
              <a:t>很多人因此称杭州图书馆为“史上最温暖图书馆”。</a:t>
            </a:r>
            <a:endParaRPr lang="en-US" altLang="zh-CN" sz="2400" b="1" dirty="0">
              <a:solidFill>
                <a:srgbClr val="002060"/>
              </a:solidFill>
              <a:latin typeface="黑体" pitchFamily="49" charset="-122"/>
              <a:ea typeface="黑体" pitchFamily="49" charset="-122"/>
            </a:endParaRPr>
          </a:p>
          <a:p>
            <a:pPr fontAlgn="base">
              <a:spcBef>
                <a:spcPct val="0"/>
              </a:spcBef>
              <a:spcAft>
                <a:spcPct val="0"/>
              </a:spcAft>
              <a:defRPr/>
            </a:pPr>
            <a:r>
              <a:rPr lang="zh-CN" altLang="en-US" sz="2400" b="1" dirty="0">
                <a:solidFill>
                  <a:srgbClr val="002060"/>
                </a:solidFill>
                <a:latin typeface="黑体" pitchFamily="49" charset="-122"/>
                <a:ea typeface="黑体" pitchFamily="49" charset="-122"/>
              </a:rPr>
              <a:t>馆长褚树青认为，之所以此举坚持了十年，是希望借此告诉人们“人人生而平等”。</a:t>
            </a:r>
            <a:endParaRPr lang="en-US" altLang="zh-CN" sz="2400" b="1" dirty="0">
              <a:solidFill>
                <a:srgbClr val="002060"/>
              </a:solidFill>
              <a:latin typeface="黑体" pitchFamily="49" charset="-122"/>
              <a:ea typeface="黑体" pitchFamily="49" charset="-122"/>
            </a:endParaRPr>
          </a:p>
          <a:p>
            <a:pPr fontAlgn="base">
              <a:spcBef>
                <a:spcPct val="0"/>
              </a:spcBef>
              <a:spcAft>
                <a:spcPct val="0"/>
              </a:spcAft>
              <a:defRPr/>
            </a:pPr>
            <a:endParaRPr lang="zh-CN" altLang="en-US" sz="2400" b="1" dirty="0">
              <a:solidFill>
                <a:srgbClr val="002060"/>
              </a:solidFill>
              <a:latin typeface="黑体" pitchFamily="49" charset="-122"/>
              <a:ea typeface="黑体" pitchFamily="49" charset="-122"/>
            </a:endParaRPr>
          </a:p>
        </p:txBody>
      </p:sp>
      <p:pic>
        <p:nvPicPr>
          <p:cNvPr id="361477" name="Picture 4" descr="http://www.chinanews.com/cr/2014/0428/2197116336.jpg"/>
          <p:cNvPicPr>
            <a:picLocks noChangeAspect="1" noChangeArrowheads="1"/>
          </p:cNvPicPr>
          <p:nvPr/>
        </p:nvPicPr>
        <p:blipFill>
          <a:blip r:embed="rId3" cstate="print"/>
          <a:srcRect/>
          <a:stretch>
            <a:fillRect/>
          </a:stretch>
        </p:blipFill>
        <p:spPr bwMode="auto">
          <a:xfrm>
            <a:off x="5072063" y="1571625"/>
            <a:ext cx="3595687" cy="4071938"/>
          </a:xfrm>
          <a:prstGeom prst="rect">
            <a:avLst/>
          </a:prstGeom>
          <a:noFill/>
          <a:ln w="9525">
            <a:noFill/>
            <a:miter lim="800000"/>
            <a:headEnd/>
            <a:tailEnd/>
          </a:ln>
        </p:spPr>
      </p:pic>
    </p:spTree>
  </p:cSld>
  <p:clrMapOvr>
    <a:masterClrMapping/>
  </p:clrMapOvr>
  <p:transition spd="slow">
    <p:plus/>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2cMDeW3OZEOQmtGZj_uI9g"/>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2cMDeW3OZEOQmtGZj_uI9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vbc1DYMKK0CGG9J2KnaoN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510LFowHx0COidzmne_FMQ"/>
</p:tagLst>
</file>

<file path=ppt/tags/tag13.xml><?xml version="1.0" encoding="utf-8"?>
<p:tagLst xmlns:a="http://schemas.openxmlformats.org/drawingml/2006/main" xmlns:r="http://schemas.openxmlformats.org/officeDocument/2006/relationships" xmlns:p="http://schemas.openxmlformats.org/presentationml/2006/main">
  <p:tag name="TIMING" val="|36|3.1"/>
</p:tagLst>
</file>

<file path=ppt/tags/tag14.xml><?xml version="1.0" encoding="utf-8"?>
<p:tagLst xmlns:a="http://schemas.openxmlformats.org/drawingml/2006/main" xmlns:r="http://schemas.openxmlformats.org/officeDocument/2006/relationships" xmlns:p="http://schemas.openxmlformats.org/presentationml/2006/main">
  <p:tag name="PA" val="v4.0.0"/>
</p:tagLst>
</file>

<file path=ppt/tags/tag15.xml><?xml version="1.0" encoding="utf-8"?>
<p:tagLst xmlns:a="http://schemas.openxmlformats.org/drawingml/2006/main" xmlns:r="http://schemas.openxmlformats.org/officeDocument/2006/relationships" xmlns:p="http://schemas.openxmlformats.org/presentationml/2006/main">
  <p:tag name="PA" val="v4.0.0"/>
</p:tagLst>
</file>

<file path=ppt/tags/tag16.xml><?xml version="1.0" encoding="utf-8"?>
<p:tagLst xmlns:a="http://schemas.openxmlformats.org/drawingml/2006/main" xmlns:r="http://schemas.openxmlformats.org/officeDocument/2006/relationships" xmlns:p="http://schemas.openxmlformats.org/presentationml/2006/main">
  <p:tag name="PA" val="v4.0.0"/>
</p:tagLst>
</file>

<file path=ppt/tags/tag17.xml><?xml version="1.0" encoding="utf-8"?>
<p:tagLst xmlns:a="http://schemas.openxmlformats.org/drawingml/2006/main" xmlns:r="http://schemas.openxmlformats.org/officeDocument/2006/relationships" xmlns:p="http://schemas.openxmlformats.org/presentationml/2006/main">
  <p:tag name="PA" val="v4.0.0"/>
</p:tagLst>
</file>

<file path=ppt/tags/tag18.xml><?xml version="1.0" encoding="utf-8"?>
<p:tagLst xmlns:a="http://schemas.openxmlformats.org/drawingml/2006/main" xmlns:r="http://schemas.openxmlformats.org/officeDocument/2006/relationships" xmlns:p="http://schemas.openxmlformats.org/presentationml/2006/main">
  <p:tag name="PA" val="v4.0.0"/>
</p:tagLst>
</file>

<file path=ppt/tags/tag19.xml><?xml version="1.0" encoding="utf-8"?>
<p:tagLst xmlns:a="http://schemas.openxmlformats.org/drawingml/2006/main" xmlns:r="http://schemas.openxmlformats.org/officeDocument/2006/relationships" xmlns:p="http://schemas.openxmlformats.org/presentationml/2006/main">
  <p:tag name="PA" val="v4.0.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vbc1DYMKK0CGG9J2KnaoNQ"/>
</p:tagLst>
</file>

<file path=ppt/tags/tag20.xml><?xml version="1.0" encoding="utf-8"?>
<p:tagLst xmlns:a="http://schemas.openxmlformats.org/drawingml/2006/main" xmlns:r="http://schemas.openxmlformats.org/officeDocument/2006/relationships" xmlns:p="http://schemas.openxmlformats.org/presentationml/2006/main">
  <p:tag name="PA" val="v4.0.0"/>
</p:tagLst>
</file>

<file path=ppt/tags/tag21.xml><?xml version="1.0" encoding="utf-8"?>
<p:tagLst xmlns:a="http://schemas.openxmlformats.org/drawingml/2006/main" xmlns:r="http://schemas.openxmlformats.org/officeDocument/2006/relationships" xmlns:p="http://schemas.openxmlformats.org/presentationml/2006/main">
  <p:tag name="TIMING" val="|3.5|4.6|0|1.5|0"/>
</p:tagLst>
</file>

<file path=ppt/tags/tag22.xml><?xml version="1.0" encoding="utf-8"?>
<p:tagLst xmlns:a="http://schemas.openxmlformats.org/drawingml/2006/main" xmlns:r="http://schemas.openxmlformats.org/officeDocument/2006/relationships" xmlns:p="http://schemas.openxmlformats.org/presentationml/2006/main">
  <p:tag name="TIMING" val="|6|1.4"/>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2cMDeW3OZEOQmtGZj_uI9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vbc1DYMKK0CGG9J2KnaoN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510LFowHx0COidzmne_FMQ"/>
</p:tagLst>
</file>

<file path=ppt/tags/tag26.xml><?xml version="1.0" encoding="utf-8"?>
<p:tagLst xmlns:a="http://schemas.openxmlformats.org/drawingml/2006/main" xmlns:r="http://schemas.openxmlformats.org/officeDocument/2006/relationships" xmlns:p="http://schemas.openxmlformats.org/presentationml/2006/main">
  <p:tag name="TIMING" val="|45.5"/>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510LFowHx0COidzmne_FM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2cMDeW3OZEOQmtGZj_uI9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vbc1DYMKK0CGG9J2KnaoN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510LFowHx0COidzmne_FM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2cMDeW3OZEOQmtGZj_uI9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vbc1DYMKK0CGG9J2KnaoN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510LFowHx0COidzmne_FMQ"/>
</p:tagLst>
</file>

<file path=ppt/theme/theme1.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2_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3.xml><?xml version="1.0" encoding="utf-8"?>
<a:theme xmlns:a="http://schemas.openxmlformats.org/drawingml/2006/main" name="1_Maple">
  <a:themeElements>
    <a:clrScheme name="Maple 7">
      <a:dk1>
        <a:srgbClr val="80ACC4"/>
      </a:dk1>
      <a:lt1>
        <a:srgbClr val="FFFFFF"/>
      </a:lt1>
      <a:dk2>
        <a:srgbClr val="B3D1DF"/>
      </a:dk2>
      <a:lt2>
        <a:srgbClr val="FFFFFF"/>
      </a:lt2>
      <a:accent1>
        <a:srgbClr val="5089A8"/>
      </a:accent1>
      <a:accent2>
        <a:srgbClr val="BBC6DB"/>
      </a:accent2>
      <a:accent3>
        <a:srgbClr val="D6E5EC"/>
      </a:accent3>
      <a:accent4>
        <a:srgbClr val="DADADA"/>
      </a:accent4>
      <a:accent5>
        <a:srgbClr val="B3C4D1"/>
      </a:accent5>
      <a:accent6>
        <a:srgbClr val="A9B3C6"/>
      </a:accent6>
      <a:hlink>
        <a:srgbClr val="0000FF"/>
      </a:hlink>
      <a:folHlink>
        <a:srgbClr val="006699"/>
      </a:folHlink>
    </a:clrScheme>
    <a:fontScheme name="Maple">
      <a:majorFont>
        <a:latin typeface="Times New Roman"/>
        <a:ea typeface="宋体"/>
        <a:cs typeface=""/>
      </a:majorFont>
      <a:minorFont>
        <a:latin typeface="Times New Roman"/>
        <a:ea typeface="宋体"/>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gradFill rotWithShape="1">
          <a:gsLst>
            <a:gs pos="0">
              <a:srgbClr val="DCEBF5"/>
            </a:gs>
            <a:gs pos="8000">
              <a:srgbClr val="83A7C3"/>
            </a:gs>
            <a:gs pos="13000">
              <a:srgbClr val="768FB9"/>
            </a:gs>
            <a:gs pos="21001">
              <a:srgbClr val="83A7C3"/>
            </a:gs>
            <a:gs pos="52000">
              <a:srgbClr val="FFFFFF"/>
            </a:gs>
            <a:gs pos="56000">
              <a:srgbClr val="9C6563"/>
            </a:gs>
            <a:gs pos="58000">
              <a:srgbClr val="80302D"/>
            </a:gs>
            <a:gs pos="71001">
              <a:srgbClr val="C0524E"/>
            </a:gs>
            <a:gs pos="94000">
              <a:srgbClr val="EBDAD4"/>
            </a:gs>
            <a:gs pos="100000">
              <a:srgbClr val="55261C"/>
            </a:gs>
          </a:gsLst>
          <a:lin ang="5400000" scaled="1"/>
        </a:gradFill>
        <a:ln w="38100" cap="flat" cmpd="sng" algn="ctr">
          <a:solidFill>
            <a:schemeClr val="tx1"/>
          </a:solidFill>
          <a:prstDash val="solid"/>
          <a:round/>
          <a:headEnd type="none" w="med" len="med"/>
          <a:tailEnd type="none" w="med" len="med"/>
        </a:ln>
        <a:effectLst/>
      </a:spPr>
      <a:bodyPr vert="horz" wrap="square" lIns="90000" tIns="46800" rIns="90000" bIns="4680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zh-CN" altLang="en-US" sz="1800" b="0" i="0" u="none" strike="noStrike" cap="none" normalizeH="0" baseline="0" smtClean="0">
            <a:ln>
              <a:noFill/>
            </a:ln>
            <a:solidFill>
              <a:schemeClr val="tx1"/>
            </a:solidFill>
            <a:effectLst>
              <a:outerShdw blurRad="38100" dist="38100" dir="2700000" algn="tl">
                <a:srgbClr val="000000">
                  <a:alpha val="43137"/>
                </a:srgbClr>
              </a:outerShdw>
            </a:effectLst>
            <a:latin typeface="Times New Roman" pitchFamily="18" charset="0"/>
            <a:ea typeface="宋体" pitchFamily="2" charset="-122"/>
          </a:defRPr>
        </a:defPPr>
      </a:lstStyle>
    </a:spDef>
    <a:lnDef>
      <a:spPr bwMode="auto">
        <a:xfrm>
          <a:off x="0" y="0"/>
          <a:ext cx="1" cy="1"/>
        </a:xfrm>
        <a:custGeom>
          <a:avLst/>
          <a:gdLst/>
          <a:ahLst/>
          <a:cxnLst/>
          <a:rect l="0" t="0" r="0" b="0"/>
          <a:pathLst/>
        </a:custGeom>
        <a:gradFill rotWithShape="1">
          <a:gsLst>
            <a:gs pos="0">
              <a:srgbClr val="DCEBF5"/>
            </a:gs>
            <a:gs pos="8000">
              <a:srgbClr val="83A7C3"/>
            </a:gs>
            <a:gs pos="13000">
              <a:srgbClr val="768FB9"/>
            </a:gs>
            <a:gs pos="21001">
              <a:srgbClr val="83A7C3"/>
            </a:gs>
            <a:gs pos="52000">
              <a:srgbClr val="FFFFFF"/>
            </a:gs>
            <a:gs pos="56000">
              <a:srgbClr val="9C6563"/>
            </a:gs>
            <a:gs pos="58000">
              <a:srgbClr val="80302D"/>
            </a:gs>
            <a:gs pos="71001">
              <a:srgbClr val="C0524E"/>
            </a:gs>
            <a:gs pos="94000">
              <a:srgbClr val="EBDAD4"/>
            </a:gs>
            <a:gs pos="100000">
              <a:srgbClr val="55261C"/>
            </a:gs>
          </a:gsLst>
          <a:lin ang="5400000" scaled="1"/>
        </a:gradFill>
        <a:ln w="38100" cap="flat" cmpd="sng" algn="ctr">
          <a:solidFill>
            <a:schemeClr val="tx1"/>
          </a:solidFill>
          <a:prstDash val="solid"/>
          <a:round/>
          <a:headEnd type="none" w="med" len="med"/>
          <a:tailEnd type="none" w="med" len="med"/>
        </a:ln>
        <a:effectLst/>
      </a:spPr>
      <a:bodyPr vert="horz" wrap="square" lIns="90000" tIns="46800" rIns="90000" bIns="4680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zh-CN" altLang="en-US" sz="1800" b="0" i="0" u="none" strike="noStrike" cap="none" normalizeH="0" baseline="0" smtClean="0">
            <a:ln>
              <a:noFill/>
            </a:ln>
            <a:solidFill>
              <a:schemeClr val="tx1"/>
            </a:solidFill>
            <a:effectLst>
              <a:outerShdw blurRad="38100" dist="38100" dir="2700000" algn="tl">
                <a:srgbClr val="000000">
                  <a:alpha val="43137"/>
                </a:srgbClr>
              </a:outerShdw>
            </a:effectLst>
            <a:latin typeface="Times New Roman" pitchFamily="18" charset="0"/>
            <a:ea typeface="宋体" pitchFamily="2" charset="-122"/>
          </a:defRPr>
        </a:defPPr>
      </a:lstStyle>
    </a:lnDef>
  </a:objectDefaults>
  <a:extraClrSchemeLst>
    <a:extraClrScheme>
      <a:clrScheme name="Maple 1">
        <a:dk1>
          <a:srgbClr val="BB5F03"/>
        </a:dk1>
        <a:lt1>
          <a:srgbClr val="FFFFFF"/>
        </a:lt1>
        <a:dk2>
          <a:srgbClr val="993300"/>
        </a:dk2>
        <a:lt2>
          <a:srgbClr val="FEEC94"/>
        </a:lt2>
        <a:accent1>
          <a:srgbClr val="FF9900"/>
        </a:accent1>
        <a:accent2>
          <a:srgbClr val="B76A03"/>
        </a:accent2>
        <a:accent3>
          <a:srgbClr val="CAADAA"/>
        </a:accent3>
        <a:accent4>
          <a:srgbClr val="DADADA"/>
        </a:accent4>
        <a:accent5>
          <a:srgbClr val="FFCAAA"/>
        </a:accent5>
        <a:accent6>
          <a:srgbClr val="A65F02"/>
        </a:accent6>
        <a:hlink>
          <a:srgbClr val="FFFFCC"/>
        </a:hlink>
        <a:folHlink>
          <a:srgbClr val="CCCC00"/>
        </a:folHlink>
      </a:clrScheme>
      <a:clrMap bg1="dk2" tx1="lt1" bg2="dk1" tx2="lt2" accent1="accent1" accent2="accent2" accent3="accent3" accent4="accent4" accent5="accent5" accent6="accent6" hlink="hlink" folHlink="folHlink"/>
    </a:extraClrScheme>
    <a:extraClrScheme>
      <a:clrScheme name="Maple 2">
        <a:dk1>
          <a:srgbClr val="EA9306"/>
        </a:dk1>
        <a:lt1>
          <a:srgbClr val="FFFFFF"/>
        </a:lt1>
        <a:dk2>
          <a:srgbClr val="FAC120"/>
        </a:dk2>
        <a:lt2>
          <a:srgbClr val="FFFDD1"/>
        </a:lt2>
        <a:accent1>
          <a:srgbClr val="CC6600"/>
        </a:accent1>
        <a:accent2>
          <a:srgbClr val="FF9933"/>
        </a:accent2>
        <a:accent3>
          <a:srgbClr val="FCDDAB"/>
        </a:accent3>
        <a:accent4>
          <a:srgbClr val="DADADA"/>
        </a:accent4>
        <a:accent5>
          <a:srgbClr val="E2B8AA"/>
        </a:accent5>
        <a:accent6>
          <a:srgbClr val="E78A2D"/>
        </a:accent6>
        <a:hlink>
          <a:srgbClr val="A50021"/>
        </a:hlink>
        <a:folHlink>
          <a:srgbClr val="666633"/>
        </a:folHlink>
      </a:clrScheme>
      <a:clrMap bg1="dk2" tx1="lt1" bg2="dk1" tx2="lt2" accent1="accent1" accent2="accent2" accent3="accent3" accent4="accent4" accent5="accent5" accent6="accent6" hlink="hlink" folHlink="folHlink"/>
    </a:extraClrScheme>
    <a:extraClrScheme>
      <a:clrScheme name="Maple 3">
        <a:dk1>
          <a:srgbClr val="000000"/>
        </a:dk1>
        <a:lt1>
          <a:srgbClr val="FFFFCC"/>
        </a:lt1>
        <a:dk2>
          <a:srgbClr val="A26D18"/>
        </a:dk2>
        <a:lt2>
          <a:srgbClr val="F9D793"/>
        </a:lt2>
        <a:accent1>
          <a:srgbClr val="FFD05B"/>
        </a:accent1>
        <a:accent2>
          <a:srgbClr val="FEE1A8"/>
        </a:accent2>
        <a:accent3>
          <a:srgbClr val="FFFFE2"/>
        </a:accent3>
        <a:accent4>
          <a:srgbClr val="000000"/>
        </a:accent4>
        <a:accent5>
          <a:srgbClr val="FFE4B5"/>
        </a:accent5>
        <a:accent6>
          <a:srgbClr val="E6CC98"/>
        </a:accent6>
        <a:hlink>
          <a:srgbClr val="FF0000"/>
        </a:hlink>
        <a:folHlink>
          <a:srgbClr val="CC6600"/>
        </a:folHlink>
      </a:clrScheme>
      <a:clrMap bg1="lt1" tx1="dk1" bg2="lt2" tx2="dk2" accent1="accent1" accent2="accent2" accent3="accent3" accent4="accent4" accent5="accent5" accent6="accent6" hlink="hlink" folHlink="folHlink"/>
    </a:extraClrScheme>
    <a:extraClrScheme>
      <a:clrScheme name="Maple 4">
        <a:dk1>
          <a:srgbClr val="008000"/>
        </a:dk1>
        <a:lt1>
          <a:srgbClr val="FFFFFF"/>
        </a:lt1>
        <a:dk2>
          <a:srgbClr val="005800"/>
        </a:dk2>
        <a:lt2>
          <a:srgbClr val="FFFFCC"/>
        </a:lt2>
        <a:accent1>
          <a:srgbClr val="00CC99"/>
        </a:accent1>
        <a:accent2>
          <a:srgbClr val="007825"/>
        </a:accent2>
        <a:accent3>
          <a:srgbClr val="AAB4AA"/>
        </a:accent3>
        <a:accent4>
          <a:srgbClr val="DADADA"/>
        </a:accent4>
        <a:accent5>
          <a:srgbClr val="AAE2CA"/>
        </a:accent5>
        <a:accent6>
          <a:srgbClr val="006C20"/>
        </a:accent6>
        <a:hlink>
          <a:srgbClr val="9966FF"/>
        </a:hlink>
        <a:folHlink>
          <a:srgbClr val="99CCFF"/>
        </a:folHlink>
      </a:clrScheme>
      <a:clrMap bg1="dk2" tx1="lt1" bg2="dk1" tx2="lt2" accent1="accent1" accent2="accent2" accent3="accent3" accent4="accent4" accent5="accent5" accent6="accent6" hlink="hlink" folHlink="folHlink"/>
    </a:extraClrScheme>
    <a:extraClrScheme>
      <a:clrScheme name="Maple 5">
        <a:dk1>
          <a:srgbClr val="56925A"/>
        </a:dk1>
        <a:lt1>
          <a:srgbClr val="FFFFFF"/>
        </a:lt1>
        <a:dk2>
          <a:srgbClr val="6FB56D"/>
        </a:dk2>
        <a:lt2>
          <a:srgbClr val="FFFFCC"/>
        </a:lt2>
        <a:accent1>
          <a:srgbClr val="2B877C"/>
        </a:accent1>
        <a:accent2>
          <a:srgbClr val="5A9A5F"/>
        </a:accent2>
        <a:accent3>
          <a:srgbClr val="BBD7BA"/>
        </a:accent3>
        <a:accent4>
          <a:srgbClr val="DADADA"/>
        </a:accent4>
        <a:accent5>
          <a:srgbClr val="ACC3BF"/>
        </a:accent5>
        <a:accent6>
          <a:srgbClr val="518B55"/>
        </a:accent6>
        <a:hlink>
          <a:srgbClr val="99FF33"/>
        </a:hlink>
        <a:folHlink>
          <a:srgbClr val="CCFF99"/>
        </a:folHlink>
      </a:clrScheme>
      <a:clrMap bg1="dk2" tx1="lt1" bg2="dk1" tx2="lt2" accent1="accent1" accent2="accent2" accent3="accent3" accent4="accent4" accent5="accent5" accent6="accent6" hlink="hlink" folHlink="folHlink"/>
    </a:extraClrScheme>
    <a:extraClrScheme>
      <a:clrScheme name="Maple 6">
        <a:dk1>
          <a:srgbClr val="006699"/>
        </a:dk1>
        <a:lt1>
          <a:srgbClr val="FFFFFF"/>
        </a:lt1>
        <a:dk2>
          <a:srgbClr val="006666"/>
        </a:dk2>
        <a:lt2>
          <a:srgbClr val="CCECFF"/>
        </a:lt2>
        <a:accent1>
          <a:srgbClr val="00CCFF"/>
        </a:accent1>
        <a:accent2>
          <a:srgbClr val="017A83"/>
        </a:accent2>
        <a:accent3>
          <a:srgbClr val="AAB8B8"/>
        </a:accent3>
        <a:accent4>
          <a:srgbClr val="DADADA"/>
        </a:accent4>
        <a:accent5>
          <a:srgbClr val="AAE2FF"/>
        </a:accent5>
        <a:accent6>
          <a:srgbClr val="016E76"/>
        </a:accent6>
        <a:hlink>
          <a:srgbClr val="FFFFCC"/>
        </a:hlink>
        <a:folHlink>
          <a:srgbClr val="99FF99"/>
        </a:folHlink>
      </a:clrScheme>
      <a:clrMap bg1="dk2" tx1="lt1" bg2="dk1" tx2="lt2" accent1="accent1" accent2="accent2" accent3="accent3" accent4="accent4" accent5="accent5" accent6="accent6" hlink="hlink" folHlink="folHlink"/>
    </a:extraClrScheme>
    <a:extraClrScheme>
      <a:clrScheme name="Maple 7">
        <a:dk1>
          <a:srgbClr val="80ACC4"/>
        </a:dk1>
        <a:lt1>
          <a:srgbClr val="FFFFFF"/>
        </a:lt1>
        <a:dk2>
          <a:srgbClr val="B3D1DF"/>
        </a:dk2>
        <a:lt2>
          <a:srgbClr val="FFFFFF"/>
        </a:lt2>
        <a:accent1>
          <a:srgbClr val="5089A8"/>
        </a:accent1>
        <a:accent2>
          <a:srgbClr val="BBC6DB"/>
        </a:accent2>
        <a:accent3>
          <a:srgbClr val="D6E5EC"/>
        </a:accent3>
        <a:accent4>
          <a:srgbClr val="DADADA"/>
        </a:accent4>
        <a:accent5>
          <a:srgbClr val="B3C4D1"/>
        </a:accent5>
        <a:accent6>
          <a:srgbClr val="A9B3C6"/>
        </a:accent6>
        <a:hlink>
          <a:srgbClr val="0000FF"/>
        </a:hlink>
        <a:folHlink>
          <a:srgbClr val="006699"/>
        </a:folHlink>
      </a:clrScheme>
      <a:clrMap bg1="dk2" tx1="lt1" bg2="dk1" tx2="lt2" accent1="accent1" accent2="accent2" accent3="accent3" accent4="accent4" accent5="accent5" accent6="accent6" hlink="hlink" folHlink="folHlink"/>
    </a:extraClrScheme>
    <a:extraClrScheme>
      <a:clrScheme name="Maple 8">
        <a:dk1>
          <a:srgbClr val="5700AE"/>
        </a:dk1>
        <a:lt1>
          <a:srgbClr val="FFFFFF"/>
        </a:lt1>
        <a:dk2>
          <a:srgbClr val="7301CB"/>
        </a:dk2>
        <a:lt2>
          <a:srgbClr val="C5C5FF"/>
        </a:lt2>
        <a:accent1>
          <a:srgbClr val="9999FF"/>
        </a:accent1>
        <a:accent2>
          <a:srgbClr val="7000E0"/>
        </a:accent2>
        <a:accent3>
          <a:srgbClr val="BCAAE2"/>
        </a:accent3>
        <a:accent4>
          <a:srgbClr val="DADADA"/>
        </a:accent4>
        <a:accent5>
          <a:srgbClr val="CACAFF"/>
        </a:accent5>
        <a:accent6>
          <a:srgbClr val="6500CB"/>
        </a:accent6>
        <a:hlink>
          <a:srgbClr val="99F3FF"/>
        </a:hlink>
        <a:folHlink>
          <a:srgbClr val="CCCCFF"/>
        </a:folHlink>
      </a:clrScheme>
      <a:clrMap bg1="dk2" tx1="lt1" bg2="dk1" tx2="lt2" accent1="accent1" accent2="accent2" accent3="accent3" accent4="accent4" accent5="accent5" accent6="accent6" hlink="hlink" folHlink="folHlink"/>
    </a:extraClrScheme>
    <a:extraClrScheme>
      <a:clrScheme name="Maple 9">
        <a:dk1>
          <a:srgbClr val="003366"/>
        </a:dk1>
        <a:lt1>
          <a:srgbClr val="FFFFFF"/>
        </a:lt1>
        <a:dk2>
          <a:srgbClr val="003366"/>
        </a:dk2>
        <a:lt2>
          <a:srgbClr val="CBD5DF"/>
        </a:lt2>
        <a:accent1>
          <a:srgbClr val="A9BEE9"/>
        </a:accent1>
        <a:accent2>
          <a:srgbClr val="D6E4F2"/>
        </a:accent2>
        <a:accent3>
          <a:srgbClr val="FFFFFF"/>
        </a:accent3>
        <a:accent4>
          <a:srgbClr val="002A56"/>
        </a:accent4>
        <a:accent5>
          <a:srgbClr val="D1DBF2"/>
        </a:accent5>
        <a:accent6>
          <a:srgbClr val="C2CFDB"/>
        </a:accent6>
        <a:hlink>
          <a:srgbClr val="0000CC"/>
        </a:hlink>
        <a:folHlink>
          <a:srgbClr val="8668E8"/>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6_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gradFill>
          <a:gsLst>
            <a:gs pos="0">
              <a:schemeClr val="accent2">
                <a:lumMod val="75000"/>
              </a:schemeClr>
            </a:gs>
            <a:gs pos="50000">
              <a:schemeClr val="accent1">
                <a:tint val="44500"/>
                <a:satMod val="160000"/>
              </a:schemeClr>
            </a:gs>
            <a:gs pos="100000">
              <a:schemeClr val="accent1">
                <a:tint val="23500"/>
                <a:satMod val="160000"/>
              </a:schemeClr>
            </a:gs>
          </a:gsLst>
          <a:lin ang="5400000" scaled="0"/>
        </a:gradFill>
        <a:ln w="9525" algn="ctr">
          <a:noFill/>
          <a:round/>
          <a:headEnd/>
          <a:tailEnd/>
        </a:ln>
        <a:effectLst/>
      </a:spPr>
      <a:bodyPr vert="vert270" wrap="none" anchor="ctr"/>
      <a:lstStyle>
        <a:defPPr fontAlgn="auto">
          <a:spcBef>
            <a:spcPts val="0"/>
          </a:spcBef>
          <a:spcAft>
            <a:spcPts val="0"/>
          </a:spcAft>
          <a:defRPr sz="1800" kern="0" dirty="0">
            <a:solidFill>
              <a:sysClr val="windowText" lastClr="000000"/>
            </a:solidFill>
            <a:latin typeface="Arial" charset="0"/>
          </a:defRPr>
        </a:defPPr>
      </a:lstStyle>
    </a:spDef>
  </a:objectDefaults>
  <a:extraClrSchemeLst/>
</a:theme>
</file>

<file path=ppt/theme/theme5.xml><?xml version="1.0" encoding="utf-8"?>
<a:theme xmlns:a="http://schemas.openxmlformats.org/drawingml/2006/main" name="1_Default Design">
  <a:themeElements>
    <a:clrScheme name="1_Default Design 2">
      <a:dk1>
        <a:srgbClr val="1C1C1C"/>
      </a:dk1>
      <a:lt1>
        <a:srgbClr val="FFFFFF"/>
      </a:lt1>
      <a:dk2>
        <a:srgbClr val="292929"/>
      </a:dk2>
      <a:lt2>
        <a:srgbClr val="DDDDDD"/>
      </a:lt2>
      <a:accent1>
        <a:srgbClr val="20A0BA"/>
      </a:accent1>
      <a:accent2>
        <a:srgbClr val="20296A"/>
      </a:accent2>
      <a:accent3>
        <a:srgbClr val="FFFFFF"/>
      </a:accent3>
      <a:accent4>
        <a:srgbClr val="161616"/>
      </a:accent4>
      <a:accent5>
        <a:srgbClr val="ABCDD9"/>
      </a:accent5>
      <a:accent6>
        <a:srgbClr val="1C245F"/>
      </a:accent6>
      <a:hlink>
        <a:srgbClr val="DFC75F"/>
      </a:hlink>
      <a:folHlink>
        <a:srgbClr val="A0D35D"/>
      </a:folHlink>
    </a:clrScheme>
    <a:fontScheme name="1_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1800" b="1" i="0" u="none" strike="noStrike" cap="none" normalizeH="0" baseline="0" smtClean="0">
            <a:ln>
              <a:noFill/>
            </a:ln>
            <a:solidFill>
              <a:schemeClr val="tx1"/>
            </a:solidFill>
            <a:effectLst/>
            <a:latin typeface="Arial" pitchFamily="34" charset="0"/>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1800" b="1" i="0" u="none" strike="noStrike" cap="none" normalizeH="0" baseline="0" smtClean="0">
            <a:ln>
              <a:noFill/>
            </a:ln>
            <a:solidFill>
              <a:schemeClr val="tx1"/>
            </a:solidFill>
            <a:effectLst/>
            <a:latin typeface="Arial" pitchFamily="34" charset="0"/>
          </a:defRPr>
        </a:defPPr>
      </a:lstStyle>
    </a:lnDef>
  </a:objectDefaults>
  <a:extraClrSchemeLst>
    <a:extraClrScheme>
      <a:clrScheme name="1_Default Design 1">
        <a:dk1>
          <a:srgbClr val="1C1C1C"/>
        </a:dk1>
        <a:lt1>
          <a:srgbClr val="FFFFFF"/>
        </a:lt1>
        <a:dk2>
          <a:srgbClr val="292929"/>
        </a:dk2>
        <a:lt2>
          <a:srgbClr val="DDDDDD"/>
        </a:lt2>
        <a:accent1>
          <a:srgbClr val="CAC620"/>
        </a:accent1>
        <a:accent2>
          <a:srgbClr val="528028"/>
        </a:accent2>
        <a:accent3>
          <a:srgbClr val="FFFFFF"/>
        </a:accent3>
        <a:accent4>
          <a:srgbClr val="161616"/>
        </a:accent4>
        <a:accent5>
          <a:srgbClr val="E1DFAB"/>
        </a:accent5>
        <a:accent6>
          <a:srgbClr val="497323"/>
        </a:accent6>
        <a:hlink>
          <a:srgbClr val="83BFDD"/>
        </a:hlink>
        <a:folHlink>
          <a:srgbClr val="FF8731"/>
        </a:folHlink>
      </a:clrScheme>
      <a:clrMap bg1="lt1" tx1="dk1" bg2="lt2" tx2="dk2" accent1="accent1" accent2="accent2" accent3="accent3" accent4="accent4" accent5="accent5" accent6="accent6" hlink="hlink" folHlink="folHlink"/>
    </a:extraClrScheme>
    <a:extraClrScheme>
      <a:clrScheme name="1_Default Design 2">
        <a:dk1>
          <a:srgbClr val="1C1C1C"/>
        </a:dk1>
        <a:lt1>
          <a:srgbClr val="FFFFFF"/>
        </a:lt1>
        <a:dk2>
          <a:srgbClr val="292929"/>
        </a:dk2>
        <a:lt2>
          <a:srgbClr val="DDDDDD"/>
        </a:lt2>
        <a:accent1>
          <a:srgbClr val="20A0BA"/>
        </a:accent1>
        <a:accent2>
          <a:srgbClr val="20296A"/>
        </a:accent2>
        <a:accent3>
          <a:srgbClr val="FFFFFF"/>
        </a:accent3>
        <a:accent4>
          <a:srgbClr val="161616"/>
        </a:accent4>
        <a:accent5>
          <a:srgbClr val="ABCDD9"/>
        </a:accent5>
        <a:accent6>
          <a:srgbClr val="1C245F"/>
        </a:accent6>
        <a:hlink>
          <a:srgbClr val="DFC75F"/>
        </a:hlink>
        <a:folHlink>
          <a:srgbClr val="A0D35D"/>
        </a:folHlink>
      </a:clrScheme>
      <a:clrMap bg1="lt1" tx1="dk1" bg2="lt2" tx2="dk2" accent1="accent1" accent2="accent2" accent3="accent3" accent4="accent4" accent5="accent5" accent6="accent6" hlink="hlink" folHlink="folHlink"/>
    </a:extraClrScheme>
    <a:extraClrScheme>
      <a:clrScheme name="1_Default Design 3">
        <a:dk1>
          <a:srgbClr val="1C1C1C"/>
        </a:dk1>
        <a:lt1>
          <a:srgbClr val="FFFFFF"/>
        </a:lt1>
        <a:dk2>
          <a:srgbClr val="292929"/>
        </a:dk2>
        <a:lt2>
          <a:srgbClr val="DDDDDD"/>
        </a:lt2>
        <a:accent1>
          <a:srgbClr val="14C2BE"/>
        </a:accent1>
        <a:accent2>
          <a:srgbClr val="247238"/>
        </a:accent2>
        <a:accent3>
          <a:srgbClr val="FFFFFF"/>
        </a:accent3>
        <a:accent4>
          <a:srgbClr val="161616"/>
        </a:accent4>
        <a:accent5>
          <a:srgbClr val="AADDDB"/>
        </a:accent5>
        <a:accent6>
          <a:srgbClr val="206732"/>
        </a:accent6>
        <a:hlink>
          <a:srgbClr val="C9A41D"/>
        </a:hlink>
        <a:folHlink>
          <a:srgbClr val="0F7FC2"/>
        </a:folHlink>
      </a:clrScheme>
      <a:clrMap bg1="lt1" tx1="dk1" bg2="lt2" tx2="dk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1_A000120141119A19PPBG">
  <a:themeElements>
    <a:clrScheme name="自定义 44">
      <a:dk1>
        <a:srgbClr val="5F5F5F"/>
      </a:dk1>
      <a:lt1>
        <a:srgbClr val="FFFFFF"/>
      </a:lt1>
      <a:dk2>
        <a:srgbClr val="4D4D4D"/>
      </a:dk2>
      <a:lt2>
        <a:srgbClr val="FFFFFF"/>
      </a:lt2>
      <a:accent1>
        <a:srgbClr val="FAA5C1"/>
      </a:accent1>
      <a:accent2>
        <a:srgbClr val="D06666"/>
      </a:accent2>
      <a:accent3>
        <a:srgbClr val="D0A976"/>
      </a:accent3>
      <a:accent4>
        <a:srgbClr val="7EB0DA"/>
      </a:accent4>
      <a:accent5>
        <a:srgbClr val="4FA0AB"/>
      </a:accent5>
      <a:accent6>
        <a:srgbClr val="00B0F0"/>
      </a:accent6>
      <a:hlink>
        <a:srgbClr val="CEBB2C"/>
      </a:hlink>
      <a:folHlink>
        <a:srgbClr val="AFB2B4"/>
      </a:folHlink>
    </a:clrScheme>
    <a:fontScheme name="KSO主题字体">
      <a:majorFont>
        <a:latin typeface="Calibri"/>
        <a:ea typeface="幼圆"/>
        <a:cs typeface=""/>
      </a:majorFont>
      <a:minorFont>
        <a:latin typeface="Calibri"/>
        <a:ea typeface="楷体"/>
        <a:cs typeface=""/>
      </a:minorFont>
    </a:fontScheme>
    <a:fmtScheme name="Office 主题">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0</TotalTime>
  <Words>2217</Words>
  <Application>Microsoft Office PowerPoint</Application>
  <PresentationFormat>全屏显示(4:3)</PresentationFormat>
  <Paragraphs>206</Paragraphs>
  <Slides>29</Slides>
  <Notes>3</Notes>
  <HiddenSlides>0</HiddenSlides>
  <MMClips>1</MMClips>
  <ScaleCrop>false</ScaleCrop>
  <HeadingPairs>
    <vt:vector size="6" baseType="variant">
      <vt:variant>
        <vt:lpstr>主题</vt:lpstr>
      </vt:variant>
      <vt:variant>
        <vt:i4>6</vt:i4>
      </vt:variant>
      <vt:variant>
        <vt:lpstr>嵌入 OLE 服务器</vt:lpstr>
      </vt:variant>
      <vt:variant>
        <vt:i4>1</vt:i4>
      </vt:variant>
      <vt:variant>
        <vt:lpstr>幻灯片标题</vt:lpstr>
      </vt:variant>
      <vt:variant>
        <vt:i4>29</vt:i4>
      </vt:variant>
    </vt:vector>
  </HeadingPairs>
  <TitlesOfParts>
    <vt:vector size="36" baseType="lpstr">
      <vt:lpstr>Office 主题</vt:lpstr>
      <vt:lpstr>2_Office 主题</vt:lpstr>
      <vt:lpstr>1_Maple</vt:lpstr>
      <vt:lpstr>6_Office 主题</vt:lpstr>
      <vt:lpstr>1_Default Design</vt:lpstr>
      <vt:lpstr>1_A000120141119A19PPBG</vt:lpstr>
      <vt:lpstr>BMP 图象</vt:lpstr>
      <vt:lpstr>幻灯片 1</vt:lpstr>
      <vt:lpstr>案例：川师大室友杀人案：50多处刀伤 头颈离断</vt:lpstr>
      <vt:lpstr>幻灯片 3</vt:lpstr>
      <vt:lpstr>幻灯片 4</vt:lpstr>
      <vt:lpstr>课堂调查：大学生人际关系的心理诊断</vt:lpstr>
      <vt:lpstr>幻灯片 6</vt:lpstr>
      <vt:lpstr>幻灯片 7</vt:lpstr>
      <vt:lpstr>  </vt:lpstr>
      <vt:lpstr>幻灯片 9</vt:lpstr>
      <vt:lpstr>幻灯片 10</vt:lpstr>
      <vt:lpstr>幻灯片 11</vt:lpstr>
      <vt:lpstr>幻灯片 12</vt:lpstr>
      <vt:lpstr>幻灯片 13</vt:lpstr>
      <vt:lpstr>幻灯片 14</vt:lpstr>
      <vt:lpstr>幻灯片 15</vt:lpstr>
      <vt:lpstr>俞敏洪</vt:lpstr>
      <vt:lpstr>幻灯片 17</vt:lpstr>
      <vt:lpstr>幻灯片 18</vt:lpstr>
      <vt:lpstr>正确认识竞争</vt:lpstr>
      <vt:lpstr>正确认识竞争</vt:lpstr>
      <vt:lpstr>正确认识竞争</vt:lpstr>
      <vt:lpstr>幻灯片 22</vt:lpstr>
      <vt:lpstr>正确认识竞争</vt:lpstr>
      <vt:lpstr>正确认识合作</vt:lpstr>
      <vt:lpstr>幻灯片 25</vt:lpstr>
      <vt:lpstr>正确处理竞争与合作的关系</vt:lpstr>
      <vt:lpstr>正确处理竞争与合作的关系</vt:lpstr>
      <vt:lpstr>幻灯片 28</vt:lpstr>
      <vt:lpstr>思考题：</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幻灯片 1</dc:title>
  <dc:creator>ASKCOWK-DJOWNCI</dc:creator>
  <cp:lastModifiedBy>Windows 用户</cp:lastModifiedBy>
  <cp:revision>1</cp:revision>
  <dcterms:created xsi:type="dcterms:W3CDTF">2017-12-07T07:13:35Z</dcterms:created>
  <dcterms:modified xsi:type="dcterms:W3CDTF">2017-12-07T07:14:43Z</dcterms:modified>
</cp:coreProperties>
</file>